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2.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14.xml" ContentType="application/vnd.openxmlformats-officedocument.presentationml.tags+xml"/>
  <Override PartName="/ppt/tags/tag115.xml" ContentType="application/vnd.openxmlformats-officedocument.presentationml.tags+xml"/>
  <Override PartName="/ppt/notesSlides/notesSlide1.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2.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04" r:id="rId5"/>
  </p:sldMasterIdLst>
  <p:notesMasterIdLst>
    <p:notesMasterId r:id="rId18"/>
  </p:notesMasterIdLst>
  <p:handoutMasterIdLst>
    <p:handoutMasterId r:id="rId19"/>
  </p:handoutMasterIdLst>
  <p:sldIdLst>
    <p:sldId id="1978" r:id="rId6"/>
    <p:sldId id="259" r:id="rId7"/>
    <p:sldId id="1982" r:id="rId8"/>
    <p:sldId id="1980" r:id="rId9"/>
    <p:sldId id="1994" r:id="rId10"/>
    <p:sldId id="1988" r:id="rId11"/>
    <p:sldId id="383" r:id="rId12"/>
    <p:sldId id="1995" r:id="rId13"/>
    <p:sldId id="1996" r:id="rId14"/>
    <p:sldId id="1992" r:id="rId15"/>
    <p:sldId id="1984" r:id="rId16"/>
    <p:sldId id="257" r:id="rId17"/>
  </p:sldIdLst>
  <p:sldSz cx="12192000" cy="6858000"/>
  <p:notesSz cx="6669088" cy="9926638"/>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6B8D000-F82D-2D0C-51ED-428BE9EB0964}" name="Nikolaj Godsk Vestergaard" initials="NGV" userId="S::ngv@ramboll.com::13f6e931-e8bb-4f58-9241-2f10614c3355" providerId="AD"/>
  <p188:author id="{E763F33A-282B-3A02-CBE0-C9F036E4D86F}" name="Mia Rytter Lund" initials="ML" userId="S::mryl@ramboll.com::fd5a37df-57b5-4ab7-b42f-f051b0300ae8" providerId="AD"/>
  <p188:author id="{669D5C72-1C3C-55FD-06E6-2F7FDBF402BF}" name="Hanne Marie Holst Harboe" initials="HMHH" userId="S::HMHH@ramboll.com::3744b3b0-e9bd-4e9c-bac2-809ff365716f" providerId="AD"/>
  <p188:author id="{92657D86-AABF-8C4C-6F51-D65416DCF824}" name="Line Pors Jørgensen" initials="LJ" userId="S::lej@ramboll.com::0132e566-f4bf-401a-a981-ca4845cdd2a4" providerId="AD"/>
  <p188:author id="{FD6096FA-94D4-FC42-A793-12E6BD8212EE}" name="Line Pors Jørgensen" initials="LPJ" userId="S::LEJ@ramboll.com::0132e566-f4bf-401a-a981-ca4845cdd2a4" providerId="AD"/>
  <p188:author id="{206940FC-A99F-6378-E12A-33EDEA0780C5}" name="Sophie Bayer" initials="SB" userId="S::AECB@ramboll.com::ede9276c-710b-4378-937b-bdc2eba6c543" providerId="AD"/>
  <p188:author id="{C1F161FD-E976-00BF-7048-A16D50EA37DE}" name="Mia Rytter Lund" initials="MRL" userId="S::MRYL@ramboll.com::fd5a37df-57b5-4ab7-b42f-f051b0300ae8"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BD9ADD"/>
    <a:srgbClr val="F3805C"/>
    <a:srgbClr val="95D346"/>
    <a:srgbClr val="E6E6E6"/>
    <a:srgbClr val="D5B429"/>
    <a:srgbClr val="DDC251"/>
    <a:srgbClr val="E4CF74"/>
    <a:srgbClr val="273F68"/>
    <a:srgbClr val="EFF2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D3A50B1-14EC-4FDE-9F9F-917314861403}" v="35" dt="2023-02-02T11:12:52.67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8" d="100"/>
          <a:sy n="118" d="100"/>
        </p:scale>
        <p:origin x="610" y="67"/>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ophie Bayer" userId="ede9276c-710b-4378-937b-bdc2eba6c543" providerId="ADAL" clId="{E3EDA246-60EA-465A-9C7B-AD452C69BB9D}"/>
    <pc:docChg chg="undo custSel addSld delSld modSld sldOrd delMainMaster modMainMaster replTag">
      <pc:chgData name="Sophie Bayer" userId="ede9276c-710b-4378-937b-bdc2eba6c543" providerId="ADAL" clId="{E3EDA246-60EA-465A-9C7B-AD452C69BB9D}" dt="2023-01-13T15:50:36.609" v="15644" actId="20577"/>
      <pc:docMkLst>
        <pc:docMk/>
      </pc:docMkLst>
      <pc:sldChg chg="del">
        <pc:chgData name="Sophie Bayer" userId="ede9276c-710b-4378-937b-bdc2eba6c543" providerId="ADAL" clId="{E3EDA246-60EA-465A-9C7B-AD452C69BB9D}" dt="2023-01-11T07:48:24.355" v="2" actId="47"/>
        <pc:sldMkLst>
          <pc:docMk/>
          <pc:sldMk cId="0" sldId="256"/>
        </pc:sldMkLst>
      </pc:sldChg>
      <pc:sldChg chg="addSp delSp add del mod">
        <pc:chgData name="Sophie Bayer" userId="ede9276c-710b-4378-937b-bdc2eba6c543" providerId="ADAL" clId="{E3EDA246-60EA-465A-9C7B-AD452C69BB9D}" dt="2023-01-11T07:51:46.657" v="93" actId="47"/>
        <pc:sldMkLst>
          <pc:docMk/>
          <pc:sldMk cId="2863050057" sldId="256"/>
        </pc:sldMkLst>
        <pc:spChg chg="add del">
          <ac:chgData name="Sophie Bayer" userId="ede9276c-710b-4378-937b-bdc2eba6c543" providerId="ADAL" clId="{E3EDA246-60EA-465A-9C7B-AD452C69BB9D}" dt="2023-01-11T07:51:18.182" v="92" actId="21"/>
          <ac:spMkLst>
            <pc:docMk/>
            <pc:sldMk cId="2863050057" sldId="256"/>
            <ac:spMk id="4" creationId="{4E5E0ED5-8739-4ED8-B8FC-988175B9928F}"/>
          </ac:spMkLst>
        </pc:spChg>
      </pc:sldChg>
      <pc:sldChg chg="addSp delSp modSp add mod addCm delCm">
        <pc:chgData name="Sophie Bayer" userId="ede9276c-710b-4378-937b-bdc2eba6c543" providerId="ADAL" clId="{E3EDA246-60EA-465A-9C7B-AD452C69BB9D}" dt="2023-01-13T15:03:59.201" v="13608"/>
        <pc:sldMkLst>
          <pc:docMk/>
          <pc:sldMk cId="1609526417" sldId="257"/>
        </pc:sldMkLst>
        <pc:spChg chg="mod ord">
          <ac:chgData name="Sophie Bayer" userId="ede9276c-710b-4378-937b-bdc2eba6c543" providerId="ADAL" clId="{E3EDA246-60EA-465A-9C7B-AD452C69BB9D}" dt="2023-01-13T14:58:47.112" v="13442"/>
          <ac:spMkLst>
            <pc:docMk/>
            <pc:sldMk cId="1609526417" sldId="257"/>
            <ac:spMk id="4" creationId="{01B957F8-BD5C-4355-9005-BE875E5090FC}"/>
          </ac:spMkLst>
        </pc:spChg>
        <pc:spChg chg="add del mod">
          <ac:chgData name="Sophie Bayer" userId="ede9276c-710b-4378-937b-bdc2eba6c543" providerId="ADAL" clId="{E3EDA246-60EA-465A-9C7B-AD452C69BB9D}" dt="2023-01-11T09:04:32.483" v="2032" actId="478"/>
          <ac:spMkLst>
            <pc:docMk/>
            <pc:sldMk cId="1609526417" sldId="257"/>
            <ac:spMk id="6" creationId="{299378FA-1547-448F-8784-6D05BCE68BE7}"/>
          </ac:spMkLst>
        </pc:spChg>
        <pc:spChg chg="del">
          <ac:chgData name="Sophie Bayer" userId="ede9276c-710b-4378-937b-bdc2eba6c543" providerId="ADAL" clId="{E3EDA246-60EA-465A-9C7B-AD452C69BB9D}" dt="2023-01-11T09:03:01.285" v="2007" actId="478"/>
          <ac:spMkLst>
            <pc:docMk/>
            <pc:sldMk cId="1609526417" sldId="257"/>
            <ac:spMk id="7" creationId="{C566A2D6-E0FC-4901-A1BE-362393511016}"/>
          </ac:spMkLst>
        </pc:spChg>
        <pc:spChg chg="add mod ord">
          <ac:chgData name="Sophie Bayer" userId="ede9276c-710b-4378-937b-bdc2eba6c543" providerId="ADAL" clId="{E3EDA246-60EA-465A-9C7B-AD452C69BB9D}" dt="2023-01-13T15:00:32.908" v="13514" actId="1076"/>
          <ac:spMkLst>
            <pc:docMk/>
            <pc:sldMk cId="1609526417" sldId="257"/>
            <ac:spMk id="8" creationId="{BB7B4406-EAA5-4923-909F-72273477B054}"/>
          </ac:spMkLst>
        </pc:spChg>
        <pc:spChg chg="add mod ord">
          <ac:chgData name="Sophie Bayer" userId="ede9276c-710b-4378-937b-bdc2eba6c543" providerId="ADAL" clId="{E3EDA246-60EA-465A-9C7B-AD452C69BB9D}" dt="2023-01-13T15:00:40.110" v="13515" actId="1076"/>
          <ac:spMkLst>
            <pc:docMk/>
            <pc:sldMk cId="1609526417" sldId="257"/>
            <ac:spMk id="9" creationId="{8BE3E950-D517-4499-9386-B814892F0A53}"/>
          </ac:spMkLst>
        </pc:spChg>
        <pc:spChg chg="add mod ord">
          <ac:chgData name="Sophie Bayer" userId="ede9276c-710b-4378-937b-bdc2eba6c543" providerId="ADAL" clId="{E3EDA246-60EA-465A-9C7B-AD452C69BB9D}" dt="2023-01-13T15:00:40.110" v="13515" actId="1076"/>
          <ac:spMkLst>
            <pc:docMk/>
            <pc:sldMk cId="1609526417" sldId="257"/>
            <ac:spMk id="10" creationId="{516EE21D-C4B9-4731-B349-1072BB4E5D41}"/>
          </ac:spMkLst>
        </pc:spChg>
        <pc:spChg chg="add mod ord">
          <ac:chgData name="Sophie Bayer" userId="ede9276c-710b-4378-937b-bdc2eba6c543" providerId="ADAL" clId="{E3EDA246-60EA-465A-9C7B-AD452C69BB9D}" dt="2023-01-13T15:00:46.263" v="13516" actId="1076"/>
          <ac:spMkLst>
            <pc:docMk/>
            <pc:sldMk cId="1609526417" sldId="257"/>
            <ac:spMk id="11" creationId="{13817271-D5C1-4BE7-87D7-014E0020CF81}"/>
          </ac:spMkLst>
        </pc:spChg>
        <pc:spChg chg="add del mod">
          <ac:chgData name="Sophie Bayer" userId="ede9276c-710b-4378-937b-bdc2eba6c543" providerId="ADAL" clId="{E3EDA246-60EA-465A-9C7B-AD452C69BB9D}" dt="2023-01-13T15:02:55.892" v="13580" actId="478"/>
          <ac:spMkLst>
            <pc:docMk/>
            <pc:sldMk cId="1609526417" sldId="257"/>
            <ac:spMk id="12" creationId="{ECBACAB3-82B4-48C9-A733-C75C51666E23}"/>
          </ac:spMkLst>
        </pc:spChg>
        <pc:spChg chg="add del mod">
          <ac:chgData name="Sophie Bayer" userId="ede9276c-710b-4378-937b-bdc2eba6c543" providerId="ADAL" clId="{E3EDA246-60EA-465A-9C7B-AD452C69BB9D}" dt="2023-01-11T09:13:03.745" v="2252" actId="478"/>
          <ac:spMkLst>
            <pc:docMk/>
            <pc:sldMk cId="1609526417" sldId="257"/>
            <ac:spMk id="12" creationId="{F4A25910-BF83-482E-BBA3-BCE5B890DFE4}"/>
          </ac:spMkLst>
        </pc:spChg>
        <pc:spChg chg="add mod">
          <ac:chgData name="Sophie Bayer" userId="ede9276c-710b-4378-937b-bdc2eba6c543" providerId="ADAL" clId="{E3EDA246-60EA-465A-9C7B-AD452C69BB9D}" dt="2023-01-13T15:03:39.228" v="13602" actId="14100"/>
          <ac:spMkLst>
            <pc:docMk/>
            <pc:sldMk cId="1609526417" sldId="257"/>
            <ac:spMk id="13" creationId="{251BD1F5-E593-4318-AFAE-FBF1FE2237D1}"/>
          </ac:spMkLst>
        </pc:spChg>
        <pc:spChg chg="add del">
          <ac:chgData name="Sophie Bayer" userId="ede9276c-710b-4378-937b-bdc2eba6c543" providerId="ADAL" clId="{E3EDA246-60EA-465A-9C7B-AD452C69BB9D}" dt="2023-01-11T09:07:56.760" v="2121" actId="22"/>
          <ac:spMkLst>
            <pc:docMk/>
            <pc:sldMk cId="1609526417" sldId="257"/>
            <ac:spMk id="13" creationId="{A4CEC522-52EA-4945-B103-3D1B7813D5CD}"/>
          </ac:spMkLst>
        </pc:spChg>
        <pc:spChg chg="add mod">
          <ac:chgData name="Sophie Bayer" userId="ede9276c-710b-4378-937b-bdc2eba6c543" providerId="ADAL" clId="{E3EDA246-60EA-465A-9C7B-AD452C69BB9D}" dt="2023-01-13T15:03:03.595" v="13581" actId="1076"/>
          <ac:spMkLst>
            <pc:docMk/>
            <pc:sldMk cId="1609526417" sldId="257"/>
            <ac:spMk id="14" creationId="{9AE75675-4EDA-43B6-86A4-DBB09B62D73E}"/>
          </ac:spMkLst>
        </pc:spChg>
        <pc:spChg chg="add mod ord">
          <ac:chgData name="Sophie Bayer" userId="ede9276c-710b-4378-937b-bdc2eba6c543" providerId="ADAL" clId="{E3EDA246-60EA-465A-9C7B-AD452C69BB9D}" dt="2023-01-13T15:00:46.263" v="13516" actId="1076"/>
          <ac:spMkLst>
            <pc:docMk/>
            <pc:sldMk cId="1609526417" sldId="257"/>
            <ac:spMk id="15" creationId="{FC4037F0-2B53-401C-84D1-D3DC83A8B3E6}"/>
          </ac:spMkLst>
        </pc:spChg>
        <pc:spChg chg="add mod">
          <ac:chgData name="Sophie Bayer" userId="ede9276c-710b-4378-937b-bdc2eba6c543" providerId="ADAL" clId="{E3EDA246-60EA-465A-9C7B-AD452C69BB9D}" dt="2023-01-13T15:02:48.579" v="13578" actId="20577"/>
          <ac:spMkLst>
            <pc:docMk/>
            <pc:sldMk cId="1609526417" sldId="257"/>
            <ac:spMk id="16" creationId="{D5063B78-CC00-4A91-A0E5-9BBCBB369EA2}"/>
          </ac:spMkLst>
        </pc:spChg>
        <pc:spChg chg="add mod">
          <ac:chgData name="Sophie Bayer" userId="ede9276c-710b-4378-937b-bdc2eba6c543" providerId="ADAL" clId="{E3EDA246-60EA-465A-9C7B-AD452C69BB9D}" dt="2023-01-13T15:03:12.371" v="13584"/>
          <ac:spMkLst>
            <pc:docMk/>
            <pc:sldMk cId="1609526417" sldId="257"/>
            <ac:spMk id="17" creationId="{F716FE58-94D2-470D-AE67-4C325FDD6347}"/>
          </ac:spMkLst>
        </pc:spChg>
        <pc:spChg chg="add mod">
          <ac:chgData name="Sophie Bayer" userId="ede9276c-710b-4378-937b-bdc2eba6c543" providerId="ADAL" clId="{E3EDA246-60EA-465A-9C7B-AD452C69BB9D}" dt="2023-01-13T15:02:30.396" v="13573" actId="208"/>
          <ac:spMkLst>
            <pc:docMk/>
            <pc:sldMk cId="1609526417" sldId="257"/>
            <ac:spMk id="20" creationId="{BAA2CB1E-5013-4A37-9C3F-E7232D95426F}"/>
          </ac:spMkLst>
        </pc:spChg>
        <pc:graphicFrameChg chg="mod">
          <ac:chgData name="Sophie Bayer" userId="ede9276c-710b-4378-937b-bdc2eba6c543" providerId="ADAL" clId="{E3EDA246-60EA-465A-9C7B-AD452C69BB9D}" dt="2023-01-13T14:58:47.149" v="13473"/>
          <ac:graphicFrameMkLst>
            <pc:docMk/>
            <pc:sldMk cId="1609526417" sldId="257"/>
            <ac:graphicFrameMk id="5" creationId="{B7F40EAB-AB51-4B8C-BCDA-CDE3DB916186}"/>
          </ac:graphicFrameMkLst>
        </pc:graphicFrameChg>
        <pc:picChg chg="add del mod">
          <ac:chgData name="Sophie Bayer" userId="ede9276c-710b-4378-937b-bdc2eba6c543" providerId="ADAL" clId="{E3EDA246-60EA-465A-9C7B-AD452C69BB9D}" dt="2023-01-13T15:03:47.877" v="13606" actId="478"/>
          <ac:picMkLst>
            <pc:docMk/>
            <pc:sldMk cId="1609526417" sldId="257"/>
            <ac:picMk id="18" creationId="{2F339F16-573B-4776-992E-589FA8D54BF9}"/>
          </ac:picMkLst>
        </pc:picChg>
        <pc:picChg chg="add del mod">
          <ac:chgData name="Sophie Bayer" userId="ede9276c-710b-4378-937b-bdc2eba6c543" providerId="ADAL" clId="{E3EDA246-60EA-465A-9C7B-AD452C69BB9D}" dt="2023-01-13T15:02:16.738" v="13569" actId="478"/>
          <ac:picMkLst>
            <pc:docMk/>
            <pc:sldMk cId="1609526417" sldId="257"/>
            <ac:picMk id="19" creationId="{67307BB7-B48F-4CA0-A7AA-106AA11E7E29}"/>
          </ac:picMkLst>
        </pc:picChg>
        <pc:picChg chg="add mod">
          <ac:chgData name="Sophie Bayer" userId="ede9276c-710b-4378-937b-bdc2eba6c543" providerId="ADAL" clId="{E3EDA246-60EA-465A-9C7B-AD452C69BB9D}" dt="2023-01-13T15:02:23.407" v="13571" actId="1076"/>
          <ac:picMkLst>
            <pc:docMk/>
            <pc:sldMk cId="1609526417" sldId="257"/>
            <ac:picMk id="2050" creationId="{70C87380-115B-42AD-AA1C-BE08F94C52F3}"/>
          </ac:picMkLst>
        </pc:picChg>
        <pc:picChg chg="add mod">
          <ac:chgData name="Sophie Bayer" userId="ede9276c-710b-4378-937b-bdc2eba6c543" providerId="ADAL" clId="{E3EDA246-60EA-465A-9C7B-AD452C69BB9D}" dt="2023-01-13T15:03:50.375" v="13607" actId="1076"/>
          <ac:picMkLst>
            <pc:docMk/>
            <pc:sldMk cId="1609526417" sldId="257"/>
            <ac:picMk id="2052" creationId="{D8747BFA-B80A-40E3-B353-FCDB3CD2AA29}"/>
          </ac:picMkLst>
        </pc:picChg>
        <pc:picChg chg="add mod">
          <ac:chgData name="Sophie Bayer" userId="ede9276c-710b-4378-937b-bdc2eba6c543" providerId="ADAL" clId="{E3EDA246-60EA-465A-9C7B-AD452C69BB9D}" dt="2023-01-13T15:00:46.263" v="13516" actId="1076"/>
          <ac:picMkLst>
            <pc:docMk/>
            <pc:sldMk cId="1609526417" sldId="257"/>
            <ac:picMk id="173058" creationId="{39BA8A40-E519-4647-9C6F-0A8BE0F7EE59}"/>
          </ac:picMkLst>
        </pc:picChg>
        <pc:picChg chg="add mod">
          <ac:chgData name="Sophie Bayer" userId="ede9276c-710b-4378-937b-bdc2eba6c543" providerId="ADAL" clId="{E3EDA246-60EA-465A-9C7B-AD452C69BB9D}" dt="2023-01-13T15:00:40.110" v="13515" actId="1076"/>
          <ac:picMkLst>
            <pc:docMk/>
            <pc:sldMk cId="1609526417" sldId="257"/>
            <ac:picMk id="173060" creationId="{F34DB448-1355-4F52-9C2E-8E5616110700}"/>
          </ac:picMkLst>
        </pc:picChg>
      </pc:sldChg>
      <pc:sldChg chg="addSp delSp modSp mod modTransition modShow addCm delCm">
        <pc:chgData name="Sophie Bayer" userId="ede9276c-710b-4378-937b-bdc2eba6c543" providerId="ADAL" clId="{E3EDA246-60EA-465A-9C7B-AD452C69BB9D}" dt="2023-01-13T14:44:42.016" v="12738"/>
        <pc:sldMkLst>
          <pc:docMk/>
          <pc:sldMk cId="3669439568" sldId="259"/>
        </pc:sldMkLst>
        <pc:spChg chg="add del mod">
          <ac:chgData name="Sophie Bayer" userId="ede9276c-710b-4378-937b-bdc2eba6c543" providerId="ADAL" clId="{E3EDA246-60EA-465A-9C7B-AD452C69BB9D}" dt="2023-01-11T08:58:37.699" v="1999" actId="21"/>
          <ac:spMkLst>
            <pc:docMk/>
            <pc:sldMk cId="3669439568" sldId="259"/>
            <ac:spMk id="9" creationId="{D7CB53E2-7ED3-42AC-9E92-F247FF9F01C7}"/>
          </ac:spMkLst>
        </pc:spChg>
        <pc:spChg chg="mod ord">
          <ac:chgData name="Sophie Bayer" userId="ede9276c-710b-4378-937b-bdc2eba6c543" providerId="ADAL" clId="{E3EDA246-60EA-465A-9C7B-AD452C69BB9D}" dt="2023-01-11T12:32:46.182" v="11313"/>
          <ac:spMkLst>
            <pc:docMk/>
            <pc:sldMk cId="3669439568" sldId="259"/>
            <ac:spMk id="13" creationId="{FA207C97-0666-4E42-A966-3F2F63697DD3}"/>
          </ac:spMkLst>
        </pc:spChg>
        <pc:spChg chg="mod ord">
          <ac:chgData name="Sophie Bayer" userId="ede9276c-710b-4378-937b-bdc2eba6c543" providerId="ADAL" clId="{E3EDA246-60EA-465A-9C7B-AD452C69BB9D}" dt="2023-01-11T12:32:46.184" v="11315"/>
          <ac:spMkLst>
            <pc:docMk/>
            <pc:sldMk cId="3669439568" sldId="259"/>
            <ac:spMk id="20" creationId="{DB13367A-62DF-48EA-AFB5-C897B8D283B9}"/>
          </ac:spMkLst>
        </pc:spChg>
        <pc:spChg chg="mod ord">
          <ac:chgData name="Sophie Bayer" userId="ede9276c-710b-4378-937b-bdc2eba6c543" providerId="ADAL" clId="{E3EDA246-60EA-465A-9C7B-AD452C69BB9D}" dt="2023-01-11T12:32:46.184" v="11317"/>
          <ac:spMkLst>
            <pc:docMk/>
            <pc:sldMk cId="3669439568" sldId="259"/>
            <ac:spMk id="22" creationId="{D50B6B91-2C1C-48CE-887A-2F3D84781DB8}"/>
          </ac:spMkLst>
        </pc:spChg>
        <pc:spChg chg="mod ord">
          <ac:chgData name="Sophie Bayer" userId="ede9276c-710b-4378-937b-bdc2eba6c543" providerId="ADAL" clId="{E3EDA246-60EA-465A-9C7B-AD452C69BB9D}" dt="2023-01-11T12:32:46.185" v="11319"/>
          <ac:spMkLst>
            <pc:docMk/>
            <pc:sldMk cId="3669439568" sldId="259"/>
            <ac:spMk id="23" creationId="{E3753B1C-EBC0-449B-A8B6-B534CCA157D2}"/>
          </ac:spMkLst>
        </pc:spChg>
        <pc:spChg chg="del">
          <ac:chgData name="Sophie Bayer" userId="ede9276c-710b-4378-937b-bdc2eba6c543" providerId="ADAL" clId="{E3EDA246-60EA-465A-9C7B-AD452C69BB9D}" dt="2023-01-11T08:42:37.685" v="397" actId="478"/>
          <ac:spMkLst>
            <pc:docMk/>
            <pc:sldMk cId="3669439568" sldId="259"/>
            <ac:spMk id="25" creationId="{60190C2E-F617-4BE5-A4F4-D58416039EA4}"/>
          </ac:spMkLst>
        </pc:spChg>
        <pc:spChg chg="del">
          <ac:chgData name="Sophie Bayer" userId="ede9276c-710b-4378-937b-bdc2eba6c543" providerId="ADAL" clId="{E3EDA246-60EA-465A-9C7B-AD452C69BB9D}" dt="2023-01-11T08:42:40.198" v="399" actId="478"/>
          <ac:spMkLst>
            <pc:docMk/>
            <pc:sldMk cId="3669439568" sldId="259"/>
            <ac:spMk id="27" creationId="{6A9ABC2C-E245-4EB4-809E-CEEE46ABED15}"/>
          </ac:spMkLst>
        </pc:spChg>
        <pc:spChg chg="del">
          <ac:chgData name="Sophie Bayer" userId="ede9276c-710b-4378-937b-bdc2eba6c543" providerId="ADAL" clId="{E3EDA246-60EA-465A-9C7B-AD452C69BB9D}" dt="2023-01-11T08:42:42.991" v="401" actId="478"/>
          <ac:spMkLst>
            <pc:docMk/>
            <pc:sldMk cId="3669439568" sldId="259"/>
            <ac:spMk id="29" creationId="{5297DD94-7DAA-41BE-A6BB-87CF824DF30A}"/>
          </ac:spMkLst>
        </pc:spChg>
        <pc:spChg chg="del">
          <ac:chgData name="Sophie Bayer" userId="ede9276c-710b-4378-937b-bdc2eba6c543" providerId="ADAL" clId="{E3EDA246-60EA-465A-9C7B-AD452C69BB9D}" dt="2023-01-11T08:42:36.172" v="396" actId="478"/>
          <ac:spMkLst>
            <pc:docMk/>
            <pc:sldMk cId="3669439568" sldId="259"/>
            <ac:spMk id="30" creationId="{A5372025-63AF-44C9-8B44-B9AC7E12EF67}"/>
          </ac:spMkLst>
        </pc:spChg>
        <pc:spChg chg="del">
          <ac:chgData name="Sophie Bayer" userId="ede9276c-710b-4378-937b-bdc2eba6c543" providerId="ADAL" clId="{E3EDA246-60EA-465A-9C7B-AD452C69BB9D}" dt="2023-01-11T08:42:39.028" v="398" actId="478"/>
          <ac:spMkLst>
            <pc:docMk/>
            <pc:sldMk cId="3669439568" sldId="259"/>
            <ac:spMk id="33" creationId="{F70A229F-DC26-4F27-9080-E76CB637F00C}"/>
          </ac:spMkLst>
        </pc:spChg>
        <pc:spChg chg="del">
          <ac:chgData name="Sophie Bayer" userId="ede9276c-710b-4378-937b-bdc2eba6c543" providerId="ADAL" clId="{E3EDA246-60EA-465A-9C7B-AD452C69BB9D}" dt="2023-01-11T08:42:41.675" v="400" actId="478"/>
          <ac:spMkLst>
            <pc:docMk/>
            <pc:sldMk cId="3669439568" sldId="259"/>
            <ac:spMk id="34" creationId="{E1C44FA9-1994-4E77-8996-B6E40C4058C5}"/>
          </ac:spMkLst>
        </pc:spChg>
        <pc:spChg chg="mod ord">
          <ac:chgData name="Sophie Bayer" userId="ede9276c-710b-4378-937b-bdc2eba6c543" providerId="ADAL" clId="{E3EDA246-60EA-465A-9C7B-AD452C69BB9D}" dt="2023-01-11T12:32:46.186" v="11321"/>
          <ac:spMkLst>
            <pc:docMk/>
            <pc:sldMk cId="3669439568" sldId="259"/>
            <ac:spMk id="83" creationId="{213097FB-BA19-4D9F-96C6-9321049BB655}"/>
          </ac:spMkLst>
        </pc:spChg>
        <pc:spChg chg="add del mod">
          <ac:chgData name="Sophie Bayer" userId="ede9276c-710b-4378-937b-bdc2eba6c543" providerId="ADAL" clId="{E3EDA246-60EA-465A-9C7B-AD452C69BB9D}" dt="2023-01-11T08:56:01.049" v="1977"/>
          <ac:spMkLst>
            <pc:docMk/>
            <pc:sldMk cId="3669439568" sldId="259"/>
            <ac:spMk id="84" creationId="{146E2DDB-EFC0-41E1-8DD1-AF636C00BAAF}"/>
          </ac:spMkLst>
        </pc:spChg>
        <pc:spChg chg="add mod ord">
          <ac:chgData name="Sophie Bayer" userId="ede9276c-710b-4378-937b-bdc2eba6c543" providerId="ADAL" clId="{E3EDA246-60EA-465A-9C7B-AD452C69BB9D}" dt="2023-01-13T14:39:45.561" v="12464" actId="20577"/>
          <ac:spMkLst>
            <pc:docMk/>
            <pc:sldMk cId="3669439568" sldId="259"/>
            <ac:spMk id="85" creationId="{7C5ED0F2-D282-4EFE-A173-370A6822C1FB}"/>
          </ac:spMkLst>
        </pc:spChg>
        <pc:spChg chg="add mod ord">
          <ac:chgData name="Sophie Bayer" userId="ede9276c-710b-4378-937b-bdc2eba6c543" providerId="ADAL" clId="{E3EDA246-60EA-465A-9C7B-AD452C69BB9D}" dt="2023-01-13T14:42:21.548" v="12497" actId="20577"/>
          <ac:spMkLst>
            <pc:docMk/>
            <pc:sldMk cId="3669439568" sldId="259"/>
            <ac:spMk id="86" creationId="{13CDAC51-C63A-4448-A3C2-210A3F84137F}"/>
          </ac:spMkLst>
        </pc:spChg>
        <pc:spChg chg="add mod ord">
          <ac:chgData name="Sophie Bayer" userId="ede9276c-710b-4378-937b-bdc2eba6c543" providerId="ADAL" clId="{E3EDA246-60EA-465A-9C7B-AD452C69BB9D}" dt="2023-01-13T14:43:36.428" v="12659" actId="20577"/>
          <ac:spMkLst>
            <pc:docMk/>
            <pc:sldMk cId="3669439568" sldId="259"/>
            <ac:spMk id="87" creationId="{9E1DA7F9-5606-48EB-BF88-E256288C6546}"/>
          </ac:spMkLst>
        </pc:spChg>
        <pc:spChg chg="add mod ord">
          <ac:chgData name="Sophie Bayer" userId="ede9276c-710b-4378-937b-bdc2eba6c543" providerId="ADAL" clId="{E3EDA246-60EA-465A-9C7B-AD452C69BB9D}" dt="2023-01-13T14:44:28.004" v="12737" actId="20577"/>
          <ac:spMkLst>
            <pc:docMk/>
            <pc:sldMk cId="3669439568" sldId="259"/>
            <ac:spMk id="88" creationId="{13F261A7-5E0D-46BA-9456-20CDA5C1C974}"/>
          </ac:spMkLst>
        </pc:spChg>
        <pc:spChg chg="add mod ord">
          <ac:chgData name="Sophie Bayer" userId="ede9276c-710b-4378-937b-bdc2eba6c543" providerId="ADAL" clId="{E3EDA246-60EA-465A-9C7B-AD452C69BB9D}" dt="2023-01-11T12:32:46.182" v="11311"/>
          <ac:spMkLst>
            <pc:docMk/>
            <pc:sldMk cId="3669439568" sldId="259"/>
            <ac:spMk id="90" creationId="{857640C1-7B34-4E47-8CF4-559EAF0FEE08}"/>
          </ac:spMkLst>
        </pc:spChg>
        <pc:grpChg chg="mod ord">
          <ac:chgData name="Sophie Bayer" userId="ede9276c-710b-4378-937b-bdc2eba6c543" providerId="ADAL" clId="{E3EDA246-60EA-465A-9C7B-AD452C69BB9D}" dt="2023-01-11T12:32:46.192" v="11339"/>
          <ac:grpSpMkLst>
            <pc:docMk/>
            <pc:sldMk cId="3669439568" sldId="259"/>
            <ac:grpSpMk id="14" creationId="{FC2398FE-2C9F-4FCA-B793-8F8D84DE6682}"/>
          </ac:grpSpMkLst>
        </pc:grpChg>
        <pc:graphicFrameChg chg="mod">
          <ac:chgData name="Sophie Bayer" userId="ede9276c-710b-4378-937b-bdc2eba6c543" providerId="ADAL" clId="{E3EDA246-60EA-465A-9C7B-AD452C69BB9D}" dt="2023-01-11T12:32:46.193" v="11342"/>
          <ac:graphicFrameMkLst>
            <pc:docMk/>
            <pc:sldMk cId="3669439568" sldId="259"/>
            <ac:graphicFrameMk id="6" creationId="{04387A61-43FE-46B6-8C73-F239F7BF4336}"/>
          </ac:graphicFrameMkLst>
        </pc:graphicFrameChg>
        <pc:picChg chg="add mod ord">
          <ac:chgData name="Sophie Bayer" userId="ede9276c-710b-4378-937b-bdc2eba6c543" providerId="ADAL" clId="{E3EDA246-60EA-465A-9C7B-AD452C69BB9D}" dt="2023-01-11T12:32:56.056" v="11343" actId="207"/>
          <ac:picMkLst>
            <pc:docMk/>
            <pc:sldMk cId="3669439568" sldId="259"/>
            <ac:picMk id="3" creationId="{C48A0A83-3C87-45D9-9A46-3CA961AF10E8}"/>
          </ac:picMkLst>
        </pc:picChg>
        <pc:picChg chg="add mod ord">
          <ac:chgData name="Sophie Bayer" userId="ede9276c-710b-4378-937b-bdc2eba6c543" providerId="ADAL" clId="{E3EDA246-60EA-465A-9C7B-AD452C69BB9D}" dt="2023-01-11T12:32:56.056" v="11343" actId="207"/>
          <ac:picMkLst>
            <pc:docMk/>
            <pc:sldMk cId="3669439568" sldId="259"/>
            <ac:picMk id="5" creationId="{88A472E3-12B3-46F4-9D7C-94F6886BA65D}"/>
          </ac:picMkLst>
        </pc:picChg>
        <pc:picChg chg="add mod ord">
          <ac:chgData name="Sophie Bayer" userId="ede9276c-710b-4378-937b-bdc2eba6c543" providerId="ADAL" clId="{E3EDA246-60EA-465A-9C7B-AD452C69BB9D}" dt="2023-01-11T12:32:56.056" v="11343" actId="207"/>
          <ac:picMkLst>
            <pc:docMk/>
            <pc:sldMk cId="3669439568" sldId="259"/>
            <ac:picMk id="8" creationId="{0C8665C4-944F-445B-B39D-9A7BF073E887}"/>
          </ac:picMkLst>
        </pc:picChg>
        <pc:picChg chg="add mod ord">
          <ac:chgData name="Sophie Bayer" userId="ede9276c-710b-4378-937b-bdc2eba6c543" providerId="ADAL" clId="{E3EDA246-60EA-465A-9C7B-AD452C69BB9D}" dt="2023-01-11T12:32:56.056" v="11343" actId="207"/>
          <ac:picMkLst>
            <pc:docMk/>
            <pc:sldMk cId="3669439568" sldId="259"/>
            <ac:picMk id="89" creationId="{91E03500-05B1-4387-90C2-8FCA1000F7CB}"/>
          </ac:picMkLst>
        </pc:picChg>
      </pc:sldChg>
      <pc:sldChg chg="del mod modTransition modShow">
        <pc:chgData name="Sophie Bayer" userId="ede9276c-710b-4378-937b-bdc2eba6c543" providerId="ADAL" clId="{E3EDA246-60EA-465A-9C7B-AD452C69BB9D}" dt="2023-01-11T12:28:41.581" v="10904" actId="47"/>
        <pc:sldMkLst>
          <pc:docMk/>
          <pc:sldMk cId="2252367502" sldId="261"/>
        </pc:sldMkLst>
      </pc:sldChg>
      <pc:sldChg chg="del">
        <pc:chgData name="Sophie Bayer" userId="ede9276c-710b-4378-937b-bdc2eba6c543" providerId="ADAL" clId="{E3EDA246-60EA-465A-9C7B-AD452C69BB9D}" dt="2023-01-13T15:36:42.116" v="15640" actId="2696"/>
        <pc:sldMkLst>
          <pc:docMk/>
          <pc:sldMk cId="2878799675" sldId="261"/>
        </pc:sldMkLst>
      </pc:sldChg>
      <pc:sldChg chg="del mod modTransition modShow">
        <pc:chgData name="Sophie Bayer" userId="ede9276c-710b-4378-937b-bdc2eba6c543" providerId="ADAL" clId="{E3EDA246-60EA-465A-9C7B-AD452C69BB9D}" dt="2023-01-11T12:28:41.898" v="10905" actId="47"/>
        <pc:sldMkLst>
          <pc:docMk/>
          <pc:sldMk cId="4205915561" sldId="262"/>
        </pc:sldMkLst>
      </pc:sldChg>
      <pc:sldChg chg="del mod modTransition modShow">
        <pc:chgData name="Sophie Bayer" userId="ede9276c-710b-4378-937b-bdc2eba6c543" providerId="ADAL" clId="{E3EDA246-60EA-465A-9C7B-AD452C69BB9D}" dt="2023-01-11T12:28:51.437" v="10941" actId="47"/>
        <pc:sldMkLst>
          <pc:docMk/>
          <pc:sldMk cId="2932001311" sldId="273"/>
        </pc:sldMkLst>
      </pc:sldChg>
      <pc:sldChg chg="del mod modTransition modShow">
        <pc:chgData name="Sophie Bayer" userId="ede9276c-710b-4378-937b-bdc2eba6c543" providerId="ADAL" clId="{E3EDA246-60EA-465A-9C7B-AD452C69BB9D}" dt="2023-01-11T11:38:10.429" v="8100" actId="47"/>
        <pc:sldMkLst>
          <pc:docMk/>
          <pc:sldMk cId="2818176505" sldId="332"/>
        </pc:sldMkLst>
      </pc:sldChg>
      <pc:sldChg chg="del mod modTransition modShow">
        <pc:chgData name="Sophie Bayer" userId="ede9276c-710b-4378-937b-bdc2eba6c543" providerId="ADAL" clId="{E3EDA246-60EA-465A-9C7B-AD452C69BB9D}" dt="2023-01-11T12:28:41.255" v="10903" actId="47"/>
        <pc:sldMkLst>
          <pc:docMk/>
          <pc:sldMk cId="4046010928" sldId="333"/>
        </pc:sldMkLst>
      </pc:sldChg>
      <pc:sldChg chg="del mod modTransition modShow">
        <pc:chgData name="Sophie Bayer" userId="ede9276c-710b-4378-937b-bdc2eba6c543" providerId="ADAL" clId="{E3EDA246-60EA-465A-9C7B-AD452C69BB9D}" dt="2023-01-11T12:28:42.077" v="10906" actId="47"/>
        <pc:sldMkLst>
          <pc:docMk/>
          <pc:sldMk cId="755171214" sldId="335"/>
        </pc:sldMkLst>
      </pc:sldChg>
      <pc:sldChg chg="del mod modTransition modShow">
        <pc:chgData name="Sophie Bayer" userId="ede9276c-710b-4378-937b-bdc2eba6c543" providerId="ADAL" clId="{E3EDA246-60EA-465A-9C7B-AD452C69BB9D}" dt="2023-01-11T12:28:42.233" v="10907" actId="47"/>
        <pc:sldMkLst>
          <pc:docMk/>
          <pc:sldMk cId="3230653498" sldId="336"/>
        </pc:sldMkLst>
      </pc:sldChg>
      <pc:sldChg chg="del mod modTransition modShow">
        <pc:chgData name="Sophie Bayer" userId="ede9276c-710b-4378-937b-bdc2eba6c543" providerId="ADAL" clId="{E3EDA246-60EA-465A-9C7B-AD452C69BB9D}" dt="2023-01-11T12:28:42.748" v="10910" actId="47"/>
        <pc:sldMkLst>
          <pc:docMk/>
          <pc:sldMk cId="2798339461" sldId="337"/>
        </pc:sldMkLst>
      </pc:sldChg>
      <pc:sldChg chg="del mod modTransition modShow">
        <pc:chgData name="Sophie Bayer" userId="ede9276c-710b-4378-937b-bdc2eba6c543" providerId="ADAL" clId="{E3EDA246-60EA-465A-9C7B-AD452C69BB9D}" dt="2023-01-11T12:28:42.912" v="10911" actId="47"/>
        <pc:sldMkLst>
          <pc:docMk/>
          <pc:sldMk cId="4052520069" sldId="338"/>
        </pc:sldMkLst>
      </pc:sldChg>
      <pc:sldChg chg="del mod modTransition modShow">
        <pc:chgData name="Sophie Bayer" userId="ede9276c-710b-4378-937b-bdc2eba6c543" providerId="ADAL" clId="{E3EDA246-60EA-465A-9C7B-AD452C69BB9D}" dt="2023-01-11T12:28:43.096" v="10912" actId="47"/>
        <pc:sldMkLst>
          <pc:docMk/>
          <pc:sldMk cId="3775362778" sldId="339"/>
        </pc:sldMkLst>
      </pc:sldChg>
      <pc:sldChg chg="del mod modTransition modShow">
        <pc:chgData name="Sophie Bayer" userId="ede9276c-710b-4378-937b-bdc2eba6c543" providerId="ADAL" clId="{E3EDA246-60EA-465A-9C7B-AD452C69BB9D}" dt="2023-01-11T12:28:43.265" v="10913" actId="47"/>
        <pc:sldMkLst>
          <pc:docMk/>
          <pc:sldMk cId="4013160971" sldId="340"/>
        </pc:sldMkLst>
      </pc:sldChg>
      <pc:sldChg chg="del mod modTransition modShow">
        <pc:chgData name="Sophie Bayer" userId="ede9276c-710b-4378-937b-bdc2eba6c543" providerId="ADAL" clId="{E3EDA246-60EA-465A-9C7B-AD452C69BB9D}" dt="2023-01-11T12:28:52.283" v="10946" actId="47"/>
        <pc:sldMkLst>
          <pc:docMk/>
          <pc:sldMk cId="790945661" sldId="345"/>
        </pc:sldMkLst>
      </pc:sldChg>
      <pc:sldChg chg="del mod modTransition modShow">
        <pc:chgData name="Sophie Bayer" userId="ede9276c-710b-4378-937b-bdc2eba6c543" providerId="ADAL" clId="{E3EDA246-60EA-465A-9C7B-AD452C69BB9D}" dt="2023-01-11T12:28:58.726" v="10953" actId="47"/>
        <pc:sldMkLst>
          <pc:docMk/>
          <pc:sldMk cId="1584598773" sldId="346"/>
        </pc:sldMkLst>
      </pc:sldChg>
      <pc:sldChg chg="del mod modTransition modShow">
        <pc:chgData name="Sophie Bayer" userId="ede9276c-710b-4378-937b-bdc2eba6c543" providerId="ADAL" clId="{E3EDA246-60EA-465A-9C7B-AD452C69BB9D}" dt="2023-01-11T12:28:51.851" v="10944" actId="47"/>
        <pc:sldMkLst>
          <pc:docMk/>
          <pc:sldMk cId="3860365020" sldId="348"/>
        </pc:sldMkLst>
      </pc:sldChg>
      <pc:sldChg chg="del mod modTransition modShow">
        <pc:chgData name="Sophie Bayer" userId="ede9276c-710b-4378-937b-bdc2eba6c543" providerId="ADAL" clId="{E3EDA246-60EA-465A-9C7B-AD452C69BB9D}" dt="2023-01-11T12:28:52.067" v="10945" actId="47"/>
        <pc:sldMkLst>
          <pc:docMk/>
          <pc:sldMk cId="2523447034" sldId="349"/>
        </pc:sldMkLst>
      </pc:sldChg>
      <pc:sldChg chg="del mod modTransition modShow">
        <pc:chgData name="Sophie Bayer" userId="ede9276c-710b-4378-937b-bdc2eba6c543" providerId="ADAL" clId="{E3EDA246-60EA-465A-9C7B-AD452C69BB9D}" dt="2023-01-11T12:28:57.154" v="10948" actId="47"/>
        <pc:sldMkLst>
          <pc:docMk/>
          <pc:sldMk cId="4265384927" sldId="350"/>
        </pc:sldMkLst>
      </pc:sldChg>
      <pc:sldChg chg="del mod modTransition modShow">
        <pc:chgData name="Sophie Bayer" userId="ede9276c-710b-4378-937b-bdc2eba6c543" providerId="ADAL" clId="{E3EDA246-60EA-465A-9C7B-AD452C69BB9D}" dt="2023-01-11T12:28:58.178" v="10952" actId="47"/>
        <pc:sldMkLst>
          <pc:docMk/>
          <pc:sldMk cId="2886145505" sldId="351"/>
        </pc:sldMkLst>
      </pc:sldChg>
      <pc:sldChg chg="del mod modTransition modShow">
        <pc:chgData name="Sophie Bayer" userId="ede9276c-710b-4378-937b-bdc2eba6c543" providerId="ADAL" clId="{E3EDA246-60EA-465A-9C7B-AD452C69BB9D}" dt="2023-01-11T12:28:59.318" v="10954" actId="47"/>
        <pc:sldMkLst>
          <pc:docMk/>
          <pc:sldMk cId="2460403538" sldId="353"/>
        </pc:sldMkLst>
      </pc:sldChg>
      <pc:sldChg chg="del mod modTransition modShow">
        <pc:chgData name="Sophie Bayer" userId="ede9276c-710b-4378-937b-bdc2eba6c543" providerId="ADAL" clId="{E3EDA246-60EA-465A-9C7B-AD452C69BB9D}" dt="2023-01-11T12:28:51.602" v="10942" actId="47"/>
        <pc:sldMkLst>
          <pc:docMk/>
          <pc:sldMk cId="2028763355" sldId="354"/>
        </pc:sldMkLst>
      </pc:sldChg>
      <pc:sldChg chg="del mod modTransition modShow">
        <pc:chgData name="Sophie Bayer" userId="ede9276c-710b-4378-937b-bdc2eba6c543" providerId="ADAL" clId="{E3EDA246-60EA-465A-9C7B-AD452C69BB9D}" dt="2023-01-11T12:28:40.458" v="10902" actId="47"/>
        <pc:sldMkLst>
          <pc:docMk/>
          <pc:sldMk cId="1933092816" sldId="357"/>
        </pc:sldMkLst>
      </pc:sldChg>
      <pc:sldChg chg="del mod modTransition modShow">
        <pc:chgData name="Sophie Bayer" userId="ede9276c-710b-4378-937b-bdc2eba6c543" providerId="ADAL" clId="{E3EDA246-60EA-465A-9C7B-AD452C69BB9D}" dt="2023-01-11T12:28:42.414" v="10908" actId="47"/>
        <pc:sldMkLst>
          <pc:docMk/>
          <pc:sldMk cId="2353935210" sldId="358"/>
        </pc:sldMkLst>
      </pc:sldChg>
      <pc:sldChg chg="del mod modTransition modShow">
        <pc:chgData name="Sophie Bayer" userId="ede9276c-710b-4378-937b-bdc2eba6c543" providerId="ADAL" clId="{E3EDA246-60EA-465A-9C7B-AD452C69BB9D}" dt="2023-01-11T12:28:42.562" v="10909" actId="47"/>
        <pc:sldMkLst>
          <pc:docMk/>
          <pc:sldMk cId="2061743326" sldId="359"/>
        </pc:sldMkLst>
      </pc:sldChg>
      <pc:sldChg chg="del mod modTransition modShow">
        <pc:chgData name="Sophie Bayer" userId="ede9276c-710b-4378-937b-bdc2eba6c543" providerId="ADAL" clId="{E3EDA246-60EA-465A-9C7B-AD452C69BB9D}" dt="2023-01-11T12:28:46.180" v="10927" actId="47"/>
        <pc:sldMkLst>
          <pc:docMk/>
          <pc:sldMk cId="3012359772" sldId="360"/>
        </pc:sldMkLst>
      </pc:sldChg>
      <pc:sldChg chg="del mod modTransition modShow">
        <pc:chgData name="Sophie Bayer" userId="ede9276c-710b-4378-937b-bdc2eba6c543" providerId="ADAL" clId="{E3EDA246-60EA-465A-9C7B-AD452C69BB9D}" dt="2023-01-11T12:28:46.454" v="10928" actId="47"/>
        <pc:sldMkLst>
          <pc:docMk/>
          <pc:sldMk cId="4172593543" sldId="361"/>
        </pc:sldMkLst>
      </pc:sldChg>
      <pc:sldChg chg="del mod modTransition modShow">
        <pc:chgData name="Sophie Bayer" userId="ede9276c-710b-4378-937b-bdc2eba6c543" providerId="ADAL" clId="{E3EDA246-60EA-465A-9C7B-AD452C69BB9D}" dt="2023-01-11T12:28:50.830" v="10939" actId="47"/>
        <pc:sldMkLst>
          <pc:docMk/>
          <pc:sldMk cId="3794734831" sldId="362"/>
        </pc:sldMkLst>
      </pc:sldChg>
      <pc:sldChg chg="del mod modTransition modShow">
        <pc:chgData name="Sophie Bayer" userId="ede9276c-710b-4378-937b-bdc2eba6c543" providerId="ADAL" clId="{E3EDA246-60EA-465A-9C7B-AD452C69BB9D}" dt="2023-01-11T12:28:51.101" v="10940" actId="47"/>
        <pc:sldMkLst>
          <pc:docMk/>
          <pc:sldMk cId="1304524459" sldId="363"/>
        </pc:sldMkLst>
      </pc:sldChg>
      <pc:sldChg chg="del mod modTransition modShow">
        <pc:chgData name="Sophie Bayer" userId="ede9276c-710b-4378-937b-bdc2eba6c543" providerId="ADAL" clId="{E3EDA246-60EA-465A-9C7B-AD452C69BB9D}" dt="2023-01-11T12:28:57.077" v="10947" actId="47"/>
        <pc:sldMkLst>
          <pc:docMk/>
          <pc:sldMk cId="1398479334" sldId="365"/>
        </pc:sldMkLst>
      </pc:sldChg>
      <pc:sldChg chg="del mod modTransition modShow">
        <pc:chgData name="Sophie Bayer" userId="ede9276c-710b-4378-937b-bdc2eba6c543" providerId="ADAL" clId="{E3EDA246-60EA-465A-9C7B-AD452C69BB9D}" dt="2023-01-11T12:28:43.467" v="10914" actId="47"/>
        <pc:sldMkLst>
          <pc:docMk/>
          <pc:sldMk cId="2771612607" sldId="366"/>
        </pc:sldMkLst>
      </pc:sldChg>
      <pc:sldChg chg="del mod modTransition modShow">
        <pc:chgData name="Sophie Bayer" userId="ede9276c-710b-4378-937b-bdc2eba6c543" providerId="ADAL" clId="{E3EDA246-60EA-465A-9C7B-AD452C69BB9D}" dt="2023-01-11T12:28:43.800" v="10916" actId="47"/>
        <pc:sldMkLst>
          <pc:docMk/>
          <pc:sldMk cId="3914718293" sldId="367"/>
        </pc:sldMkLst>
      </pc:sldChg>
      <pc:sldChg chg="del mod modTransition modShow">
        <pc:chgData name="Sophie Bayer" userId="ede9276c-710b-4378-937b-bdc2eba6c543" providerId="ADAL" clId="{E3EDA246-60EA-465A-9C7B-AD452C69BB9D}" dt="2023-01-11T12:28:44.948" v="10922" actId="47"/>
        <pc:sldMkLst>
          <pc:docMk/>
          <pc:sldMk cId="4160176445" sldId="368"/>
        </pc:sldMkLst>
      </pc:sldChg>
      <pc:sldChg chg="del mod modTransition modShow">
        <pc:chgData name="Sophie Bayer" userId="ede9276c-710b-4378-937b-bdc2eba6c543" providerId="ADAL" clId="{E3EDA246-60EA-465A-9C7B-AD452C69BB9D}" dt="2023-01-11T12:28:45.882" v="10926" actId="47"/>
        <pc:sldMkLst>
          <pc:docMk/>
          <pc:sldMk cId="296844964" sldId="369"/>
        </pc:sldMkLst>
      </pc:sldChg>
      <pc:sldChg chg="del mod modTransition modShow">
        <pc:chgData name="Sophie Bayer" userId="ede9276c-710b-4378-937b-bdc2eba6c543" providerId="ADAL" clId="{E3EDA246-60EA-465A-9C7B-AD452C69BB9D}" dt="2023-01-11T12:28:50.402" v="10937" actId="47"/>
        <pc:sldMkLst>
          <pc:docMk/>
          <pc:sldMk cId="1962728116" sldId="371"/>
        </pc:sldMkLst>
      </pc:sldChg>
      <pc:sldChg chg="del mod modTransition modShow">
        <pc:chgData name="Sophie Bayer" userId="ede9276c-710b-4378-937b-bdc2eba6c543" providerId="ADAL" clId="{E3EDA246-60EA-465A-9C7B-AD452C69BB9D}" dt="2023-01-11T12:28:50.574" v="10938" actId="47"/>
        <pc:sldMkLst>
          <pc:docMk/>
          <pc:sldMk cId="554653407" sldId="372"/>
        </pc:sldMkLst>
      </pc:sldChg>
      <pc:sldChg chg="del mod modTransition modShow">
        <pc:chgData name="Sophie Bayer" userId="ede9276c-710b-4378-937b-bdc2eba6c543" providerId="ADAL" clId="{E3EDA246-60EA-465A-9C7B-AD452C69BB9D}" dt="2023-01-11T12:28:46.699" v="10929" actId="47"/>
        <pc:sldMkLst>
          <pc:docMk/>
          <pc:sldMk cId="1709885814" sldId="373"/>
        </pc:sldMkLst>
      </pc:sldChg>
      <pc:sldChg chg="del mod modTransition modShow">
        <pc:chgData name="Sophie Bayer" userId="ede9276c-710b-4378-937b-bdc2eba6c543" providerId="ADAL" clId="{E3EDA246-60EA-465A-9C7B-AD452C69BB9D}" dt="2023-01-11T12:28:44.517" v="10920" actId="47"/>
        <pc:sldMkLst>
          <pc:docMk/>
          <pc:sldMk cId="550609445" sldId="374"/>
        </pc:sldMkLst>
      </pc:sldChg>
      <pc:sldChg chg="del">
        <pc:chgData name="Sophie Bayer" userId="ede9276c-710b-4378-937b-bdc2eba6c543" providerId="ADAL" clId="{E3EDA246-60EA-465A-9C7B-AD452C69BB9D}" dt="2023-01-11T12:28:43.649" v="10915" actId="47"/>
        <pc:sldMkLst>
          <pc:docMk/>
          <pc:sldMk cId="3637002758" sldId="375"/>
        </pc:sldMkLst>
      </pc:sldChg>
      <pc:sldChg chg="del">
        <pc:chgData name="Sophie Bayer" userId="ede9276c-710b-4378-937b-bdc2eba6c543" providerId="ADAL" clId="{E3EDA246-60EA-465A-9C7B-AD452C69BB9D}" dt="2023-01-11T12:28:44.350" v="10919" actId="47"/>
        <pc:sldMkLst>
          <pc:docMk/>
          <pc:sldMk cId="3517233019" sldId="376"/>
        </pc:sldMkLst>
      </pc:sldChg>
      <pc:sldChg chg="del mod modTransition modShow">
        <pc:chgData name="Sophie Bayer" userId="ede9276c-710b-4378-937b-bdc2eba6c543" providerId="ADAL" clId="{E3EDA246-60EA-465A-9C7B-AD452C69BB9D}" dt="2023-01-11T12:28:44.003" v="10917" actId="47"/>
        <pc:sldMkLst>
          <pc:docMk/>
          <pc:sldMk cId="877772384" sldId="377"/>
        </pc:sldMkLst>
      </pc:sldChg>
      <pc:sldChg chg="del mod modTransition modShow">
        <pc:chgData name="Sophie Bayer" userId="ede9276c-710b-4378-937b-bdc2eba6c543" providerId="ADAL" clId="{E3EDA246-60EA-465A-9C7B-AD452C69BB9D}" dt="2023-01-11T12:28:44.238" v="10918" actId="47"/>
        <pc:sldMkLst>
          <pc:docMk/>
          <pc:sldMk cId="3145060571" sldId="378"/>
        </pc:sldMkLst>
      </pc:sldChg>
      <pc:sldChg chg="del mod modTransition modShow">
        <pc:chgData name="Sophie Bayer" userId="ede9276c-710b-4378-937b-bdc2eba6c543" providerId="ADAL" clId="{E3EDA246-60EA-465A-9C7B-AD452C69BB9D}" dt="2023-01-11T12:28:45.346" v="10924" actId="47"/>
        <pc:sldMkLst>
          <pc:docMk/>
          <pc:sldMk cId="2779438717" sldId="379"/>
        </pc:sldMkLst>
      </pc:sldChg>
      <pc:sldChg chg="del mod modTransition modShow">
        <pc:chgData name="Sophie Bayer" userId="ede9276c-710b-4378-937b-bdc2eba6c543" providerId="ADAL" clId="{E3EDA246-60EA-465A-9C7B-AD452C69BB9D}" dt="2023-01-11T12:28:45.106" v="10923" actId="47"/>
        <pc:sldMkLst>
          <pc:docMk/>
          <pc:sldMk cId="2049808364" sldId="1958"/>
        </pc:sldMkLst>
      </pc:sldChg>
      <pc:sldChg chg="del mod modTransition modShow">
        <pc:chgData name="Sophie Bayer" userId="ede9276c-710b-4378-937b-bdc2eba6c543" providerId="ADAL" clId="{E3EDA246-60EA-465A-9C7B-AD452C69BB9D}" dt="2023-01-11T12:28:49.064" v="10934" actId="47"/>
        <pc:sldMkLst>
          <pc:docMk/>
          <pc:sldMk cId="185529852" sldId="1961"/>
        </pc:sldMkLst>
      </pc:sldChg>
      <pc:sldChg chg="del mod modTransition modShow">
        <pc:chgData name="Sophie Bayer" userId="ede9276c-710b-4378-937b-bdc2eba6c543" providerId="ADAL" clId="{E3EDA246-60EA-465A-9C7B-AD452C69BB9D}" dt="2023-01-11T12:28:44.720" v="10921" actId="47"/>
        <pc:sldMkLst>
          <pc:docMk/>
          <pc:sldMk cId="1002486658" sldId="1963"/>
        </pc:sldMkLst>
      </pc:sldChg>
      <pc:sldChg chg="del mod modTransition modShow">
        <pc:chgData name="Sophie Bayer" userId="ede9276c-710b-4378-937b-bdc2eba6c543" providerId="ADAL" clId="{E3EDA246-60EA-465A-9C7B-AD452C69BB9D}" dt="2023-01-11T12:28:48.717" v="10933" actId="47"/>
        <pc:sldMkLst>
          <pc:docMk/>
          <pc:sldMk cId="2826444439" sldId="1965"/>
        </pc:sldMkLst>
      </pc:sldChg>
      <pc:sldChg chg="del mod modTransition modShow">
        <pc:chgData name="Sophie Bayer" userId="ede9276c-710b-4378-937b-bdc2eba6c543" providerId="ADAL" clId="{E3EDA246-60EA-465A-9C7B-AD452C69BB9D}" dt="2023-01-11T12:28:51.697" v="10943" actId="47"/>
        <pc:sldMkLst>
          <pc:docMk/>
          <pc:sldMk cId="2562491607" sldId="1966"/>
        </pc:sldMkLst>
      </pc:sldChg>
      <pc:sldChg chg="del mod modTransition modShow">
        <pc:chgData name="Sophie Bayer" userId="ede9276c-710b-4378-937b-bdc2eba6c543" providerId="ADAL" clId="{E3EDA246-60EA-465A-9C7B-AD452C69BB9D}" dt="2023-01-11T12:28:48.099" v="10931" actId="47"/>
        <pc:sldMkLst>
          <pc:docMk/>
          <pc:sldMk cId="4187741305" sldId="1968"/>
        </pc:sldMkLst>
      </pc:sldChg>
      <pc:sldChg chg="del mod modTransition modShow">
        <pc:chgData name="Sophie Bayer" userId="ede9276c-710b-4378-937b-bdc2eba6c543" providerId="ADAL" clId="{E3EDA246-60EA-465A-9C7B-AD452C69BB9D}" dt="2023-01-11T12:28:47.345" v="10930" actId="47"/>
        <pc:sldMkLst>
          <pc:docMk/>
          <pc:sldMk cId="3516047938" sldId="1969"/>
        </pc:sldMkLst>
      </pc:sldChg>
      <pc:sldChg chg="del mod modTransition modShow">
        <pc:chgData name="Sophie Bayer" userId="ede9276c-710b-4378-937b-bdc2eba6c543" providerId="ADAL" clId="{E3EDA246-60EA-465A-9C7B-AD452C69BB9D}" dt="2023-01-11T12:28:48.478" v="10932" actId="47"/>
        <pc:sldMkLst>
          <pc:docMk/>
          <pc:sldMk cId="3444791552" sldId="1970"/>
        </pc:sldMkLst>
      </pc:sldChg>
      <pc:sldChg chg="del mod modTransition modShow">
        <pc:chgData name="Sophie Bayer" userId="ede9276c-710b-4378-937b-bdc2eba6c543" providerId="ADAL" clId="{E3EDA246-60EA-465A-9C7B-AD452C69BB9D}" dt="2023-01-11T12:28:49.700" v="10935" actId="47"/>
        <pc:sldMkLst>
          <pc:docMk/>
          <pc:sldMk cId="2003708142" sldId="1971"/>
        </pc:sldMkLst>
      </pc:sldChg>
      <pc:sldChg chg="del mod modTransition modShow">
        <pc:chgData name="Sophie Bayer" userId="ede9276c-710b-4378-937b-bdc2eba6c543" providerId="ADAL" clId="{E3EDA246-60EA-465A-9C7B-AD452C69BB9D}" dt="2023-01-11T12:28:45.599" v="10925" actId="47"/>
        <pc:sldMkLst>
          <pc:docMk/>
          <pc:sldMk cId="2948720233" sldId="1973"/>
        </pc:sldMkLst>
      </pc:sldChg>
      <pc:sldChg chg="modSp del mod modTransition modShow">
        <pc:chgData name="Sophie Bayer" userId="ede9276c-710b-4378-937b-bdc2eba6c543" providerId="ADAL" clId="{E3EDA246-60EA-465A-9C7B-AD452C69BB9D}" dt="2023-01-11T12:28:50.191" v="10936" actId="47"/>
        <pc:sldMkLst>
          <pc:docMk/>
          <pc:sldMk cId="2516362996" sldId="1974"/>
        </pc:sldMkLst>
        <pc:spChg chg="mod">
          <ac:chgData name="Sophie Bayer" userId="ede9276c-710b-4378-937b-bdc2eba6c543" providerId="ADAL" clId="{E3EDA246-60EA-465A-9C7B-AD452C69BB9D}" dt="2023-01-11T08:37:58.489" v="124" actId="1076"/>
          <ac:spMkLst>
            <pc:docMk/>
            <pc:sldMk cId="2516362996" sldId="1974"/>
            <ac:spMk id="55" creationId="{0BF50991-5091-47C0-B219-4579DD101A8D}"/>
          </ac:spMkLst>
        </pc:spChg>
      </pc:sldChg>
      <pc:sldChg chg="del mod modTransition modShow">
        <pc:chgData name="Sophie Bayer" userId="ede9276c-710b-4378-937b-bdc2eba6c543" providerId="ADAL" clId="{E3EDA246-60EA-465A-9C7B-AD452C69BB9D}" dt="2023-01-11T12:28:59.894" v="10955" actId="47"/>
        <pc:sldMkLst>
          <pc:docMk/>
          <pc:sldMk cId="3408524651" sldId="1975"/>
        </pc:sldMkLst>
      </pc:sldChg>
      <pc:sldChg chg="new add del mod ord modTransition modShow">
        <pc:chgData name="Sophie Bayer" userId="ede9276c-710b-4378-937b-bdc2eba6c543" providerId="ADAL" clId="{E3EDA246-60EA-465A-9C7B-AD452C69BB9D}" dt="2023-01-11T08:39:49.051" v="294" actId="2696"/>
        <pc:sldMkLst>
          <pc:docMk/>
          <pc:sldMk cId="484642505" sldId="1976"/>
        </pc:sldMkLst>
      </pc:sldChg>
      <pc:sldChg chg="new add del">
        <pc:chgData name="Sophie Bayer" userId="ede9276c-710b-4378-937b-bdc2eba6c543" providerId="ADAL" clId="{E3EDA246-60EA-465A-9C7B-AD452C69BB9D}" dt="2023-01-11T08:37:33.297" v="118" actId="47"/>
        <pc:sldMkLst>
          <pc:docMk/>
          <pc:sldMk cId="3244478970" sldId="1977"/>
        </pc:sldMkLst>
      </pc:sldChg>
      <pc:sldChg chg="addSp delSp modSp new add del mod">
        <pc:chgData name="Sophie Bayer" userId="ede9276c-710b-4378-937b-bdc2eba6c543" providerId="ADAL" clId="{E3EDA246-60EA-465A-9C7B-AD452C69BB9D}" dt="2023-01-11T08:39:39.711" v="293" actId="1076"/>
        <pc:sldMkLst>
          <pc:docMk/>
          <pc:sldMk cId="2397171875" sldId="1978"/>
        </pc:sldMkLst>
        <pc:spChg chg="del">
          <ac:chgData name="Sophie Bayer" userId="ede9276c-710b-4378-937b-bdc2eba6c543" providerId="ADAL" clId="{E3EDA246-60EA-465A-9C7B-AD452C69BB9D}" dt="2023-01-11T07:48:55.520" v="10" actId="478"/>
          <ac:spMkLst>
            <pc:docMk/>
            <pc:sldMk cId="2397171875" sldId="1978"/>
            <ac:spMk id="2" creationId="{4871491D-D8AC-4BEB-B286-48683A750518}"/>
          </ac:spMkLst>
        </pc:spChg>
        <pc:spChg chg="del">
          <ac:chgData name="Sophie Bayer" userId="ede9276c-710b-4378-937b-bdc2eba6c543" providerId="ADAL" clId="{E3EDA246-60EA-465A-9C7B-AD452C69BB9D}" dt="2023-01-11T07:48:57.420" v="28" actId="478"/>
          <ac:spMkLst>
            <pc:docMk/>
            <pc:sldMk cId="2397171875" sldId="1978"/>
            <ac:spMk id="3" creationId="{5296E5D6-30FB-407E-ACA8-26144B83C230}"/>
          </ac:spMkLst>
        </pc:spChg>
        <pc:spChg chg="add del mod">
          <ac:chgData name="Sophie Bayer" userId="ede9276c-710b-4378-937b-bdc2eba6c543" providerId="ADAL" clId="{E3EDA246-60EA-465A-9C7B-AD452C69BB9D}" dt="2023-01-11T08:38:19.042" v="126" actId="478"/>
          <ac:spMkLst>
            <pc:docMk/>
            <pc:sldMk cId="2397171875" sldId="1978"/>
            <ac:spMk id="8" creationId="{6C180177-B8CE-4DD9-A1F1-3F27B3AA6D72}"/>
          </ac:spMkLst>
        </pc:spChg>
        <pc:spChg chg="add mod">
          <ac:chgData name="Sophie Bayer" userId="ede9276c-710b-4378-937b-bdc2eba6c543" providerId="ADAL" clId="{E3EDA246-60EA-465A-9C7B-AD452C69BB9D}" dt="2023-01-11T08:39:39.711" v="293" actId="1076"/>
          <ac:spMkLst>
            <pc:docMk/>
            <pc:sldMk cId="2397171875" sldId="1978"/>
            <ac:spMk id="9" creationId="{53EEA5E1-87DC-4386-846F-97C024B4B09C}"/>
          </ac:spMkLst>
        </pc:spChg>
        <pc:graphicFrameChg chg="add mod ord modVis replST">
          <ac:chgData name="Sophie Bayer" userId="ede9276c-710b-4378-937b-bdc2eba6c543" providerId="ADAL" clId="{E3EDA246-60EA-465A-9C7B-AD452C69BB9D}" dt="2023-01-11T07:51:49.758" v="97"/>
          <ac:graphicFrameMkLst>
            <pc:docMk/>
            <pc:sldMk cId="2397171875" sldId="1978"/>
            <ac:graphicFrameMk id="4" creationId="{55F73888-6420-44B3-8CC8-CF3156B09B14}"/>
          </ac:graphicFrameMkLst>
        </pc:graphicFrameChg>
        <pc:picChg chg="add mod">
          <ac:chgData name="Sophie Bayer" userId="ede9276c-710b-4378-937b-bdc2eba6c543" providerId="ADAL" clId="{E3EDA246-60EA-465A-9C7B-AD452C69BB9D}" dt="2023-01-11T08:36:45.808" v="98"/>
          <ac:picMkLst>
            <pc:docMk/>
            <pc:sldMk cId="2397171875" sldId="1978"/>
            <ac:picMk id="6" creationId="{0F48D4C5-1072-4C2B-B28F-27F7928A6DA6}"/>
          </ac:picMkLst>
        </pc:picChg>
        <pc:picChg chg="add mod">
          <ac:chgData name="Sophie Bayer" userId="ede9276c-710b-4378-937b-bdc2eba6c543" providerId="ADAL" clId="{E3EDA246-60EA-465A-9C7B-AD452C69BB9D}" dt="2023-01-11T08:36:45.808" v="98"/>
          <ac:picMkLst>
            <pc:docMk/>
            <pc:sldMk cId="2397171875" sldId="1978"/>
            <ac:picMk id="7" creationId="{C5C276D7-28C6-4B24-A698-2835D220F3C0}"/>
          </ac:picMkLst>
        </pc:picChg>
        <pc:picChg chg="add del">
          <ac:chgData name="Sophie Bayer" userId="ede9276c-710b-4378-937b-bdc2eba6c543" providerId="ADAL" clId="{E3EDA246-60EA-465A-9C7B-AD452C69BB9D}" dt="2023-01-11T07:50:21.293" v="89"/>
          <ac:picMkLst>
            <pc:docMk/>
            <pc:sldMk cId="2397171875" sldId="1978"/>
            <ac:picMk id="169986" creationId="{4F365E12-282A-4EE5-A293-74B061730645}"/>
          </ac:picMkLst>
        </pc:picChg>
      </pc:sldChg>
      <pc:sldChg chg="new add del">
        <pc:chgData name="Sophie Bayer" userId="ede9276c-710b-4378-937b-bdc2eba6c543" providerId="ADAL" clId="{E3EDA246-60EA-465A-9C7B-AD452C69BB9D}" dt="2023-01-11T07:48:45.979" v="7" actId="680"/>
        <pc:sldMkLst>
          <pc:docMk/>
          <pc:sldMk cId="2440918450" sldId="1978"/>
        </pc:sldMkLst>
      </pc:sldChg>
      <pc:sldChg chg="addSp delSp modSp new add del mod">
        <pc:chgData name="Sophie Bayer" userId="ede9276c-710b-4378-937b-bdc2eba6c543" providerId="ADAL" clId="{E3EDA246-60EA-465A-9C7B-AD452C69BB9D}" dt="2023-01-11T07:50:12.603" v="82" actId="680"/>
        <pc:sldMkLst>
          <pc:docMk/>
          <pc:sldMk cId="3477507754" sldId="1978"/>
        </pc:sldMkLst>
        <pc:spChg chg="mod ord">
          <ac:chgData name="Sophie Bayer" userId="ede9276c-710b-4378-937b-bdc2eba6c543" providerId="ADAL" clId="{E3EDA246-60EA-465A-9C7B-AD452C69BB9D}" dt="2023-01-11T07:50:10.354" v="79"/>
          <ac:spMkLst>
            <pc:docMk/>
            <pc:sldMk cId="3477507754" sldId="1978"/>
            <ac:spMk id="2" creationId="{8F4D4711-D1E1-4DCD-8FB4-E81A0B9EAF71}"/>
          </ac:spMkLst>
        </pc:spChg>
        <pc:spChg chg="mod ord">
          <ac:chgData name="Sophie Bayer" userId="ede9276c-710b-4378-937b-bdc2eba6c543" providerId="ADAL" clId="{E3EDA246-60EA-465A-9C7B-AD452C69BB9D}" dt="2023-01-11T07:50:10.354" v="79"/>
          <ac:spMkLst>
            <pc:docMk/>
            <pc:sldMk cId="3477507754" sldId="1978"/>
            <ac:spMk id="3" creationId="{EF5080A8-4718-4971-96AD-DF5E8BC748F9}"/>
          </ac:spMkLst>
        </pc:spChg>
        <pc:spChg chg="mod ord">
          <ac:chgData name="Sophie Bayer" userId="ede9276c-710b-4378-937b-bdc2eba6c543" providerId="ADAL" clId="{E3EDA246-60EA-465A-9C7B-AD452C69BB9D}" dt="2023-01-11T07:50:10.354" v="79"/>
          <ac:spMkLst>
            <pc:docMk/>
            <pc:sldMk cId="3477507754" sldId="1978"/>
            <ac:spMk id="4" creationId="{A8571976-5732-425B-91AA-D78C5989C237}"/>
          </ac:spMkLst>
        </pc:spChg>
        <pc:spChg chg="mod ord">
          <ac:chgData name="Sophie Bayer" userId="ede9276c-710b-4378-937b-bdc2eba6c543" providerId="ADAL" clId="{E3EDA246-60EA-465A-9C7B-AD452C69BB9D}" dt="2023-01-11T07:50:10.354" v="79"/>
          <ac:spMkLst>
            <pc:docMk/>
            <pc:sldMk cId="3477507754" sldId="1978"/>
            <ac:spMk id="5" creationId="{E7A4F29C-1BFF-432E-8E2D-FC2091F7C8CA}"/>
          </ac:spMkLst>
        </pc:spChg>
        <pc:spChg chg="add del mod ord">
          <ac:chgData name="Sophie Bayer" userId="ede9276c-710b-4378-937b-bdc2eba6c543" providerId="ADAL" clId="{E3EDA246-60EA-465A-9C7B-AD452C69BB9D}" dt="2023-01-11T07:50:11.624" v="81" actId="11529"/>
          <ac:spMkLst>
            <pc:docMk/>
            <pc:sldMk cId="3477507754" sldId="1978"/>
            <ac:spMk id="6" creationId="{5031E8F0-C2C3-41B3-9E65-3817834696AF}"/>
          </ac:spMkLst>
        </pc:spChg>
        <pc:graphicFrameChg chg="add del mod ord modVis replST delST">
          <ac:chgData name="Sophie Bayer" userId="ede9276c-710b-4378-937b-bdc2eba6c543" providerId="ADAL" clId="{E3EDA246-60EA-465A-9C7B-AD452C69BB9D}" dt="2023-01-11T07:50:10.354" v="79"/>
          <ac:graphicFrameMkLst>
            <pc:docMk/>
            <pc:sldMk cId="3477507754" sldId="1978"/>
            <ac:graphicFrameMk id="7" creationId="{FA0335E7-BDA9-46CA-AF08-7249B2151CC6}"/>
          </ac:graphicFrameMkLst>
        </pc:graphicFrameChg>
      </pc:sldChg>
      <pc:sldChg chg="addSp delSp modSp new add del mod">
        <pc:chgData name="Sophie Bayer" userId="ede9276c-710b-4378-937b-bdc2eba6c543" providerId="ADAL" clId="{E3EDA246-60EA-465A-9C7B-AD452C69BB9D}" dt="2023-01-11T08:48:55.727" v="1864" actId="2696"/>
        <pc:sldMkLst>
          <pc:docMk/>
          <pc:sldMk cId="2207823325" sldId="1979"/>
        </pc:sldMkLst>
        <pc:spChg chg="mod">
          <ac:chgData name="Sophie Bayer" userId="ede9276c-710b-4378-937b-bdc2eba6c543" providerId="ADAL" clId="{E3EDA246-60EA-465A-9C7B-AD452C69BB9D}" dt="2023-01-11T08:44:27.637" v="715" actId="948"/>
          <ac:spMkLst>
            <pc:docMk/>
            <pc:sldMk cId="2207823325" sldId="1979"/>
            <ac:spMk id="2" creationId="{36710583-0CD0-41A8-9710-26141A2ACC38}"/>
          </ac:spMkLst>
        </pc:spChg>
        <pc:spChg chg="add del mod modVis">
          <ac:chgData name="Sophie Bayer" userId="ede9276c-710b-4378-937b-bdc2eba6c543" providerId="ADAL" clId="{E3EDA246-60EA-465A-9C7B-AD452C69BB9D}" dt="2023-01-11T08:44:24.578" v="595"/>
          <ac:spMkLst>
            <pc:docMk/>
            <pc:sldMk cId="2207823325" sldId="1979"/>
            <ac:spMk id="4" creationId="{FA659554-962F-4BD5-9B5A-53C14FAD1DBA}"/>
          </ac:spMkLst>
        </pc:spChg>
        <pc:spChg chg="add del mod modVis">
          <ac:chgData name="Sophie Bayer" userId="ede9276c-710b-4378-937b-bdc2eba6c543" providerId="ADAL" clId="{E3EDA246-60EA-465A-9C7B-AD452C69BB9D}" dt="2023-01-11T08:44:25.774" v="658"/>
          <ac:spMkLst>
            <pc:docMk/>
            <pc:sldMk cId="2207823325" sldId="1979"/>
            <ac:spMk id="6" creationId="{BE4EA817-83B0-4545-AF5E-C27A820C664A}"/>
          </ac:spMkLst>
        </pc:spChg>
        <pc:spChg chg="add del mod modVis">
          <ac:chgData name="Sophie Bayer" userId="ede9276c-710b-4378-937b-bdc2eba6c543" providerId="ADAL" clId="{E3EDA246-60EA-465A-9C7B-AD452C69BB9D}" dt="2023-01-11T08:44:26.112" v="702"/>
          <ac:spMkLst>
            <pc:docMk/>
            <pc:sldMk cId="2207823325" sldId="1979"/>
            <ac:spMk id="7" creationId="{B6A511FC-C892-496A-938C-5F8AAF1416BF}"/>
          </ac:spMkLst>
        </pc:spChg>
        <pc:spChg chg="add del mod modVis">
          <ac:chgData name="Sophie Bayer" userId="ede9276c-710b-4378-937b-bdc2eba6c543" providerId="ADAL" clId="{E3EDA246-60EA-465A-9C7B-AD452C69BB9D}" dt="2023-01-11T08:44:27.692" v="755"/>
          <ac:spMkLst>
            <pc:docMk/>
            <pc:sldMk cId="2207823325" sldId="1979"/>
            <ac:spMk id="8" creationId="{3D3EAACD-F8CB-4FD4-AE21-700AF51D0981}"/>
          </ac:spMkLst>
        </pc:spChg>
        <pc:graphicFrameChg chg="add mod ord modVis replST">
          <ac:chgData name="Sophie Bayer" userId="ede9276c-710b-4378-937b-bdc2eba6c543" providerId="ADAL" clId="{E3EDA246-60EA-465A-9C7B-AD452C69BB9D}" dt="2023-01-11T08:44:27.695" v="757"/>
          <ac:graphicFrameMkLst>
            <pc:docMk/>
            <pc:sldMk cId="2207823325" sldId="1979"/>
            <ac:graphicFrameMk id="5" creationId="{DC0FC70F-25E2-435C-99DD-E1A9E536604C}"/>
          </ac:graphicFrameMkLst>
        </pc:graphicFrameChg>
      </pc:sldChg>
      <pc:sldChg chg="addSp delSp modSp new add mod addCm delCm">
        <pc:chgData name="Sophie Bayer" userId="ede9276c-710b-4378-937b-bdc2eba6c543" providerId="ADAL" clId="{E3EDA246-60EA-465A-9C7B-AD452C69BB9D}" dt="2023-01-13T14:57:51.060" v="13362"/>
        <pc:sldMkLst>
          <pc:docMk/>
          <pc:sldMk cId="216788736" sldId="1980"/>
        </pc:sldMkLst>
        <pc:spChg chg="mod ord">
          <ac:chgData name="Sophie Bayer" userId="ede9276c-710b-4378-937b-bdc2eba6c543" providerId="ADAL" clId="{E3EDA246-60EA-465A-9C7B-AD452C69BB9D}" dt="2023-01-11T09:33:10.956" v="3050" actId="948"/>
          <ac:spMkLst>
            <pc:docMk/>
            <pc:sldMk cId="216788736" sldId="1980"/>
            <ac:spMk id="2" creationId="{086C204E-F617-4773-80B1-4992F18DE87E}"/>
          </ac:spMkLst>
        </pc:spChg>
        <pc:spChg chg="del">
          <ac:chgData name="Sophie Bayer" userId="ede9276c-710b-4378-937b-bdc2eba6c543" providerId="ADAL" clId="{E3EDA246-60EA-465A-9C7B-AD452C69BB9D}" dt="2023-01-11T09:27:35.507" v="2830" actId="931"/>
          <ac:spMkLst>
            <pc:docMk/>
            <pc:sldMk cId="216788736" sldId="1980"/>
            <ac:spMk id="3" creationId="{D883120A-63F3-4D42-828A-8F93215F0EA3}"/>
          </ac:spMkLst>
        </pc:spChg>
        <pc:spChg chg="add del mod modVis">
          <ac:chgData name="Sophie Bayer" userId="ede9276c-710b-4378-937b-bdc2eba6c543" providerId="ADAL" clId="{E3EDA246-60EA-465A-9C7B-AD452C69BB9D}" dt="2023-01-11T08:44:34.977" v="814"/>
          <ac:spMkLst>
            <pc:docMk/>
            <pc:sldMk cId="216788736" sldId="1980"/>
            <ac:spMk id="4" creationId="{B44DC4D7-0CB2-4D66-924E-FAB21D049D6A}"/>
          </ac:spMkLst>
        </pc:spChg>
        <pc:spChg chg="add del mod modVis">
          <ac:chgData name="Sophie Bayer" userId="ede9276c-710b-4378-937b-bdc2eba6c543" providerId="ADAL" clId="{E3EDA246-60EA-465A-9C7B-AD452C69BB9D}" dt="2023-01-11T09:24:35.446" v="2444"/>
          <ac:spMkLst>
            <pc:docMk/>
            <pc:sldMk cId="216788736" sldId="1980"/>
            <ac:spMk id="6" creationId="{5163121D-5247-4379-8BC3-D983E38A241D}"/>
          </ac:spMkLst>
        </pc:spChg>
        <pc:spChg chg="add del mod modVis">
          <ac:chgData name="Sophie Bayer" userId="ede9276c-710b-4378-937b-bdc2eba6c543" providerId="ADAL" clId="{E3EDA246-60EA-465A-9C7B-AD452C69BB9D}" dt="2023-01-11T09:24:54.220" v="2494"/>
          <ac:spMkLst>
            <pc:docMk/>
            <pc:sldMk cId="216788736" sldId="1980"/>
            <ac:spMk id="7" creationId="{0ED60447-E6E6-4914-A469-961C8203E4B1}"/>
          </ac:spMkLst>
        </pc:spChg>
        <pc:spChg chg="add del mod modVis">
          <ac:chgData name="Sophie Bayer" userId="ede9276c-710b-4378-937b-bdc2eba6c543" providerId="ADAL" clId="{E3EDA246-60EA-465A-9C7B-AD452C69BB9D}" dt="2023-01-11T09:24:58.050" v="2557"/>
          <ac:spMkLst>
            <pc:docMk/>
            <pc:sldMk cId="216788736" sldId="1980"/>
            <ac:spMk id="8" creationId="{1C3C33BF-AACC-4B03-9A72-99CC92ABDDA8}"/>
          </ac:spMkLst>
        </pc:spChg>
        <pc:spChg chg="add del mod modVis">
          <ac:chgData name="Sophie Bayer" userId="ede9276c-710b-4378-937b-bdc2eba6c543" providerId="ADAL" clId="{E3EDA246-60EA-465A-9C7B-AD452C69BB9D}" dt="2023-01-11T09:25:36.982" v="2606"/>
          <ac:spMkLst>
            <pc:docMk/>
            <pc:sldMk cId="216788736" sldId="1980"/>
            <ac:spMk id="9" creationId="{6D57F8C6-0030-4E88-A0D6-437D88CE757C}"/>
          </ac:spMkLst>
        </pc:spChg>
        <pc:spChg chg="add del mod modVis">
          <ac:chgData name="Sophie Bayer" userId="ede9276c-710b-4378-937b-bdc2eba6c543" providerId="ADAL" clId="{E3EDA246-60EA-465A-9C7B-AD452C69BB9D}" dt="2023-01-11T09:26:15.737" v="2650"/>
          <ac:spMkLst>
            <pc:docMk/>
            <pc:sldMk cId="216788736" sldId="1980"/>
            <ac:spMk id="10" creationId="{AF424D27-0768-46E2-93BE-37047FEFBD9F}"/>
          </ac:spMkLst>
        </pc:spChg>
        <pc:spChg chg="add del mod modVis">
          <ac:chgData name="Sophie Bayer" userId="ede9276c-710b-4378-937b-bdc2eba6c543" providerId="ADAL" clId="{E3EDA246-60EA-465A-9C7B-AD452C69BB9D}" dt="2023-01-11T09:26:21.858" v="2694"/>
          <ac:spMkLst>
            <pc:docMk/>
            <pc:sldMk cId="216788736" sldId="1980"/>
            <ac:spMk id="11" creationId="{B67D6F80-E622-4E35-9469-E3A9D4C51C61}"/>
          </ac:spMkLst>
        </pc:spChg>
        <pc:spChg chg="add del mod modVis">
          <ac:chgData name="Sophie Bayer" userId="ede9276c-710b-4378-937b-bdc2eba6c543" providerId="ADAL" clId="{E3EDA246-60EA-465A-9C7B-AD452C69BB9D}" dt="2023-01-11T09:26:23.850" v="2739"/>
          <ac:spMkLst>
            <pc:docMk/>
            <pc:sldMk cId="216788736" sldId="1980"/>
            <ac:spMk id="12" creationId="{674E5580-A3D3-43DC-BEF7-20839F3B1E0E}"/>
          </ac:spMkLst>
        </pc:spChg>
        <pc:spChg chg="add del mod modVis">
          <ac:chgData name="Sophie Bayer" userId="ede9276c-710b-4378-937b-bdc2eba6c543" providerId="ADAL" clId="{E3EDA246-60EA-465A-9C7B-AD452C69BB9D}" dt="2023-01-11T09:26:26.181" v="2783"/>
          <ac:spMkLst>
            <pc:docMk/>
            <pc:sldMk cId="216788736" sldId="1980"/>
            <ac:spMk id="13" creationId="{23DA669D-FF64-4A93-B0A3-7AA6D73C1BA1}"/>
          </ac:spMkLst>
        </pc:spChg>
        <pc:spChg chg="add del mod modVis">
          <ac:chgData name="Sophie Bayer" userId="ede9276c-710b-4378-937b-bdc2eba6c543" providerId="ADAL" clId="{E3EDA246-60EA-465A-9C7B-AD452C69BB9D}" dt="2023-01-11T09:26:30.127" v="2827"/>
          <ac:spMkLst>
            <pc:docMk/>
            <pc:sldMk cId="216788736" sldId="1980"/>
            <ac:spMk id="14" creationId="{CC4BF4D6-8594-4076-8029-F603B857B690}"/>
          </ac:spMkLst>
        </pc:spChg>
        <pc:spChg chg="add del mod ord">
          <ac:chgData name="Sophie Bayer" userId="ede9276c-710b-4378-937b-bdc2eba6c543" providerId="ADAL" clId="{E3EDA246-60EA-465A-9C7B-AD452C69BB9D}" dt="2023-01-11T09:33:42.201" v="3095" actId="478"/>
          <ac:spMkLst>
            <pc:docMk/>
            <pc:sldMk cId="216788736" sldId="1980"/>
            <ac:spMk id="20" creationId="{35C7A01A-1CB0-4F71-B8DD-01CCC2A32C25}"/>
          </ac:spMkLst>
        </pc:spChg>
        <pc:spChg chg="add mod ord">
          <ac:chgData name="Sophie Bayer" userId="ede9276c-710b-4378-937b-bdc2eba6c543" providerId="ADAL" clId="{E3EDA246-60EA-465A-9C7B-AD452C69BB9D}" dt="2023-01-11T09:32:41.425" v="2944"/>
          <ac:spMkLst>
            <pc:docMk/>
            <pc:sldMk cId="216788736" sldId="1980"/>
            <ac:spMk id="21" creationId="{87E2A4CF-53F1-4515-BE78-23D925C019ED}"/>
          </ac:spMkLst>
        </pc:spChg>
        <pc:spChg chg="add mod ord">
          <ac:chgData name="Sophie Bayer" userId="ede9276c-710b-4378-937b-bdc2eba6c543" providerId="ADAL" clId="{E3EDA246-60EA-465A-9C7B-AD452C69BB9D}" dt="2023-01-11T09:32:41.426" v="2946"/>
          <ac:spMkLst>
            <pc:docMk/>
            <pc:sldMk cId="216788736" sldId="1980"/>
            <ac:spMk id="22" creationId="{81732859-9F50-452E-9AFE-EDAF011B271C}"/>
          </ac:spMkLst>
        </pc:spChg>
        <pc:spChg chg="add mod ord">
          <ac:chgData name="Sophie Bayer" userId="ede9276c-710b-4378-937b-bdc2eba6c543" providerId="ADAL" clId="{E3EDA246-60EA-465A-9C7B-AD452C69BB9D}" dt="2023-01-11T09:32:41.426" v="2948"/>
          <ac:spMkLst>
            <pc:docMk/>
            <pc:sldMk cId="216788736" sldId="1980"/>
            <ac:spMk id="23" creationId="{488F2B86-D27F-43EA-A9E0-B40CE7A6FB50}"/>
          </ac:spMkLst>
        </pc:spChg>
        <pc:spChg chg="add mod ord">
          <ac:chgData name="Sophie Bayer" userId="ede9276c-710b-4378-937b-bdc2eba6c543" providerId="ADAL" clId="{E3EDA246-60EA-465A-9C7B-AD452C69BB9D}" dt="2023-01-11T09:32:41.426" v="2950"/>
          <ac:spMkLst>
            <pc:docMk/>
            <pc:sldMk cId="216788736" sldId="1980"/>
            <ac:spMk id="24" creationId="{F8828B6B-59CC-417B-9D3C-67A4ECCC3798}"/>
          </ac:spMkLst>
        </pc:spChg>
        <pc:spChg chg="add del mod modVis">
          <ac:chgData name="Sophie Bayer" userId="ede9276c-710b-4378-937b-bdc2eba6c543" providerId="ADAL" clId="{E3EDA246-60EA-465A-9C7B-AD452C69BB9D}" dt="2023-01-11T09:31:30.766" v="2891"/>
          <ac:spMkLst>
            <pc:docMk/>
            <pc:sldMk cId="216788736" sldId="1980"/>
            <ac:spMk id="25" creationId="{F13310F5-81A8-4A00-9532-DC19F0788028}"/>
          </ac:spMkLst>
        </pc:spChg>
        <pc:spChg chg="add del mod modVis">
          <ac:chgData name="Sophie Bayer" userId="ede9276c-710b-4378-937b-bdc2eba6c543" providerId="ADAL" clId="{E3EDA246-60EA-465A-9C7B-AD452C69BB9D}" dt="2023-01-11T09:32:41.438" v="2957"/>
          <ac:spMkLst>
            <pc:docMk/>
            <pc:sldMk cId="216788736" sldId="1980"/>
            <ac:spMk id="26" creationId="{942EFC7A-2368-4DB3-B70B-DF32891606EF}"/>
          </ac:spMkLst>
        </pc:spChg>
        <pc:spChg chg="add del mod modVis">
          <ac:chgData name="Sophie Bayer" userId="ede9276c-710b-4378-937b-bdc2eba6c543" providerId="ADAL" clId="{E3EDA246-60EA-465A-9C7B-AD452C69BB9D}" dt="2023-01-11T09:32:45.627" v="3001"/>
          <ac:spMkLst>
            <pc:docMk/>
            <pc:sldMk cId="216788736" sldId="1980"/>
            <ac:spMk id="27" creationId="{B0B427C9-C1A4-4776-AD97-BA0910053ED3}"/>
          </ac:spMkLst>
        </pc:spChg>
        <pc:spChg chg="add del mod modVis">
          <ac:chgData name="Sophie Bayer" userId="ede9276c-710b-4378-937b-bdc2eba6c543" providerId="ADAL" clId="{E3EDA246-60EA-465A-9C7B-AD452C69BB9D}" dt="2023-01-11T09:33:04.002" v="3046"/>
          <ac:spMkLst>
            <pc:docMk/>
            <pc:sldMk cId="216788736" sldId="1980"/>
            <ac:spMk id="28" creationId="{87F927FC-116A-4D86-AD36-C0FE3A75F4A2}"/>
          </ac:spMkLst>
        </pc:spChg>
        <pc:spChg chg="add del mod modVis">
          <ac:chgData name="Sophie Bayer" userId="ede9276c-710b-4378-937b-bdc2eba6c543" providerId="ADAL" clId="{E3EDA246-60EA-465A-9C7B-AD452C69BB9D}" dt="2023-01-11T09:33:10.994" v="3090"/>
          <ac:spMkLst>
            <pc:docMk/>
            <pc:sldMk cId="216788736" sldId="1980"/>
            <ac:spMk id="29" creationId="{5CAE1CA9-2E32-4DD0-A5D4-9BDCB3C35D90}"/>
          </ac:spMkLst>
        </pc:spChg>
        <pc:spChg chg="add del mod">
          <ac:chgData name="Sophie Bayer" userId="ede9276c-710b-4378-937b-bdc2eba6c543" providerId="ADAL" clId="{E3EDA246-60EA-465A-9C7B-AD452C69BB9D}" dt="2023-01-11T09:33:47.624" v="3097"/>
          <ac:spMkLst>
            <pc:docMk/>
            <pc:sldMk cId="216788736" sldId="1980"/>
            <ac:spMk id="30" creationId="{92D70214-B8C4-4EFA-9757-6796936D1F59}"/>
          </ac:spMkLst>
        </pc:spChg>
        <pc:spChg chg="add del mod">
          <ac:chgData name="Sophie Bayer" userId="ede9276c-710b-4378-937b-bdc2eba6c543" providerId="ADAL" clId="{E3EDA246-60EA-465A-9C7B-AD452C69BB9D}" dt="2023-01-11T09:33:47.624" v="3097"/>
          <ac:spMkLst>
            <pc:docMk/>
            <pc:sldMk cId="216788736" sldId="1980"/>
            <ac:spMk id="31" creationId="{6F9F14A8-80CD-4FCD-8033-2C0FA520FCB8}"/>
          </ac:spMkLst>
        </pc:spChg>
        <pc:spChg chg="add mod">
          <ac:chgData name="Sophie Bayer" userId="ede9276c-710b-4378-937b-bdc2eba6c543" providerId="ADAL" clId="{E3EDA246-60EA-465A-9C7B-AD452C69BB9D}" dt="2023-01-11T09:45:34.692" v="4130" actId="1076"/>
          <ac:spMkLst>
            <pc:docMk/>
            <pc:sldMk cId="216788736" sldId="1980"/>
            <ac:spMk id="32" creationId="{6FADC90D-C63E-4995-A315-394AAA3E1D8D}"/>
          </ac:spMkLst>
        </pc:spChg>
        <pc:spChg chg="add mod">
          <ac:chgData name="Sophie Bayer" userId="ede9276c-710b-4378-937b-bdc2eba6c543" providerId="ADAL" clId="{E3EDA246-60EA-465A-9C7B-AD452C69BB9D}" dt="2023-01-11T09:45:34.692" v="4130" actId="1076"/>
          <ac:spMkLst>
            <pc:docMk/>
            <pc:sldMk cId="216788736" sldId="1980"/>
            <ac:spMk id="33" creationId="{1797CD25-E47B-462D-9CDE-FDA73CBB813E}"/>
          </ac:spMkLst>
        </pc:spChg>
        <pc:spChg chg="add mod">
          <ac:chgData name="Sophie Bayer" userId="ede9276c-710b-4378-937b-bdc2eba6c543" providerId="ADAL" clId="{E3EDA246-60EA-465A-9C7B-AD452C69BB9D}" dt="2023-01-11T09:46:23.647" v="4244" actId="20577"/>
          <ac:spMkLst>
            <pc:docMk/>
            <pc:sldMk cId="216788736" sldId="1980"/>
            <ac:spMk id="34" creationId="{4DA16978-08B8-44DE-AE66-A99A848C6160}"/>
          </ac:spMkLst>
        </pc:spChg>
        <pc:spChg chg="add mod">
          <ac:chgData name="Sophie Bayer" userId="ede9276c-710b-4378-937b-bdc2eba6c543" providerId="ADAL" clId="{E3EDA246-60EA-465A-9C7B-AD452C69BB9D}" dt="2023-01-11T10:02:15.195" v="4994" actId="113"/>
          <ac:spMkLst>
            <pc:docMk/>
            <pc:sldMk cId="216788736" sldId="1980"/>
            <ac:spMk id="35" creationId="{93122527-33C3-4B7B-8284-7B11953F1FA9}"/>
          </ac:spMkLst>
        </pc:spChg>
        <pc:spChg chg="add del mod">
          <ac:chgData name="Sophie Bayer" userId="ede9276c-710b-4378-937b-bdc2eba6c543" providerId="ADAL" clId="{E3EDA246-60EA-465A-9C7B-AD452C69BB9D}" dt="2023-01-11T09:45:12.162" v="4127" actId="21"/>
          <ac:spMkLst>
            <pc:docMk/>
            <pc:sldMk cId="216788736" sldId="1980"/>
            <ac:spMk id="36" creationId="{45F34034-1E84-4CAC-AB1F-5A3A27B00926}"/>
          </ac:spMkLst>
        </pc:spChg>
        <pc:graphicFrameChg chg="add mod ord modVis replST">
          <ac:chgData name="Sophie Bayer" userId="ede9276c-710b-4378-937b-bdc2eba6c543" providerId="ADAL" clId="{E3EDA246-60EA-465A-9C7B-AD452C69BB9D}" dt="2023-01-11T09:33:10.996" v="3092"/>
          <ac:graphicFrameMkLst>
            <pc:docMk/>
            <pc:sldMk cId="216788736" sldId="1980"/>
            <ac:graphicFrameMk id="5" creationId="{DE507A71-666E-43DC-B180-527351AC62FF}"/>
          </ac:graphicFrameMkLst>
        </pc:graphicFrameChg>
        <pc:picChg chg="add del mod">
          <ac:chgData name="Sophie Bayer" userId="ede9276c-710b-4378-937b-bdc2eba6c543" providerId="ADAL" clId="{E3EDA246-60EA-465A-9C7B-AD452C69BB9D}" dt="2023-01-11T09:30:12.397" v="2839" actId="478"/>
          <ac:picMkLst>
            <pc:docMk/>
            <pc:sldMk cId="216788736" sldId="1980"/>
            <ac:picMk id="16" creationId="{034727E3-503D-461B-9088-ECDD9CF7031D}"/>
          </ac:picMkLst>
        </pc:picChg>
        <pc:picChg chg="add mod ord">
          <ac:chgData name="Sophie Bayer" userId="ede9276c-710b-4378-937b-bdc2eba6c543" providerId="ADAL" clId="{E3EDA246-60EA-465A-9C7B-AD452C69BB9D}" dt="2023-01-11T09:33:14.519" v="3093" actId="1076"/>
          <ac:picMkLst>
            <pc:docMk/>
            <pc:sldMk cId="216788736" sldId="1980"/>
            <ac:picMk id="18" creationId="{ED7215C1-3596-435E-BD0E-705EA32993A2}"/>
          </ac:picMkLst>
        </pc:picChg>
      </pc:sldChg>
      <pc:sldChg chg="addSp delSp modSp new add mod ord delCm modCm">
        <pc:chgData name="Sophie Bayer" userId="ede9276c-710b-4378-937b-bdc2eba6c543" providerId="ADAL" clId="{E3EDA246-60EA-465A-9C7B-AD452C69BB9D}" dt="2023-01-13T15:20:23.472" v="14613" actId="13926"/>
        <pc:sldMkLst>
          <pc:docMk/>
          <pc:sldMk cId="8440676" sldId="1981"/>
        </pc:sldMkLst>
        <pc:spChg chg="del mod">
          <ac:chgData name="Sophie Bayer" userId="ede9276c-710b-4378-937b-bdc2eba6c543" providerId="ADAL" clId="{E3EDA246-60EA-465A-9C7B-AD452C69BB9D}" dt="2023-01-11T11:39:02.664" v="8102" actId="478"/>
          <ac:spMkLst>
            <pc:docMk/>
            <pc:sldMk cId="8440676" sldId="1981"/>
            <ac:spMk id="2" creationId="{32DF9AAA-CF48-4F24-AF83-84D2C6B5887A}"/>
          </ac:spMkLst>
        </pc:spChg>
        <pc:spChg chg="del">
          <ac:chgData name="Sophie Bayer" userId="ede9276c-710b-4378-937b-bdc2eba6c543" providerId="ADAL" clId="{E3EDA246-60EA-465A-9C7B-AD452C69BB9D}" dt="2023-01-11T11:41:48.093" v="8133" actId="931"/>
          <ac:spMkLst>
            <pc:docMk/>
            <pc:sldMk cId="8440676" sldId="1981"/>
            <ac:spMk id="3" creationId="{D4643D6C-45C9-452F-9612-7F56C97D55D2}"/>
          </ac:spMkLst>
        </pc:spChg>
        <pc:spChg chg="add del mod modVis">
          <ac:chgData name="Sophie Bayer" userId="ede9276c-710b-4378-937b-bdc2eba6c543" providerId="ADAL" clId="{E3EDA246-60EA-465A-9C7B-AD452C69BB9D}" dt="2023-01-11T08:44:41.058" v="895"/>
          <ac:spMkLst>
            <pc:docMk/>
            <pc:sldMk cId="8440676" sldId="1981"/>
            <ac:spMk id="4" creationId="{AEB33DB0-8A9D-4A02-AACC-C5CFD94858BC}"/>
          </ac:spMkLst>
        </pc:spChg>
        <pc:spChg chg="add mod ord">
          <ac:chgData name="Sophie Bayer" userId="ede9276c-710b-4378-937b-bdc2eba6c543" providerId="ADAL" clId="{E3EDA246-60EA-465A-9C7B-AD452C69BB9D}" dt="2023-01-11T11:41:51.512" v="8136"/>
          <ac:spMkLst>
            <pc:docMk/>
            <pc:sldMk cId="8440676" sldId="1981"/>
            <ac:spMk id="6" creationId="{DFBE1B6A-EDED-46E9-8CE2-85A83E81BB0F}"/>
          </ac:spMkLst>
        </pc:spChg>
        <pc:spChg chg="add mod ord">
          <ac:chgData name="Sophie Bayer" userId="ede9276c-710b-4378-937b-bdc2eba6c543" providerId="ADAL" clId="{E3EDA246-60EA-465A-9C7B-AD452C69BB9D}" dt="2023-01-11T11:41:51.515" v="8138"/>
          <ac:spMkLst>
            <pc:docMk/>
            <pc:sldMk cId="8440676" sldId="1981"/>
            <ac:spMk id="7" creationId="{6EB98430-6FE2-4C8E-870C-A26F11572EAE}"/>
          </ac:spMkLst>
        </pc:spChg>
        <pc:spChg chg="add mod ord">
          <ac:chgData name="Sophie Bayer" userId="ede9276c-710b-4378-937b-bdc2eba6c543" providerId="ADAL" clId="{E3EDA246-60EA-465A-9C7B-AD452C69BB9D}" dt="2023-01-11T11:41:51.516" v="8140"/>
          <ac:spMkLst>
            <pc:docMk/>
            <pc:sldMk cId="8440676" sldId="1981"/>
            <ac:spMk id="8" creationId="{DE1F2D89-3E72-4838-B639-221ABCFE0485}"/>
          </ac:spMkLst>
        </pc:spChg>
        <pc:spChg chg="add mod ord">
          <ac:chgData name="Sophie Bayer" userId="ede9276c-710b-4378-937b-bdc2eba6c543" providerId="ADAL" clId="{E3EDA246-60EA-465A-9C7B-AD452C69BB9D}" dt="2023-01-11T11:41:51.516" v="8142"/>
          <ac:spMkLst>
            <pc:docMk/>
            <pc:sldMk cId="8440676" sldId="1981"/>
            <ac:spMk id="9" creationId="{24170802-96D1-44F6-842D-69456B141B3F}"/>
          </ac:spMkLst>
        </pc:spChg>
        <pc:spChg chg="add mod ord">
          <ac:chgData name="Sophie Bayer" userId="ede9276c-710b-4378-937b-bdc2eba6c543" providerId="ADAL" clId="{E3EDA246-60EA-465A-9C7B-AD452C69BB9D}" dt="2023-01-11T11:41:51.516" v="8144"/>
          <ac:spMkLst>
            <pc:docMk/>
            <pc:sldMk cId="8440676" sldId="1981"/>
            <ac:spMk id="10" creationId="{3B5F9AAC-6951-440F-8B61-B8F9AF33A22E}"/>
          </ac:spMkLst>
        </pc:spChg>
        <pc:spChg chg="add del mod">
          <ac:chgData name="Sophie Bayer" userId="ede9276c-710b-4378-937b-bdc2eba6c543" providerId="ADAL" clId="{E3EDA246-60EA-465A-9C7B-AD452C69BB9D}" dt="2023-01-11T11:39:08.497" v="8106" actId="478"/>
          <ac:spMkLst>
            <pc:docMk/>
            <pc:sldMk cId="8440676" sldId="1981"/>
            <ac:spMk id="13" creationId="{3920537C-3F91-493F-B222-F99D89FD2663}"/>
          </ac:spMkLst>
        </pc:spChg>
        <pc:spChg chg="add mod ord">
          <ac:chgData name="Sophie Bayer" userId="ede9276c-710b-4378-937b-bdc2eba6c543" providerId="ADAL" clId="{E3EDA246-60EA-465A-9C7B-AD452C69BB9D}" dt="2023-01-11T11:41:51.517" v="8146"/>
          <ac:spMkLst>
            <pc:docMk/>
            <pc:sldMk cId="8440676" sldId="1981"/>
            <ac:spMk id="14" creationId="{17149352-9874-463E-928C-05A7F97934CB}"/>
          </ac:spMkLst>
        </pc:spChg>
        <pc:spChg chg="add mod">
          <ac:chgData name="Sophie Bayer" userId="ede9276c-710b-4378-937b-bdc2eba6c543" providerId="ADAL" clId="{E3EDA246-60EA-465A-9C7B-AD452C69BB9D}" dt="2023-01-11T11:45:24.172" v="8433" actId="208"/>
          <ac:spMkLst>
            <pc:docMk/>
            <pc:sldMk cId="8440676" sldId="1981"/>
            <ac:spMk id="17" creationId="{D18898B6-B05E-447D-A66C-ECF756CF54F6}"/>
          </ac:spMkLst>
        </pc:spChg>
        <pc:spChg chg="add mod">
          <ac:chgData name="Sophie Bayer" userId="ede9276c-710b-4378-937b-bdc2eba6c543" providerId="ADAL" clId="{E3EDA246-60EA-465A-9C7B-AD452C69BB9D}" dt="2023-01-11T11:45:20.797" v="8432" actId="208"/>
          <ac:spMkLst>
            <pc:docMk/>
            <pc:sldMk cId="8440676" sldId="1981"/>
            <ac:spMk id="18" creationId="{EA78468F-E258-48AA-9048-3CCC211CB935}"/>
          </ac:spMkLst>
        </pc:spChg>
        <pc:spChg chg="add mod">
          <ac:chgData name="Sophie Bayer" userId="ede9276c-710b-4378-937b-bdc2eba6c543" providerId="ADAL" clId="{E3EDA246-60EA-465A-9C7B-AD452C69BB9D}" dt="2023-01-11T11:46:13.919" v="8504" actId="20577"/>
          <ac:spMkLst>
            <pc:docMk/>
            <pc:sldMk cId="8440676" sldId="1981"/>
            <ac:spMk id="19" creationId="{5D72530B-A363-4545-8632-1FFB3C39526F}"/>
          </ac:spMkLst>
        </pc:spChg>
        <pc:spChg chg="add mod">
          <ac:chgData name="Sophie Bayer" userId="ede9276c-710b-4378-937b-bdc2eba6c543" providerId="ADAL" clId="{E3EDA246-60EA-465A-9C7B-AD452C69BB9D}" dt="2023-01-13T15:20:23.472" v="14613" actId="13926"/>
          <ac:spMkLst>
            <pc:docMk/>
            <pc:sldMk cId="8440676" sldId="1981"/>
            <ac:spMk id="20" creationId="{C7D25A4A-01FC-446C-8AF8-DFD4F741B818}"/>
          </ac:spMkLst>
        </pc:spChg>
        <pc:graphicFrameChg chg="add mod ord modVis replST">
          <ac:chgData name="Sophie Bayer" userId="ede9276c-710b-4378-937b-bdc2eba6c543" providerId="ADAL" clId="{E3EDA246-60EA-465A-9C7B-AD452C69BB9D}" dt="2023-01-11T11:41:51.523" v="8151"/>
          <ac:graphicFrameMkLst>
            <pc:docMk/>
            <pc:sldMk cId="8440676" sldId="1981"/>
            <ac:graphicFrameMk id="5" creationId="{4217B5F2-F4F7-44E7-9DD7-8E58C4E9F58C}"/>
          </ac:graphicFrameMkLst>
        </pc:graphicFrameChg>
        <pc:picChg chg="add del mod">
          <ac:chgData name="Sophie Bayer" userId="ede9276c-710b-4378-937b-bdc2eba6c543" providerId="ADAL" clId="{E3EDA246-60EA-465A-9C7B-AD452C69BB9D}" dt="2023-01-11T11:39:48.930" v="8132" actId="478"/>
          <ac:picMkLst>
            <pc:docMk/>
            <pc:sldMk cId="8440676" sldId="1981"/>
            <ac:picMk id="11" creationId="{FD9629BF-B8DB-4B77-B42D-F70D857F117E}"/>
          </ac:picMkLst>
        </pc:picChg>
        <pc:picChg chg="add mod ord">
          <ac:chgData name="Sophie Bayer" userId="ede9276c-710b-4378-937b-bdc2eba6c543" providerId="ADAL" clId="{E3EDA246-60EA-465A-9C7B-AD452C69BB9D}" dt="2023-01-11T11:41:58.997" v="8153" actId="207"/>
          <ac:picMkLst>
            <pc:docMk/>
            <pc:sldMk cId="8440676" sldId="1981"/>
            <ac:picMk id="16" creationId="{8824E3B1-8472-4AC6-A345-4129D4124971}"/>
          </ac:picMkLst>
        </pc:picChg>
      </pc:sldChg>
      <pc:sldChg chg="addSp delSp modSp new add mod ord addCm delCm">
        <pc:chgData name="Sophie Bayer" userId="ede9276c-710b-4378-937b-bdc2eba6c543" providerId="ADAL" clId="{E3EDA246-60EA-465A-9C7B-AD452C69BB9D}" dt="2023-01-13T15:50:36.609" v="15644" actId="20577"/>
        <pc:sldMkLst>
          <pc:docMk/>
          <pc:sldMk cId="2455952374" sldId="1982"/>
        </pc:sldMkLst>
        <pc:spChg chg="mod ord">
          <ac:chgData name="Sophie Bayer" userId="ede9276c-710b-4378-937b-bdc2eba6c543" providerId="ADAL" clId="{E3EDA246-60EA-465A-9C7B-AD452C69BB9D}" dt="2023-01-11T11:52:24.755" v="10102" actId="948"/>
          <ac:spMkLst>
            <pc:docMk/>
            <pc:sldMk cId="2455952374" sldId="1982"/>
            <ac:spMk id="2" creationId="{ACACAE98-99B6-457D-AB67-87FFF2F1196F}"/>
          </ac:spMkLst>
        </pc:spChg>
        <pc:spChg chg="del">
          <ac:chgData name="Sophie Bayer" userId="ede9276c-710b-4378-937b-bdc2eba6c543" providerId="ADAL" clId="{E3EDA246-60EA-465A-9C7B-AD452C69BB9D}" dt="2023-01-11T08:44:15.704" v="535" actId="478"/>
          <ac:spMkLst>
            <pc:docMk/>
            <pc:sldMk cId="2455952374" sldId="1982"/>
            <ac:spMk id="3" creationId="{D1420AB5-35EF-49FD-A2A4-C82BAF97EBBA}"/>
          </ac:spMkLst>
        </pc:spChg>
        <pc:spChg chg="add del mod modVis">
          <ac:chgData name="Sophie Bayer" userId="ede9276c-710b-4378-937b-bdc2eba6c543" providerId="ADAL" clId="{E3EDA246-60EA-465A-9C7B-AD452C69BB9D}" dt="2023-01-11T08:44:09.162" v="463"/>
          <ac:spMkLst>
            <pc:docMk/>
            <pc:sldMk cId="2455952374" sldId="1982"/>
            <ac:spMk id="4" creationId="{4CA22B50-CF26-45E8-A873-4211733DA393}"/>
          </ac:spMkLst>
        </pc:spChg>
        <pc:spChg chg="add del mod modVis">
          <ac:chgData name="Sophie Bayer" userId="ede9276c-710b-4378-937b-bdc2eba6c543" providerId="ADAL" clId="{E3EDA246-60EA-465A-9C7B-AD452C69BB9D}" dt="2023-01-11T08:44:11.075" v="531"/>
          <ac:spMkLst>
            <pc:docMk/>
            <pc:sldMk cId="2455952374" sldId="1982"/>
            <ac:spMk id="6" creationId="{617DF5AB-2976-4429-B5E9-C08D8C891F5D}"/>
          </ac:spMkLst>
        </pc:spChg>
        <pc:spChg chg="add del mod ord">
          <ac:chgData name="Sophie Bayer" userId="ede9276c-710b-4378-937b-bdc2eba6c543" providerId="ADAL" clId="{E3EDA246-60EA-465A-9C7B-AD452C69BB9D}" dt="2023-01-11T11:57:22.046" v="10232" actId="21"/>
          <ac:spMkLst>
            <pc:docMk/>
            <pc:sldMk cId="2455952374" sldId="1982"/>
            <ac:spMk id="7" creationId="{38890B9C-0FA8-4BEE-B71B-5F6C329B4957}"/>
          </ac:spMkLst>
        </pc:spChg>
        <pc:spChg chg="add del mod modVis">
          <ac:chgData name="Sophie Bayer" userId="ede9276c-710b-4378-937b-bdc2eba6c543" providerId="ADAL" clId="{E3EDA246-60EA-465A-9C7B-AD452C69BB9D}" dt="2023-01-11T08:48:44.113" v="1651"/>
          <ac:spMkLst>
            <pc:docMk/>
            <pc:sldMk cId="2455952374" sldId="1982"/>
            <ac:spMk id="9" creationId="{BED3D83F-2029-471A-8AA7-9776334A6590}"/>
          </ac:spMkLst>
        </pc:spChg>
        <pc:spChg chg="add del mod modVis">
          <ac:chgData name="Sophie Bayer" userId="ede9276c-710b-4378-937b-bdc2eba6c543" providerId="ADAL" clId="{E3EDA246-60EA-465A-9C7B-AD452C69BB9D}" dt="2023-01-11T08:48:45.481" v="1696"/>
          <ac:spMkLst>
            <pc:docMk/>
            <pc:sldMk cId="2455952374" sldId="1982"/>
            <ac:spMk id="10" creationId="{0D15891E-A584-447C-95A8-5A74FD9E1562}"/>
          </ac:spMkLst>
        </pc:spChg>
        <pc:spChg chg="add del mod modVis">
          <ac:chgData name="Sophie Bayer" userId="ede9276c-710b-4378-937b-bdc2eba6c543" providerId="ADAL" clId="{E3EDA246-60EA-465A-9C7B-AD452C69BB9D}" dt="2023-01-11T08:48:50.661" v="1762"/>
          <ac:spMkLst>
            <pc:docMk/>
            <pc:sldMk cId="2455952374" sldId="1982"/>
            <ac:spMk id="11" creationId="{4C24178C-D834-4FCA-9194-FFB022935BD3}"/>
          </ac:spMkLst>
        </pc:spChg>
        <pc:spChg chg="add del mod modVis">
          <ac:chgData name="Sophie Bayer" userId="ede9276c-710b-4378-937b-bdc2eba6c543" providerId="ADAL" clId="{E3EDA246-60EA-465A-9C7B-AD452C69BB9D}" dt="2023-01-11T08:48:51.859" v="1807"/>
          <ac:spMkLst>
            <pc:docMk/>
            <pc:sldMk cId="2455952374" sldId="1982"/>
            <ac:spMk id="12" creationId="{A44BE99F-0EFB-4653-ADEC-B3FD941C02D8}"/>
          </ac:spMkLst>
        </pc:spChg>
        <pc:spChg chg="add del mod modVis">
          <ac:chgData name="Sophie Bayer" userId="ede9276c-710b-4378-937b-bdc2eba6c543" providerId="ADAL" clId="{E3EDA246-60EA-465A-9C7B-AD452C69BB9D}" dt="2023-01-11T08:48:53.898" v="1861"/>
          <ac:spMkLst>
            <pc:docMk/>
            <pc:sldMk cId="2455952374" sldId="1982"/>
            <ac:spMk id="13" creationId="{82148235-75CE-4D3A-AF6D-59459D7BBCB3}"/>
          </ac:spMkLst>
        </pc:spChg>
        <pc:spChg chg="add del mod">
          <ac:chgData name="Sophie Bayer" userId="ede9276c-710b-4378-937b-bdc2eba6c543" providerId="ADAL" clId="{E3EDA246-60EA-465A-9C7B-AD452C69BB9D}" dt="2023-01-11T09:23:44.191" v="2339" actId="478"/>
          <ac:spMkLst>
            <pc:docMk/>
            <pc:sldMk cId="2455952374" sldId="1982"/>
            <ac:spMk id="14" creationId="{F09240E3-97A6-4DE8-9923-653B325EEF96}"/>
          </ac:spMkLst>
        </pc:spChg>
        <pc:spChg chg="add del mod">
          <ac:chgData name="Sophie Bayer" userId="ede9276c-710b-4378-937b-bdc2eba6c543" providerId="ADAL" clId="{E3EDA246-60EA-465A-9C7B-AD452C69BB9D}" dt="2023-01-11T11:49:31.477" v="9064" actId="478"/>
          <ac:spMkLst>
            <pc:docMk/>
            <pc:sldMk cId="2455952374" sldId="1982"/>
            <ac:spMk id="17" creationId="{4078B584-62E8-48A2-AF1A-0D8ABC7CC858}"/>
          </ac:spMkLst>
        </pc:spChg>
        <pc:spChg chg="add mod ord">
          <ac:chgData name="Sophie Bayer" userId="ede9276c-710b-4378-937b-bdc2eba6c543" providerId="ADAL" clId="{E3EDA246-60EA-465A-9C7B-AD452C69BB9D}" dt="2023-01-11T11:51:27.103" v="9405"/>
          <ac:spMkLst>
            <pc:docMk/>
            <pc:sldMk cId="2455952374" sldId="1982"/>
            <ac:spMk id="19" creationId="{B260FAD9-853C-44DB-9AE7-16AA27A9773C}"/>
          </ac:spMkLst>
        </pc:spChg>
        <pc:spChg chg="add mod ord">
          <ac:chgData name="Sophie Bayer" userId="ede9276c-710b-4378-937b-bdc2eba6c543" providerId="ADAL" clId="{E3EDA246-60EA-465A-9C7B-AD452C69BB9D}" dt="2023-01-11T11:51:27.104" v="9407"/>
          <ac:spMkLst>
            <pc:docMk/>
            <pc:sldMk cId="2455952374" sldId="1982"/>
            <ac:spMk id="20" creationId="{67EDFF3B-E6FA-4AA2-AEC5-3823EEC7E395}"/>
          </ac:spMkLst>
        </pc:spChg>
        <pc:spChg chg="add del">
          <ac:chgData name="Sophie Bayer" userId="ede9276c-710b-4378-937b-bdc2eba6c543" providerId="ADAL" clId="{E3EDA246-60EA-465A-9C7B-AD452C69BB9D}" dt="2023-01-11T11:50:55.499" v="9082" actId="22"/>
          <ac:spMkLst>
            <pc:docMk/>
            <pc:sldMk cId="2455952374" sldId="1982"/>
            <ac:spMk id="22" creationId="{8043EA6A-6E98-4C90-904B-FDF48ED38FB1}"/>
          </ac:spMkLst>
        </pc:spChg>
        <pc:spChg chg="add del mod modVis">
          <ac:chgData name="Sophie Bayer" userId="ede9276c-710b-4378-937b-bdc2eba6c543" providerId="ADAL" clId="{E3EDA246-60EA-465A-9C7B-AD452C69BB9D}" dt="2023-01-11T11:51:09.232" v="9124"/>
          <ac:spMkLst>
            <pc:docMk/>
            <pc:sldMk cId="2455952374" sldId="1982"/>
            <ac:spMk id="23" creationId="{4949A7DB-2901-458E-BA3B-08E7628F76EA}"/>
          </ac:spMkLst>
        </pc:spChg>
        <pc:spChg chg="add del mod modVis">
          <ac:chgData name="Sophie Bayer" userId="ede9276c-710b-4378-937b-bdc2eba6c543" providerId="ADAL" clId="{E3EDA246-60EA-465A-9C7B-AD452C69BB9D}" dt="2023-01-11T11:51:10.997" v="9171"/>
          <ac:spMkLst>
            <pc:docMk/>
            <pc:sldMk cId="2455952374" sldId="1982"/>
            <ac:spMk id="24" creationId="{02B49C1E-B8D4-4689-9640-E6F69D36824F}"/>
          </ac:spMkLst>
        </pc:spChg>
        <pc:spChg chg="add del mod modVis">
          <ac:chgData name="Sophie Bayer" userId="ede9276c-710b-4378-937b-bdc2eba6c543" providerId="ADAL" clId="{E3EDA246-60EA-465A-9C7B-AD452C69BB9D}" dt="2023-01-11T11:51:11.651" v="9215"/>
          <ac:spMkLst>
            <pc:docMk/>
            <pc:sldMk cId="2455952374" sldId="1982"/>
            <ac:spMk id="25" creationId="{2576A97F-FB6F-4AEF-AD9C-08C31E19BA51}"/>
          </ac:spMkLst>
        </pc:spChg>
        <pc:spChg chg="add del mod modVis">
          <ac:chgData name="Sophie Bayer" userId="ede9276c-710b-4378-937b-bdc2eba6c543" providerId="ADAL" clId="{E3EDA246-60EA-465A-9C7B-AD452C69BB9D}" dt="2023-01-11T11:51:12.960" v="9259"/>
          <ac:spMkLst>
            <pc:docMk/>
            <pc:sldMk cId="2455952374" sldId="1982"/>
            <ac:spMk id="26" creationId="{9B22C21D-3C65-4885-99A5-78D2BE79104F}"/>
          </ac:spMkLst>
        </pc:spChg>
        <pc:spChg chg="add del mod modVis">
          <ac:chgData name="Sophie Bayer" userId="ede9276c-710b-4378-937b-bdc2eba6c543" providerId="ADAL" clId="{E3EDA246-60EA-465A-9C7B-AD452C69BB9D}" dt="2023-01-11T11:51:14.643" v="9303"/>
          <ac:spMkLst>
            <pc:docMk/>
            <pc:sldMk cId="2455952374" sldId="1982"/>
            <ac:spMk id="27" creationId="{D5EC2733-3A55-418B-84D7-C7BA81EED766}"/>
          </ac:spMkLst>
        </pc:spChg>
        <pc:spChg chg="add del mod modVis">
          <ac:chgData name="Sophie Bayer" userId="ede9276c-710b-4378-937b-bdc2eba6c543" providerId="ADAL" clId="{E3EDA246-60EA-465A-9C7B-AD452C69BB9D}" dt="2023-01-11T11:51:15.850" v="9347"/>
          <ac:spMkLst>
            <pc:docMk/>
            <pc:sldMk cId="2455952374" sldId="1982"/>
            <ac:spMk id="28" creationId="{B60E400E-F199-4E62-B016-6C17AA7D0301}"/>
          </ac:spMkLst>
        </pc:spChg>
        <pc:spChg chg="add del mod modVis">
          <ac:chgData name="Sophie Bayer" userId="ede9276c-710b-4378-937b-bdc2eba6c543" providerId="ADAL" clId="{E3EDA246-60EA-465A-9C7B-AD452C69BB9D}" dt="2023-01-11T11:51:27.106" v="9412"/>
          <ac:spMkLst>
            <pc:docMk/>
            <pc:sldMk cId="2455952374" sldId="1982"/>
            <ac:spMk id="29" creationId="{1B314CBF-9C7C-472F-BC64-3197E9CFFEE2}"/>
          </ac:spMkLst>
        </pc:spChg>
        <pc:spChg chg="add del mod modVis">
          <ac:chgData name="Sophie Bayer" userId="ede9276c-710b-4378-937b-bdc2eba6c543" providerId="ADAL" clId="{E3EDA246-60EA-465A-9C7B-AD452C69BB9D}" dt="2023-01-11T11:51:32.793" v="9456"/>
          <ac:spMkLst>
            <pc:docMk/>
            <pc:sldMk cId="2455952374" sldId="1982"/>
            <ac:spMk id="30" creationId="{CAD0FD5D-13FF-4B05-ADD8-C3F1F43C7B75}"/>
          </ac:spMkLst>
        </pc:spChg>
        <pc:spChg chg="add del mod modVis">
          <ac:chgData name="Sophie Bayer" userId="ede9276c-710b-4378-937b-bdc2eba6c543" providerId="ADAL" clId="{E3EDA246-60EA-465A-9C7B-AD452C69BB9D}" dt="2023-01-11T11:51:40.285" v="9526"/>
          <ac:spMkLst>
            <pc:docMk/>
            <pc:sldMk cId="2455952374" sldId="1982"/>
            <ac:spMk id="31" creationId="{BC5FDA52-4CD5-4091-9922-B853F4A85F11}"/>
          </ac:spMkLst>
        </pc:spChg>
        <pc:spChg chg="add del mod modVis">
          <ac:chgData name="Sophie Bayer" userId="ede9276c-710b-4378-937b-bdc2eba6c543" providerId="ADAL" clId="{E3EDA246-60EA-465A-9C7B-AD452C69BB9D}" dt="2023-01-11T11:51:41.782" v="9573"/>
          <ac:spMkLst>
            <pc:docMk/>
            <pc:sldMk cId="2455952374" sldId="1982"/>
            <ac:spMk id="32" creationId="{535944C3-2857-4C12-B191-72C3DCABF72E}"/>
          </ac:spMkLst>
        </pc:spChg>
        <pc:spChg chg="add del mod modVis">
          <ac:chgData name="Sophie Bayer" userId="ede9276c-710b-4378-937b-bdc2eba6c543" providerId="ADAL" clId="{E3EDA246-60EA-465A-9C7B-AD452C69BB9D}" dt="2023-01-11T11:51:43.264" v="9620"/>
          <ac:spMkLst>
            <pc:docMk/>
            <pc:sldMk cId="2455952374" sldId="1982"/>
            <ac:spMk id="33" creationId="{2E83AA8D-A493-4B77-9F93-60CDB55E8DBA}"/>
          </ac:spMkLst>
        </pc:spChg>
        <pc:spChg chg="add del mod modVis">
          <ac:chgData name="Sophie Bayer" userId="ede9276c-710b-4378-937b-bdc2eba6c543" providerId="ADAL" clId="{E3EDA246-60EA-465A-9C7B-AD452C69BB9D}" dt="2023-01-11T11:51:49.384" v="9667"/>
          <ac:spMkLst>
            <pc:docMk/>
            <pc:sldMk cId="2455952374" sldId="1982"/>
            <ac:spMk id="34" creationId="{CA73AA1B-38CA-432E-8C7A-8AED4151202D}"/>
          </ac:spMkLst>
        </pc:spChg>
        <pc:spChg chg="add del mod modVis">
          <ac:chgData name="Sophie Bayer" userId="ede9276c-710b-4378-937b-bdc2eba6c543" providerId="ADAL" clId="{E3EDA246-60EA-465A-9C7B-AD452C69BB9D}" dt="2023-01-11T11:51:51.331" v="9721"/>
          <ac:spMkLst>
            <pc:docMk/>
            <pc:sldMk cId="2455952374" sldId="1982"/>
            <ac:spMk id="35" creationId="{EA538005-31E4-4F76-B5DD-34E65DD9DEE9}"/>
          </ac:spMkLst>
        </pc:spChg>
        <pc:spChg chg="add del mod modVis">
          <ac:chgData name="Sophie Bayer" userId="ede9276c-710b-4378-937b-bdc2eba6c543" providerId="ADAL" clId="{E3EDA246-60EA-465A-9C7B-AD452C69BB9D}" dt="2023-01-11T11:51:59.315" v="9765"/>
          <ac:spMkLst>
            <pc:docMk/>
            <pc:sldMk cId="2455952374" sldId="1982"/>
            <ac:spMk id="36" creationId="{DF9C6655-F7A4-4D84-BB9E-F29F67ECB76C}"/>
          </ac:spMkLst>
        </pc:spChg>
        <pc:spChg chg="add del mod modVis">
          <ac:chgData name="Sophie Bayer" userId="ede9276c-710b-4378-937b-bdc2eba6c543" providerId="ADAL" clId="{E3EDA246-60EA-465A-9C7B-AD452C69BB9D}" dt="2023-01-11T11:52:01.303" v="9809"/>
          <ac:spMkLst>
            <pc:docMk/>
            <pc:sldMk cId="2455952374" sldId="1982"/>
            <ac:spMk id="37" creationId="{5805B404-4E6F-4159-96CD-3F48D605C798}"/>
          </ac:spMkLst>
        </pc:spChg>
        <pc:spChg chg="add del mod modVis">
          <ac:chgData name="Sophie Bayer" userId="ede9276c-710b-4378-937b-bdc2eba6c543" providerId="ADAL" clId="{E3EDA246-60EA-465A-9C7B-AD452C69BB9D}" dt="2023-01-11T11:52:02.378" v="9853"/>
          <ac:spMkLst>
            <pc:docMk/>
            <pc:sldMk cId="2455952374" sldId="1982"/>
            <ac:spMk id="38" creationId="{DE6FDFFA-EDF1-406B-9196-24C86DC7AAC2}"/>
          </ac:spMkLst>
        </pc:spChg>
        <pc:spChg chg="add del mod modVis">
          <ac:chgData name="Sophie Bayer" userId="ede9276c-710b-4378-937b-bdc2eba6c543" providerId="ADAL" clId="{E3EDA246-60EA-465A-9C7B-AD452C69BB9D}" dt="2023-01-11T11:52:02.469" v="9897"/>
          <ac:spMkLst>
            <pc:docMk/>
            <pc:sldMk cId="2455952374" sldId="1982"/>
            <ac:spMk id="39" creationId="{E4386ED6-155F-4540-B0F1-DB387CAC1660}"/>
          </ac:spMkLst>
        </pc:spChg>
        <pc:spChg chg="add del mod modVis">
          <ac:chgData name="Sophie Bayer" userId="ede9276c-710b-4378-937b-bdc2eba6c543" providerId="ADAL" clId="{E3EDA246-60EA-465A-9C7B-AD452C69BB9D}" dt="2023-01-11T11:52:04.818" v="9950"/>
          <ac:spMkLst>
            <pc:docMk/>
            <pc:sldMk cId="2455952374" sldId="1982"/>
            <ac:spMk id="40" creationId="{4D00E423-8EA8-46B4-AF9C-33FA7346EA9D}"/>
          </ac:spMkLst>
        </pc:spChg>
        <pc:spChg chg="add del mod modVis">
          <ac:chgData name="Sophie Bayer" userId="ede9276c-710b-4378-937b-bdc2eba6c543" providerId="ADAL" clId="{E3EDA246-60EA-465A-9C7B-AD452C69BB9D}" dt="2023-01-11T11:52:07.936" v="10010"/>
          <ac:spMkLst>
            <pc:docMk/>
            <pc:sldMk cId="2455952374" sldId="1982"/>
            <ac:spMk id="41" creationId="{F53AE919-EE40-4CC4-B126-AA86B0FAF2AF}"/>
          </ac:spMkLst>
        </pc:spChg>
        <pc:spChg chg="add del mod modVis">
          <ac:chgData name="Sophie Bayer" userId="ede9276c-710b-4378-937b-bdc2eba6c543" providerId="ADAL" clId="{E3EDA246-60EA-465A-9C7B-AD452C69BB9D}" dt="2023-01-11T11:52:18.416" v="10054"/>
          <ac:spMkLst>
            <pc:docMk/>
            <pc:sldMk cId="2455952374" sldId="1982"/>
            <ac:spMk id="42" creationId="{47DCD0E0-EC2E-4E15-AA9F-769F0E23FC2F}"/>
          </ac:spMkLst>
        </pc:spChg>
        <pc:spChg chg="add del mod modVis">
          <ac:chgData name="Sophie Bayer" userId="ede9276c-710b-4378-937b-bdc2eba6c543" providerId="ADAL" clId="{E3EDA246-60EA-465A-9C7B-AD452C69BB9D}" dt="2023-01-11T11:52:22.147" v="10098"/>
          <ac:spMkLst>
            <pc:docMk/>
            <pc:sldMk cId="2455952374" sldId="1982"/>
            <ac:spMk id="43" creationId="{C715E0BA-1752-475E-800A-444411DFBDBB}"/>
          </ac:spMkLst>
        </pc:spChg>
        <pc:spChg chg="add del mod modVis">
          <ac:chgData name="Sophie Bayer" userId="ede9276c-710b-4378-937b-bdc2eba6c543" providerId="ADAL" clId="{E3EDA246-60EA-465A-9C7B-AD452C69BB9D}" dt="2023-01-11T11:52:24.798" v="10142"/>
          <ac:spMkLst>
            <pc:docMk/>
            <pc:sldMk cId="2455952374" sldId="1982"/>
            <ac:spMk id="44" creationId="{E9DE3746-20BB-4A9E-84BC-EF7609228347}"/>
          </ac:spMkLst>
        </pc:spChg>
        <pc:spChg chg="add mod">
          <ac:chgData name="Sophie Bayer" userId="ede9276c-710b-4378-937b-bdc2eba6c543" providerId="ADAL" clId="{E3EDA246-60EA-465A-9C7B-AD452C69BB9D}" dt="2023-01-13T15:31:19.756" v="15420" actId="1076"/>
          <ac:spMkLst>
            <pc:docMk/>
            <pc:sldMk cId="2455952374" sldId="1982"/>
            <ac:spMk id="45" creationId="{6887C4A8-B97B-47EA-86DD-46ED4B712A13}"/>
          </ac:spMkLst>
        </pc:spChg>
        <pc:spChg chg="add del mod">
          <ac:chgData name="Sophie Bayer" userId="ede9276c-710b-4378-937b-bdc2eba6c543" providerId="ADAL" clId="{E3EDA246-60EA-465A-9C7B-AD452C69BB9D}" dt="2023-01-11T12:03:22.483" v="10299" actId="478"/>
          <ac:spMkLst>
            <pc:docMk/>
            <pc:sldMk cId="2455952374" sldId="1982"/>
            <ac:spMk id="46" creationId="{5ADF3903-5008-444C-A3AC-DE4C7831C0BC}"/>
          </ac:spMkLst>
        </pc:spChg>
        <pc:spChg chg="add del mod">
          <ac:chgData name="Sophie Bayer" userId="ede9276c-710b-4378-937b-bdc2eba6c543" providerId="ADAL" clId="{E3EDA246-60EA-465A-9C7B-AD452C69BB9D}" dt="2023-01-11T12:03:25.581" v="10300" actId="478"/>
          <ac:spMkLst>
            <pc:docMk/>
            <pc:sldMk cId="2455952374" sldId="1982"/>
            <ac:spMk id="47" creationId="{D8D0D8CC-D95E-4366-A0FF-10DB9B0F42E4}"/>
          </ac:spMkLst>
        </pc:spChg>
        <pc:spChg chg="add mod">
          <ac:chgData name="Sophie Bayer" userId="ede9276c-710b-4378-937b-bdc2eba6c543" providerId="ADAL" clId="{E3EDA246-60EA-465A-9C7B-AD452C69BB9D}" dt="2023-01-13T15:34:23.824" v="15574" actId="13926"/>
          <ac:spMkLst>
            <pc:docMk/>
            <pc:sldMk cId="2455952374" sldId="1982"/>
            <ac:spMk id="50" creationId="{01F87743-07CE-42D4-BBA8-2A302CC08C66}"/>
          </ac:spMkLst>
        </pc:spChg>
        <pc:spChg chg="add del mod">
          <ac:chgData name="Sophie Bayer" userId="ede9276c-710b-4378-937b-bdc2eba6c543" providerId="ADAL" clId="{E3EDA246-60EA-465A-9C7B-AD452C69BB9D}" dt="2023-01-11T11:59:21.583" v="10242"/>
          <ac:spMkLst>
            <pc:docMk/>
            <pc:sldMk cId="2455952374" sldId="1982"/>
            <ac:spMk id="50" creationId="{E1BF3721-F53C-449D-ABB1-41FD4B280532}"/>
          </ac:spMkLst>
        </pc:spChg>
        <pc:spChg chg="add mod">
          <ac:chgData name="Sophie Bayer" userId="ede9276c-710b-4378-937b-bdc2eba6c543" providerId="ADAL" clId="{E3EDA246-60EA-465A-9C7B-AD452C69BB9D}" dt="2023-01-13T15:32:35.112" v="15447" actId="1076"/>
          <ac:spMkLst>
            <pc:docMk/>
            <pc:sldMk cId="2455952374" sldId="1982"/>
            <ac:spMk id="51" creationId="{4B28BB84-85F0-4759-9F38-3299802DD9AD}"/>
          </ac:spMkLst>
        </pc:spChg>
        <pc:spChg chg="add del mod">
          <ac:chgData name="Sophie Bayer" userId="ede9276c-710b-4378-937b-bdc2eba6c543" providerId="ADAL" clId="{E3EDA246-60EA-465A-9C7B-AD452C69BB9D}" dt="2023-01-11T12:03:28.197" v="10301" actId="478"/>
          <ac:spMkLst>
            <pc:docMk/>
            <pc:sldMk cId="2455952374" sldId="1982"/>
            <ac:spMk id="51" creationId="{E99B4720-A818-4D68-B09A-4065685E98BE}"/>
          </ac:spMkLst>
        </pc:spChg>
        <pc:spChg chg="add del mod">
          <ac:chgData name="Sophie Bayer" userId="ede9276c-710b-4378-937b-bdc2eba6c543" providerId="ADAL" clId="{E3EDA246-60EA-465A-9C7B-AD452C69BB9D}" dt="2023-01-13T15:28:45.974" v="15333" actId="478"/>
          <ac:spMkLst>
            <pc:docMk/>
            <pc:sldMk cId="2455952374" sldId="1982"/>
            <ac:spMk id="52" creationId="{6C318FA2-742A-45EE-AB1D-79E57BF98502}"/>
          </ac:spMkLst>
        </pc:spChg>
        <pc:spChg chg="add del mod">
          <ac:chgData name="Sophie Bayer" userId="ede9276c-710b-4378-937b-bdc2eba6c543" providerId="ADAL" clId="{E3EDA246-60EA-465A-9C7B-AD452C69BB9D}" dt="2023-01-13T15:31:09.187" v="15418" actId="478"/>
          <ac:spMkLst>
            <pc:docMk/>
            <pc:sldMk cId="2455952374" sldId="1982"/>
            <ac:spMk id="53" creationId="{AA368B39-9BD2-406E-9658-F72E780B1B51}"/>
          </ac:spMkLst>
        </pc:spChg>
        <pc:spChg chg="add del mod">
          <ac:chgData name="Sophie Bayer" userId="ede9276c-710b-4378-937b-bdc2eba6c543" providerId="ADAL" clId="{E3EDA246-60EA-465A-9C7B-AD452C69BB9D}" dt="2023-01-13T15:31:10.431" v="15419" actId="478"/>
          <ac:spMkLst>
            <pc:docMk/>
            <pc:sldMk cId="2455952374" sldId="1982"/>
            <ac:spMk id="54" creationId="{25E29BD4-4957-44CF-8777-CE245B424797}"/>
          </ac:spMkLst>
        </pc:spChg>
        <pc:spChg chg="add mod">
          <ac:chgData name="Sophie Bayer" userId="ede9276c-710b-4378-937b-bdc2eba6c543" providerId="ADAL" clId="{E3EDA246-60EA-465A-9C7B-AD452C69BB9D}" dt="2023-01-13T15:33:12.877" v="15458" actId="1076"/>
          <ac:spMkLst>
            <pc:docMk/>
            <pc:sldMk cId="2455952374" sldId="1982"/>
            <ac:spMk id="55" creationId="{419717BE-CB32-4E3F-8CFD-4B1CD1CB9EEE}"/>
          </ac:spMkLst>
        </pc:spChg>
        <pc:spChg chg="add del mod">
          <ac:chgData name="Sophie Bayer" userId="ede9276c-710b-4378-937b-bdc2eba6c543" providerId="ADAL" clId="{E3EDA246-60EA-465A-9C7B-AD452C69BB9D}" dt="2023-01-11T12:01:13.719" v="10273"/>
          <ac:spMkLst>
            <pc:docMk/>
            <pc:sldMk cId="2455952374" sldId="1982"/>
            <ac:spMk id="55" creationId="{CBB9906D-6DDC-4E2C-8C95-965DA2FC4E9B}"/>
          </ac:spMkLst>
        </pc:spChg>
        <pc:spChg chg="add mod">
          <ac:chgData name="Sophie Bayer" userId="ede9276c-710b-4378-937b-bdc2eba6c543" providerId="ADAL" clId="{E3EDA246-60EA-465A-9C7B-AD452C69BB9D}" dt="2023-01-13T15:31:19.756" v="15420" actId="1076"/>
          <ac:spMkLst>
            <pc:docMk/>
            <pc:sldMk cId="2455952374" sldId="1982"/>
            <ac:spMk id="56" creationId="{B730520B-02EE-4526-AACF-783EC6EB42DE}"/>
          </ac:spMkLst>
        </pc:spChg>
        <pc:spChg chg="add mod">
          <ac:chgData name="Sophie Bayer" userId="ede9276c-710b-4378-937b-bdc2eba6c543" providerId="ADAL" clId="{E3EDA246-60EA-465A-9C7B-AD452C69BB9D}" dt="2023-01-13T15:31:19.756" v="15420" actId="1076"/>
          <ac:spMkLst>
            <pc:docMk/>
            <pc:sldMk cId="2455952374" sldId="1982"/>
            <ac:spMk id="57" creationId="{1B199786-69D0-4AB2-8127-A2165BFB321F}"/>
          </ac:spMkLst>
        </pc:spChg>
        <pc:spChg chg="add mod">
          <ac:chgData name="Sophie Bayer" userId="ede9276c-710b-4378-937b-bdc2eba6c543" providerId="ADAL" clId="{E3EDA246-60EA-465A-9C7B-AD452C69BB9D}" dt="2023-01-13T15:35:28.633" v="15613" actId="14100"/>
          <ac:spMkLst>
            <pc:docMk/>
            <pc:sldMk cId="2455952374" sldId="1982"/>
            <ac:spMk id="58" creationId="{CF8077A2-04E5-4E36-8440-4E1D9CE71015}"/>
          </ac:spMkLst>
        </pc:spChg>
        <pc:spChg chg="add mod">
          <ac:chgData name="Sophie Bayer" userId="ede9276c-710b-4378-937b-bdc2eba6c543" providerId="ADAL" clId="{E3EDA246-60EA-465A-9C7B-AD452C69BB9D}" dt="2023-01-13T15:35:07.582" v="15600" actId="13926"/>
          <ac:spMkLst>
            <pc:docMk/>
            <pc:sldMk cId="2455952374" sldId="1982"/>
            <ac:spMk id="59" creationId="{31AA4063-3F0E-44C3-8766-677CC0C5B946}"/>
          </ac:spMkLst>
        </pc:spChg>
        <pc:spChg chg="add del mod">
          <ac:chgData name="Sophie Bayer" userId="ede9276c-710b-4378-937b-bdc2eba6c543" providerId="ADAL" clId="{E3EDA246-60EA-465A-9C7B-AD452C69BB9D}" dt="2023-01-11T12:07:42.794" v="10331" actId="478"/>
          <ac:spMkLst>
            <pc:docMk/>
            <pc:sldMk cId="2455952374" sldId="1982"/>
            <ac:spMk id="59" creationId="{E0DDC251-2702-44FA-A9DC-27566958B2D7}"/>
          </ac:spMkLst>
        </pc:spChg>
        <pc:spChg chg="add mod">
          <ac:chgData name="Sophie Bayer" userId="ede9276c-710b-4378-937b-bdc2eba6c543" providerId="ADAL" clId="{E3EDA246-60EA-465A-9C7B-AD452C69BB9D}" dt="2023-01-13T15:34:52.627" v="15596" actId="20577"/>
          <ac:spMkLst>
            <pc:docMk/>
            <pc:sldMk cId="2455952374" sldId="1982"/>
            <ac:spMk id="60" creationId="{C79D72ED-4BA7-4992-9D55-48BAA45B72AF}"/>
          </ac:spMkLst>
        </pc:spChg>
        <pc:spChg chg="add mod">
          <ac:chgData name="Sophie Bayer" userId="ede9276c-710b-4378-937b-bdc2eba6c543" providerId="ADAL" clId="{E3EDA246-60EA-465A-9C7B-AD452C69BB9D}" dt="2023-01-13T15:35:05.153" v="15599" actId="13926"/>
          <ac:spMkLst>
            <pc:docMk/>
            <pc:sldMk cId="2455952374" sldId="1982"/>
            <ac:spMk id="61" creationId="{470A0146-5740-4DF3-801F-E0FEDDC558DF}"/>
          </ac:spMkLst>
        </pc:spChg>
        <pc:spChg chg="mod">
          <ac:chgData name="Sophie Bayer" userId="ede9276c-710b-4378-937b-bdc2eba6c543" providerId="ADAL" clId="{E3EDA246-60EA-465A-9C7B-AD452C69BB9D}" dt="2023-01-11T12:06:49.836" v="10306" actId="207"/>
          <ac:spMkLst>
            <pc:docMk/>
            <pc:sldMk cId="2455952374" sldId="1982"/>
            <ac:spMk id="61" creationId="{BC3B2A44-825A-4819-9426-302674D78DE7}"/>
          </ac:spMkLst>
        </pc:spChg>
        <pc:spChg chg="add mod">
          <ac:chgData name="Sophie Bayer" userId="ede9276c-710b-4378-937b-bdc2eba6c543" providerId="ADAL" clId="{E3EDA246-60EA-465A-9C7B-AD452C69BB9D}" dt="2023-01-13T15:50:36.609" v="15644" actId="20577"/>
          <ac:spMkLst>
            <pc:docMk/>
            <pc:sldMk cId="2455952374" sldId="1982"/>
            <ac:spMk id="62" creationId="{5F10E090-4B9F-4C91-A81C-E9FA77FAA9BE}"/>
          </ac:spMkLst>
        </pc:spChg>
        <pc:spChg chg="mod">
          <ac:chgData name="Sophie Bayer" userId="ede9276c-710b-4378-937b-bdc2eba6c543" providerId="ADAL" clId="{E3EDA246-60EA-465A-9C7B-AD452C69BB9D}" dt="2023-01-11T12:06:49.836" v="10306" actId="207"/>
          <ac:spMkLst>
            <pc:docMk/>
            <pc:sldMk cId="2455952374" sldId="1982"/>
            <ac:spMk id="62" creationId="{EB2C12DF-EE0C-4748-B730-0B55C996BB5F}"/>
          </ac:spMkLst>
        </pc:spChg>
        <pc:spChg chg="add mod">
          <ac:chgData name="Sophie Bayer" userId="ede9276c-710b-4378-937b-bdc2eba6c543" providerId="ADAL" clId="{E3EDA246-60EA-465A-9C7B-AD452C69BB9D}" dt="2023-01-13T15:36:12.206" v="15626" actId="1076"/>
          <ac:spMkLst>
            <pc:docMk/>
            <pc:sldMk cId="2455952374" sldId="1982"/>
            <ac:spMk id="63" creationId="{1A3657CF-36BF-45B6-89B6-D8F7A5071DFD}"/>
          </ac:spMkLst>
        </pc:spChg>
        <pc:spChg chg="mod">
          <ac:chgData name="Sophie Bayer" userId="ede9276c-710b-4378-937b-bdc2eba6c543" providerId="ADAL" clId="{E3EDA246-60EA-465A-9C7B-AD452C69BB9D}" dt="2023-01-11T12:06:49.836" v="10306" actId="207"/>
          <ac:spMkLst>
            <pc:docMk/>
            <pc:sldMk cId="2455952374" sldId="1982"/>
            <ac:spMk id="63" creationId="{A830A0D8-59C4-4C04-9F30-9B06E89D1F46}"/>
          </ac:spMkLst>
        </pc:spChg>
        <pc:spChg chg="add mod">
          <ac:chgData name="Sophie Bayer" userId="ede9276c-710b-4378-937b-bdc2eba6c543" providerId="ADAL" clId="{E3EDA246-60EA-465A-9C7B-AD452C69BB9D}" dt="2023-01-13T15:36:12.206" v="15626" actId="1076"/>
          <ac:spMkLst>
            <pc:docMk/>
            <pc:sldMk cId="2455952374" sldId="1982"/>
            <ac:spMk id="64" creationId="{8C7FD7EA-5081-46A8-B085-2DD3EBA6430B}"/>
          </ac:spMkLst>
        </pc:spChg>
        <pc:spChg chg="mod">
          <ac:chgData name="Sophie Bayer" userId="ede9276c-710b-4378-937b-bdc2eba6c543" providerId="ADAL" clId="{E3EDA246-60EA-465A-9C7B-AD452C69BB9D}" dt="2023-01-11T12:06:49.836" v="10306" actId="207"/>
          <ac:spMkLst>
            <pc:docMk/>
            <pc:sldMk cId="2455952374" sldId="1982"/>
            <ac:spMk id="65" creationId="{1A5759C1-B23E-4E45-9BF9-29280A0B6222}"/>
          </ac:spMkLst>
        </pc:spChg>
        <pc:spChg chg="add mod">
          <ac:chgData name="Sophie Bayer" userId="ede9276c-710b-4378-937b-bdc2eba6c543" providerId="ADAL" clId="{E3EDA246-60EA-465A-9C7B-AD452C69BB9D}" dt="2023-01-13T15:36:12.206" v="15626" actId="1076"/>
          <ac:spMkLst>
            <pc:docMk/>
            <pc:sldMk cId="2455952374" sldId="1982"/>
            <ac:spMk id="65" creationId="{96524ADD-8F03-4F4C-B982-B317EA00770F}"/>
          </ac:spMkLst>
        </pc:spChg>
        <pc:spChg chg="mod">
          <ac:chgData name="Sophie Bayer" userId="ede9276c-710b-4378-937b-bdc2eba6c543" providerId="ADAL" clId="{E3EDA246-60EA-465A-9C7B-AD452C69BB9D}" dt="2023-01-11T12:06:49.836" v="10306" actId="207"/>
          <ac:spMkLst>
            <pc:docMk/>
            <pc:sldMk cId="2455952374" sldId="1982"/>
            <ac:spMk id="66" creationId="{159D8B22-5645-402A-99C9-48A9B2380865}"/>
          </ac:spMkLst>
        </pc:spChg>
        <pc:spChg chg="mod">
          <ac:chgData name="Sophie Bayer" userId="ede9276c-710b-4378-937b-bdc2eba6c543" providerId="ADAL" clId="{E3EDA246-60EA-465A-9C7B-AD452C69BB9D}" dt="2023-01-11T12:06:49.836" v="10306" actId="207"/>
          <ac:spMkLst>
            <pc:docMk/>
            <pc:sldMk cId="2455952374" sldId="1982"/>
            <ac:spMk id="68" creationId="{2347FC3B-7B75-4B0D-B606-FA47246F2DBB}"/>
          </ac:spMkLst>
        </pc:spChg>
        <pc:spChg chg="mod">
          <ac:chgData name="Sophie Bayer" userId="ede9276c-710b-4378-937b-bdc2eba6c543" providerId="ADAL" clId="{E3EDA246-60EA-465A-9C7B-AD452C69BB9D}" dt="2023-01-11T12:06:49.836" v="10306" actId="207"/>
          <ac:spMkLst>
            <pc:docMk/>
            <pc:sldMk cId="2455952374" sldId="1982"/>
            <ac:spMk id="69" creationId="{1A29C68F-1373-44EF-9399-7078E16C5D2D}"/>
          </ac:spMkLst>
        </pc:spChg>
        <pc:spChg chg="mod">
          <ac:chgData name="Sophie Bayer" userId="ede9276c-710b-4378-937b-bdc2eba6c543" providerId="ADAL" clId="{E3EDA246-60EA-465A-9C7B-AD452C69BB9D}" dt="2023-01-11T12:06:49.836" v="10306" actId="207"/>
          <ac:spMkLst>
            <pc:docMk/>
            <pc:sldMk cId="2455952374" sldId="1982"/>
            <ac:spMk id="71" creationId="{5C70ED02-5611-4015-8704-250059D236A6}"/>
          </ac:spMkLst>
        </pc:spChg>
        <pc:spChg chg="mod">
          <ac:chgData name="Sophie Bayer" userId="ede9276c-710b-4378-937b-bdc2eba6c543" providerId="ADAL" clId="{E3EDA246-60EA-465A-9C7B-AD452C69BB9D}" dt="2023-01-11T12:06:49.836" v="10306" actId="207"/>
          <ac:spMkLst>
            <pc:docMk/>
            <pc:sldMk cId="2455952374" sldId="1982"/>
            <ac:spMk id="72" creationId="{C4CD37EC-B4F5-4833-BFE1-DD47A1803063}"/>
          </ac:spMkLst>
        </pc:spChg>
        <pc:spChg chg="mod">
          <ac:chgData name="Sophie Bayer" userId="ede9276c-710b-4378-937b-bdc2eba6c543" providerId="ADAL" clId="{E3EDA246-60EA-465A-9C7B-AD452C69BB9D}" dt="2023-01-11T12:06:49.836" v="10306" actId="207"/>
          <ac:spMkLst>
            <pc:docMk/>
            <pc:sldMk cId="2455952374" sldId="1982"/>
            <ac:spMk id="74" creationId="{7DC28764-CCD6-40D6-B660-FF9F6DB0993A}"/>
          </ac:spMkLst>
        </pc:spChg>
        <pc:spChg chg="mod">
          <ac:chgData name="Sophie Bayer" userId="ede9276c-710b-4378-937b-bdc2eba6c543" providerId="ADAL" clId="{E3EDA246-60EA-465A-9C7B-AD452C69BB9D}" dt="2023-01-11T12:06:49.836" v="10306" actId="207"/>
          <ac:spMkLst>
            <pc:docMk/>
            <pc:sldMk cId="2455952374" sldId="1982"/>
            <ac:spMk id="75" creationId="{A49E4EC2-43ED-4187-B9DB-1F45B52717D7}"/>
          </ac:spMkLst>
        </pc:spChg>
        <pc:spChg chg="add del mod">
          <ac:chgData name="Sophie Bayer" userId="ede9276c-710b-4378-937b-bdc2eba6c543" providerId="ADAL" clId="{E3EDA246-60EA-465A-9C7B-AD452C69BB9D}" dt="2023-01-11T12:07:42.794" v="10331" actId="478"/>
          <ac:spMkLst>
            <pc:docMk/>
            <pc:sldMk cId="2455952374" sldId="1982"/>
            <ac:spMk id="76" creationId="{2899E858-3E74-47EE-A898-FB763A31CC7F}"/>
          </ac:spMkLst>
        </pc:spChg>
        <pc:spChg chg="add del mod">
          <ac:chgData name="Sophie Bayer" userId="ede9276c-710b-4378-937b-bdc2eba6c543" providerId="ADAL" clId="{E3EDA246-60EA-465A-9C7B-AD452C69BB9D}" dt="2023-01-11T12:07:42.794" v="10331" actId="478"/>
          <ac:spMkLst>
            <pc:docMk/>
            <pc:sldMk cId="2455952374" sldId="1982"/>
            <ac:spMk id="77" creationId="{EA9169BA-C1B8-41A1-B948-15D366D5AD49}"/>
          </ac:spMkLst>
        </pc:spChg>
        <pc:spChg chg="add del mod">
          <ac:chgData name="Sophie Bayer" userId="ede9276c-710b-4378-937b-bdc2eba6c543" providerId="ADAL" clId="{E3EDA246-60EA-465A-9C7B-AD452C69BB9D}" dt="2023-01-11T12:07:42.794" v="10331" actId="478"/>
          <ac:spMkLst>
            <pc:docMk/>
            <pc:sldMk cId="2455952374" sldId="1982"/>
            <ac:spMk id="78" creationId="{6A137723-71D9-423F-B5A2-5F6341B87A06}"/>
          </ac:spMkLst>
        </pc:spChg>
        <pc:spChg chg="mod">
          <ac:chgData name="Sophie Bayer" userId="ede9276c-710b-4378-937b-bdc2eba6c543" providerId="ADAL" clId="{E3EDA246-60EA-465A-9C7B-AD452C69BB9D}" dt="2023-01-11T12:06:49.836" v="10306" actId="207"/>
          <ac:spMkLst>
            <pc:docMk/>
            <pc:sldMk cId="2455952374" sldId="1982"/>
            <ac:spMk id="80" creationId="{0AB030FB-B0B0-4EED-8B55-AB26F0EC9D81}"/>
          </ac:spMkLst>
        </pc:spChg>
        <pc:spChg chg="mod">
          <ac:chgData name="Sophie Bayer" userId="ede9276c-710b-4378-937b-bdc2eba6c543" providerId="ADAL" clId="{E3EDA246-60EA-465A-9C7B-AD452C69BB9D}" dt="2023-01-11T12:06:49.836" v="10306" actId="207"/>
          <ac:spMkLst>
            <pc:docMk/>
            <pc:sldMk cId="2455952374" sldId="1982"/>
            <ac:spMk id="81" creationId="{69B5FFC0-69AE-4C95-935B-505594A3BD11}"/>
          </ac:spMkLst>
        </pc:spChg>
        <pc:spChg chg="mod">
          <ac:chgData name="Sophie Bayer" userId="ede9276c-710b-4378-937b-bdc2eba6c543" providerId="ADAL" clId="{E3EDA246-60EA-465A-9C7B-AD452C69BB9D}" dt="2023-01-11T12:06:49.836" v="10306" actId="207"/>
          <ac:spMkLst>
            <pc:docMk/>
            <pc:sldMk cId="2455952374" sldId="1982"/>
            <ac:spMk id="83" creationId="{3F94425B-BF35-4691-BB8A-A08080271F68}"/>
          </ac:spMkLst>
        </pc:spChg>
        <pc:spChg chg="mod">
          <ac:chgData name="Sophie Bayer" userId="ede9276c-710b-4378-937b-bdc2eba6c543" providerId="ADAL" clId="{E3EDA246-60EA-465A-9C7B-AD452C69BB9D}" dt="2023-01-11T12:06:49.836" v="10306" actId="207"/>
          <ac:spMkLst>
            <pc:docMk/>
            <pc:sldMk cId="2455952374" sldId="1982"/>
            <ac:spMk id="84" creationId="{E90166B6-2DA6-4B51-A539-C37028FFC86A}"/>
          </ac:spMkLst>
        </pc:spChg>
        <pc:spChg chg="add del mod">
          <ac:chgData name="Sophie Bayer" userId="ede9276c-710b-4378-937b-bdc2eba6c543" providerId="ADAL" clId="{E3EDA246-60EA-465A-9C7B-AD452C69BB9D}" dt="2023-01-11T12:07:42.794" v="10331" actId="478"/>
          <ac:spMkLst>
            <pc:docMk/>
            <pc:sldMk cId="2455952374" sldId="1982"/>
            <ac:spMk id="85" creationId="{AD6EA63E-C130-4AE7-8451-6A8B74CE96E9}"/>
          </ac:spMkLst>
        </pc:spChg>
        <pc:spChg chg="add del mod">
          <ac:chgData name="Sophie Bayer" userId="ede9276c-710b-4378-937b-bdc2eba6c543" providerId="ADAL" clId="{E3EDA246-60EA-465A-9C7B-AD452C69BB9D}" dt="2023-01-11T12:07:42.794" v="10331" actId="478"/>
          <ac:spMkLst>
            <pc:docMk/>
            <pc:sldMk cId="2455952374" sldId="1982"/>
            <ac:spMk id="86" creationId="{5C748052-CDCB-4C70-8D58-79E45D7D09C7}"/>
          </ac:spMkLst>
        </pc:spChg>
        <pc:spChg chg="add del mod">
          <ac:chgData name="Sophie Bayer" userId="ede9276c-710b-4378-937b-bdc2eba6c543" providerId="ADAL" clId="{E3EDA246-60EA-465A-9C7B-AD452C69BB9D}" dt="2023-01-11T12:07:42.794" v="10331" actId="478"/>
          <ac:spMkLst>
            <pc:docMk/>
            <pc:sldMk cId="2455952374" sldId="1982"/>
            <ac:spMk id="87" creationId="{D3FD8507-C1F6-46E6-88F8-98915A8A43F4}"/>
          </ac:spMkLst>
        </pc:spChg>
        <pc:spChg chg="add del mod">
          <ac:chgData name="Sophie Bayer" userId="ede9276c-710b-4378-937b-bdc2eba6c543" providerId="ADAL" clId="{E3EDA246-60EA-465A-9C7B-AD452C69BB9D}" dt="2023-01-11T12:07:42.794" v="10331" actId="478"/>
          <ac:spMkLst>
            <pc:docMk/>
            <pc:sldMk cId="2455952374" sldId="1982"/>
            <ac:spMk id="88" creationId="{A5D4F056-A34C-4FD3-9C10-ECB3E0F494EA}"/>
          </ac:spMkLst>
        </pc:spChg>
        <pc:spChg chg="add del mod">
          <ac:chgData name="Sophie Bayer" userId="ede9276c-710b-4378-937b-bdc2eba6c543" providerId="ADAL" clId="{E3EDA246-60EA-465A-9C7B-AD452C69BB9D}" dt="2023-01-11T12:07:42.794" v="10331" actId="478"/>
          <ac:spMkLst>
            <pc:docMk/>
            <pc:sldMk cId="2455952374" sldId="1982"/>
            <ac:spMk id="89" creationId="{5417EA44-CB9B-46A3-B846-B9C684548D40}"/>
          </ac:spMkLst>
        </pc:spChg>
        <pc:spChg chg="mod">
          <ac:chgData name="Sophie Bayer" userId="ede9276c-710b-4378-937b-bdc2eba6c543" providerId="ADAL" clId="{E3EDA246-60EA-465A-9C7B-AD452C69BB9D}" dt="2023-01-11T12:06:49.836" v="10306" actId="207"/>
          <ac:spMkLst>
            <pc:docMk/>
            <pc:sldMk cId="2455952374" sldId="1982"/>
            <ac:spMk id="91" creationId="{9D1247F0-58FD-4E94-B0FB-2724F2A711ED}"/>
          </ac:spMkLst>
        </pc:spChg>
        <pc:spChg chg="mod">
          <ac:chgData name="Sophie Bayer" userId="ede9276c-710b-4378-937b-bdc2eba6c543" providerId="ADAL" clId="{E3EDA246-60EA-465A-9C7B-AD452C69BB9D}" dt="2023-01-11T12:06:49.836" v="10306" actId="207"/>
          <ac:spMkLst>
            <pc:docMk/>
            <pc:sldMk cId="2455952374" sldId="1982"/>
            <ac:spMk id="92" creationId="{601A58B0-420F-4951-B717-B507B816004C}"/>
          </ac:spMkLst>
        </pc:spChg>
        <pc:spChg chg="mod">
          <ac:chgData name="Sophie Bayer" userId="ede9276c-710b-4378-937b-bdc2eba6c543" providerId="ADAL" clId="{E3EDA246-60EA-465A-9C7B-AD452C69BB9D}" dt="2023-01-11T12:06:49.836" v="10306" actId="207"/>
          <ac:spMkLst>
            <pc:docMk/>
            <pc:sldMk cId="2455952374" sldId="1982"/>
            <ac:spMk id="94" creationId="{B46E4A89-502C-4496-B51A-0F5E9F3C165C}"/>
          </ac:spMkLst>
        </pc:spChg>
        <pc:spChg chg="mod">
          <ac:chgData name="Sophie Bayer" userId="ede9276c-710b-4378-937b-bdc2eba6c543" providerId="ADAL" clId="{E3EDA246-60EA-465A-9C7B-AD452C69BB9D}" dt="2023-01-11T12:06:49.836" v="10306" actId="207"/>
          <ac:spMkLst>
            <pc:docMk/>
            <pc:sldMk cId="2455952374" sldId="1982"/>
            <ac:spMk id="95" creationId="{277F201C-67EB-42D6-A85A-97690B5805E4}"/>
          </ac:spMkLst>
        </pc:spChg>
        <pc:spChg chg="add del mod">
          <ac:chgData name="Sophie Bayer" userId="ede9276c-710b-4378-937b-bdc2eba6c543" providerId="ADAL" clId="{E3EDA246-60EA-465A-9C7B-AD452C69BB9D}" dt="2023-01-11T12:07:53.221" v="10333"/>
          <ac:spMkLst>
            <pc:docMk/>
            <pc:sldMk cId="2455952374" sldId="1982"/>
            <ac:spMk id="96" creationId="{6D560BA6-A5E2-4A37-9CBF-566BF146FD9F}"/>
          </ac:spMkLst>
        </pc:spChg>
        <pc:spChg chg="mod">
          <ac:chgData name="Sophie Bayer" userId="ede9276c-710b-4378-937b-bdc2eba6c543" providerId="ADAL" clId="{E3EDA246-60EA-465A-9C7B-AD452C69BB9D}" dt="2023-01-11T12:07:48.137" v="10332"/>
          <ac:spMkLst>
            <pc:docMk/>
            <pc:sldMk cId="2455952374" sldId="1982"/>
            <ac:spMk id="98" creationId="{F11B97A7-18FF-464C-A9EF-E58FA4D5ADBC}"/>
          </ac:spMkLst>
        </pc:spChg>
        <pc:spChg chg="mod">
          <ac:chgData name="Sophie Bayer" userId="ede9276c-710b-4378-937b-bdc2eba6c543" providerId="ADAL" clId="{E3EDA246-60EA-465A-9C7B-AD452C69BB9D}" dt="2023-01-11T12:07:48.137" v="10332"/>
          <ac:spMkLst>
            <pc:docMk/>
            <pc:sldMk cId="2455952374" sldId="1982"/>
            <ac:spMk id="99" creationId="{B591F53C-D413-40A5-B459-827C99D89F20}"/>
          </ac:spMkLst>
        </pc:spChg>
        <pc:spChg chg="mod">
          <ac:chgData name="Sophie Bayer" userId="ede9276c-710b-4378-937b-bdc2eba6c543" providerId="ADAL" clId="{E3EDA246-60EA-465A-9C7B-AD452C69BB9D}" dt="2023-01-11T12:07:48.137" v="10332"/>
          <ac:spMkLst>
            <pc:docMk/>
            <pc:sldMk cId="2455952374" sldId="1982"/>
            <ac:spMk id="100" creationId="{2FFC5CB6-C8D6-465C-A3B4-3C3A65A02D46}"/>
          </ac:spMkLst>
        </pc:spChg>
        <pc:spChg chg="mod">
          <ac:chgData name="Sophie Bayer" userId="ede9276c-710b-4378-937b-bdc2eba6c543" providerId="ADAL" clId="{E3EDA246-60EA-465A-9C7B-AD452C69BB9D}" dt="2023-01-11T12:07:48.137" v="10332"/>
          <ac:spMkLst>
            <pc:docMk/>
            <pc:sldMk cId="2455952374" sldId="1982"/>
            <ac:spMk id="102" creationId="{E35C71D7-E9C5-4A0B-84C6-154536EC243E}"/>
          </ac:spMkLst>
        </pc:spChg>
        <pc:spChg chg="mod">
          <ac:chgData name="Sophie Bayer" userId="ede9276c-710b-4378-937b-bdc2eba6c543" providerId="ADAL" clId="{E3EDA246-60EA-465A-9C7B-AD452C69BB9D}" dt="2023-01-11T12:07:48.137" v="10332"/>
          <ac:spMkLst>
            <pc:docMk/>
            <pc:sldMk cId="2455952374" sldId="1982"/>
            <ac:spMk id="103" creationId="{69288F4A-8637-4F8E-9695-5B856C22281F}"/>
          </ac:spMkLst>
        </pc:spChg>
        <pc:spChg chg="mod">
          <ac:chgData name="Sophie Bayer" userId="ede9276c-710b-4378-937b-bdc2eba6c543" providerId="ADAL" clId="{E3EDA246-60EA-465A-9C7B-AD452C69BB9D}" dt="2023-01-11T12:07:48.137" v="10332"/>
          <ac:spMkLst>
            <pc:docMk/>
            <pc:sldMk cId="2455952374" sldId="1982"/>
            <ac:spMk id="105" creationId="{38CBB4F1-E073-450A-8747-8DD9CEF9FB2A}"/>
          </ac:spMkLst>
        </pc:spChg>
        <pc:spChg chg="mod">
          <ac:chgData name="Sophie Bayer" userId="ede9276c-710b-4378-937b-bdc2eba6c543" providerId="ADAL" clId="{E3EDA246-60EA-465A-9C7B-AD452C69BB9D}" dt="2023-01-11T12:07:48.137" v="10332"/>
          <ac:spMkLst>
            <pc:docMk/>
            <pc:sldMk cId="2455952374" sldId="1982"/>
            <ac:spMk id="106" creationId="{EF71342C-D67B-4158-A186-40822E6BF224}"/>
          </ac:spMkLst>
        </pc:spChg>
        <pc:spChg chg="mod">
          <ac:chgData name="Sophie Bayer" userId="ede9276c-710b-4378-937b-bdc2eba6c543" providerId="ADAL" clId="{E3EDA246-60EA-465A-9C7B-AD452C69BB9D}" dt="2023-01-11T12:07:48.137" v="10332"/>
          <ac:spMkLst>
            <pc:docMk/>
            <pc:sldMk cId="2455952374" sldId="1982"/>
            <ac:spMk id="108" creationId="{BCA5552D-8DB4-43BF-BD08-C51A0FE4393F}"/>
          </ac:spMkLst>
        </pc:spChg>
        <pc:spChg chg="mod">
          <ac:chgData name="Sophie Bayer" userId="ede9276c-710b-4378-937b-bdc2eba6c543" providerId="ADAL" clId="{E3EDA246-60EA-465A-9C7B-AD452C69BB9D}" dt="2023-01-11T12:07:48.137" v="10332"/>
          <ac:spMkLst>
            <pc:docMk/>
            <pc:sldMk cId="2455952374" sldId="1982"/>
            <ac:spMk id="109" creationId="{1AE2B672-6D01-4A91-8F74-7D7E23659E45}"/>
          </ac:spMkLst>
        </pc:spChg>
        <pc:spChg chg="mod">
          <ac:chgData name="Sophie Bayer" userId="ede9276c-710b-4378-937b-bdc2eba6c543" providerId="ADAL" clId="{E3EDA246-60EA-465A-9C7B-AD452C69BB9D}" dt="2023-01-11T12:07:48.137" v="10332"/>
          <ac:spMkLst>
            <pc:docMk/>
            <pc:sldMk cId="2455952374" sldId="1982"/>
            <ac:spMk id="111" creationId="{2E3E3C80-8840-45F4-BBF7-0E28E7F39715}"/>
          </ac:spMkLst>
        </pc:spChg>
        <pc:spChg chg="mod">
          <ac:chgData name="Sophie Bayer" userId="ede9276c-710b-4378-937b-bdc2eba6c543" providerId="ADAL" clId="{E3EDA246-60EA-465A-9C7B-AD452C69BB9D}" dt="2023-01-11T12:07:48.137" v="10332"/>
          <ac:spMkLst>
            <pc:docMk/>
            <pc:sldMk cId="2455952374" sldId="1982"/>
            <ac:spMk id="112" creationId="{5817D70F-DB42-4803-8E61-43E9EF76E2BD}"/>
          </ac:spMkLst>
        </pc:spChg>
        <pc:spChg chg="add del mod">
          <ac:chgData name="Sophie Bayer" userId="ede9276c-710b-4378-937b-bdc2eba6c543" providerId="ADAL" clId="{E3EDA246-60EA-465A-9C7B-AD452C69BB9D}" dt="2023-01-11T12:07:53.221" v="10333"/>
          <ac:spMkLst>
            <pc:docMk/>
            <pc:sldMk cId="2455952374" sldId="1982"/>
            <ac:spMk id="113" creationId="{4F689FBB-3577-481A-B088-F334A7263E30}"/>
          </ac:spMkLst>
        </pc:spChg>
        <pc:spChg chg="add del mod">
          <ac:chgData name="Sophie Bayer" userId="ede9276c-710b-4378-937b-bdc2eba6c543" providerId="ADAL" clId="{E3EDA246-60EA-465A-9C7B-AD452C69BB9D}" dt="2023-01-11T12:07:53.221" v="10333"/>
          <ac:spMkLst>
            <pc:docMk/>
            <pc:sldMk cId="2455952374" sldId="1982"/>
            <ac:spMk id="114" creationId="{E9B456ED-BF14-4853-9331-6A9CAD06E1DF}"/>
          </ac:spMkLst>
        </pc:spChg>
        <pc:spChg chg="add del mod">
          <ac:chgData name="Sophie Bayer" userId="ede9276c-710b-4378-937b-bdc2eba6c543" providerId="ADAL" clId="{E3EDA246-60EA-465A-9C7B-AD452C69BB9D}" dt="2023-01-11T12:07:53.221" v="10333"/>
          <ac:spMkLst>
            <pc:docMk/>
            <pc:sldMk cId="2455952374" sldId="1982"/>
            <ac:spMk id="115" creationId="{A9625E13-E350-4910-8036-35C053CA5B56}"/>
          </ac:spMkLst>
        </pc:spChg>
        <pc:spChg chg="mod">
          <ac:chgData name="Sophie Bayer" userId="ede9276c-710b-4378-937b-bdc2eba6c543" providerId="ADAL" clId="{E3EDA246-60EA-465A-9C7B-AD452C69BB9D}" dt="2023-01-11T12:07:48.137" v="10332"/>
          <ac:spMkLst>
            <pc:docMk/>
            <pc:sldMk cId="2455952374" sldId="1982"/>
            <ac:spMk id="117" creationId="{1F897C8D-68D8-45DF-9E09-3C3725FB4A34}"/>
          </ac:spMkLst>
        </pc:spChg>
        <pc:spChg chg="mod">
          <ac:chgData name="Sophie Bayer" userId="ede9276c-710b-4378-937b-bdc2eba6c543" providerId="ADAL" clId="{E3EDA246-60EA-465A-9C7B-AD452C69BB9D}" dt="2023-01-11T12:07:48.137" v="10332"/>
          <ac:spMkLst>
            <pc:docMk/>
            <pc:sldMk cId="2455952374" sldId="1982"/>
            <ac:spMk id="118" creationId="{0EC489CE-863F-4CCE-AAB1-2328F35B4815}"/>
          </ac:spMkLst>
        </pc:spChg>
        <pc:spChg chg="mod">
          <ac:chgData name="Sophie Bayer" userId="ede9276c-710b-4378-937b-bdc2eba6c543" providerId="ADAL" clId="{E3EDA246-60EA-465A-9C7B-AD452C69BB9D}" dt="2023-01-11T12:07:48.137" v="10332"/>
          <ac:spMkLst>
            <pc:docMk/>
            <pc:sldMk cId="2455952374" sldId="1982"/>
            <ac:spMk id="120" creationId="{01D7A2CC-DC80-4064-8756-81EF85318B4E}"/>
          </ac:spMkLst>
        </pc:spChg>
        <pc:spChg chg="mod">
          <ac:chgData name="Sophie Bayer" userId="ede9276c-710b-4378-937b-bdc2eba6c543" providerId="ADAL" clId="{E3EDA246-60EA-465A-9C7B-AD452C69BB9D}" dt="2023-01-11T12:07:48.137" v="10332"/>
          <ac:spMkLst>
            <pc:docMk/>
            <pc:sldMk cId="2455952374" sldId="1982"/>
            <ac:spMk id="121" creationId="{5B86B155-1A12-4983-9C30-D5A0D222474E}"/>
          </ac:spMkLst>
        </pc:spChg>
        <pc:spChg chg="add del mod">
          <ac:chgData name="Sophie Bayer" userId="ede9276c-710b-4378-937b-bdc2eba6c543" providerId="ADAL" clId="{E3EDA246-60EA-465A-9C7B-AD452C69BB9D}" dt="2023-01-11T12:07:53.221" v="10333"/>
          <ac:spMkLst>
            <pc:docMk/>
            <pc:sldMk cId="2455952374" sldId="1982"/>
            <ac:spMk id="122" creationId="{1AFDDF8E-2D04-4C0A-BD77-2D884E0AF34D}"/>
          </ac:spMkLst>
        </pc:spChg>
        <pc:spChg chg="add del mod">
          <ac:chgData name="Sophie Bayer" userId="ede9276c-710b-4378-937b-bdc2eba6c543" providerId="ADAL" clId="{E3EDA246-60EA-465A-9C7B-AD452C69BB9D}" dt="2023-01-11T12:07:53.221" v="10333"/>
          <ac:spMkLst>
            <pc:docMk/>
            <pc:sldMk cId="2455952374" sldId="1982"/>
            <ac:spMk id="123" creationId="{01939DF4-509C-432B-B9A4-781F7C1C06A6}"/>
          </ac:spMkLst>
        </pc:spChg>
        <pc:spChg chg="add del mod">
          <ac:chgData name="Sophie Bayer" userId="ede9276c-710b-4378-937b-bdc2eba6c543" providerId="ADAL" clId="{E3EDA246-60EA-465A-9C7B-AD452C69BB9D}" dt="2023-01-11T12:07:53.221" v="10333"/>
          <ac:spMkLst>
            <pc:docMk/>
            <pc:sldMk cId="2455952374" sldId="1982"/>
            <ac:spMk id="124" creationId="{86218B05-01AB-4A03-958E-C84C6D249079}"/>
          </ac:spMkLst>
        </pc:spChg>
        <pc:spChg chg="add del mod">
          <ac:chgData name="Sophie Bayer" userId="ede9276c-710b-4378-937b-bdc2eba6c543" providerId="ADAL" clId="{E3EDA246-60EA-465A-9C7B-AD452C69BB9D}" dt="2023-01-11T12:07:53.221" v="10333"/>
          <ac:spMkLst>
            <pc:docMk/>
            <pc:sldMk cId="2455952374" sldId="1982"/>
            <ac:spMk id="125" creationId="{CB0939AD-9C52-4744-883F-965DF03F52A0}"/>
          </ac:spMkLst>
        </pc:spChg>
        <pc:spChg chg="add del mod">
          <ac:chgData name="Sophie Bayer" userId="ede9276c-710b-4378-937b-bdc2eba6c543" providerId="ADAL" clId="{E3EDA246-60EA-465A-9C7B-AD452C69BB9D}" dt="2023-01-11T12:07:53.221" v="10333"/>
          <ac:spMkLst>
            <pc:docMk/>
            <pc:sldMk cId="2455952374" sldId="1982"/>
            <ac:spMk id="126" creationId="{AA01B981-03F7-4ADB-B744-9F307371B110}"/>
          </ac:spMkLst>
        </pc:spChg>
        <pc:spChg chg="mod">
          <ac:chgData name="Sophie Bayer" userId="ede9276c-710b-4378-937b-bdc2eba6c543" providerId="ADAL" clId="{E3EDA246-60EA-465A-9C7B-AD452C69BB9D}" dt="2023-01-11T12:07:48.137" v="10332"/>
          <ac:spMkLst>
            <pc:docMk/>
            <pc:sldMk cId="2455952374" sldId="1982"/>
            <ac:spMk id="128" creationId="{E5BF9DCF-DFAD-4F99-B556-4418429D01B0}"/>
          </ac:spMkLst>
        </pc:spChg>
        <pc:spChg chg="mod">
          <ac:chgData name="Sophie Bayer" userId="ede9276c-710b-4378-937b-bdc2eba6c543" providerId="ADAL" clId="{E3EDA246-60EA-465A-9C7B-AD452C69BB9D}" dt="2023-01-11T12:07:48.137" v="10332"/>
          <ac:spMkLst>
            <pc:docMk/>
            <pc:sldMk cId="2455952374" sldId="1982"/>
            <ac:spMk id="129" creationId="{E0BB4D37-1418-4D6C-9BD9-14F1962A93C0}"/>
          </ac:spMkLst>
        </pc:spChg>
        <pc:spChg chg="mod">
          <ac:chgData name="Sophie Bayer" userId="ede9276c-710b-4378-937b-bdc2eba6c543" providerId="ADAL" clId="{E3EDA246-60EA-465A-9C7B-AD452C69BB9D}" dt="2023-01-11T12:07:48.137" v="10332"/>
          <ac:spMkLst>
            <pc:docMk/>
            <pc:sldMk cId="2455952374" sldId="1982"/>
            <ac:spMk id="131" creationId="{0D266912-6530-4B29-B846-8E9CB246B4E6}"/>
          </ac:spMkLst>
        </pc:spChg>
        <pc:spChg chg="mod">
          <ac:chgData name="Sophie Bayer" userId="ede9276c-710b-4378-937b-bdc2eba6c543" providerId="ADAL" clId="{E3EDA246-60EA-465A-9C7B-AD452C69BB9D}" dt="2023-01-11T12:07:48.137" v="10332"/>
          <ac:spMkLst>
            <pc:docMk/>
            <pc:sldMk cId="2455952374" sldId="1982"/>
            <ac:spMk id="132" creationId="{BB58DBE9-21AB-4CFA-9AD4-5FF2515CBCC8}"/>
          </ac:spMkLst>
        </pc:spChg>
        <pc:spChg chg="add del mod">
          <ac:chgData name="Sophie Bayer" userId="ede9276c-710b-4378-937b-bdc2eba6c543" providerId="ADAL" clId="{E3EDA246-60EA-465A-9C7B-AD452C69BB9D}" dt="2023-01-13T15:35:56.928" v="15624" actId="478"/>
          <ac:spMkLst>
            <pc:docMk/>
            <pc:sldMk cId="2455952374" sldId="1982"/>
            <ac:spMk id="133" creationId="{F3A2CE7C-E431-4A9D-927A-C609DC5E1AB9}"/>
          </ac:spMkLst>
        </pc:spChg>
        <pc:spChg chg="mod">
          <ac:chgData name="Sophie Bayer" userId="ede9276c-710b-4378-937b-bdc2eba6c543" providerId="ADAL" clId="{E3EDA246-60EA-465A-9C7B-AD452C69BB9D}" dt="2023-01-11T12:10:25.283" v="10376" actId="208"/>
          <ac:spMkLst>
            <pc:docMk/>
            <pc:sldMk cId="2455952374" sldId="1982"/>
            <ac:spMk id="135" creationId="{19C017BD-E5AE-4775-9217-A810017CD19D}"/>
          </ac:spMkLst>
        </pc:spChg>
        <pc:spChg chg="mod">
          <ac:chgData name="Sophie Bayer" userId="ede9276c-710b-4378-937b-bdc2eba6c543" providerId="ADAL" clId="{E3EDA246-60EA-465A-9C7B-AD452C69BB9D}" dt="2023-01-11T12:07:53.238" v="10334"/>
          <ac:spMkLst>
            <pc:docMk/>
            <pc:sldMk cId="2455952374" sldId="1982"/>
            <ac:spMk id="136" creationId="{75AB2ECC-3555-414D-A1F1-2D89295DEFDA}"/>
          </ac:spMkLst>
        </pc:spChg>
        <pc:spChg chg="mod">
          <ac:chgData name="Sophie Bayer" userId="ede9276c-710b-4378-937b-bdc2eba6c543" providerId="ADAL" clId="{E3EDA246-60EA-465A-9C7B-AD452C69BB9D}" dt="2023-01-11T12:07:53.238" v="10334"/>
          <ac:spMkLst>
            <pc:docMk/>
            <pc:sldMk cId="2455952374" sldId="1982"/>
            <ac:spMk id="137" creationId="{EC3B71B7-8AAD-4CA9-A180-1AC2545CA047}"/>
          </ac:spMkLst>
        </pc:spChg>
        <pc:spChg chg="del mod topLvl">
          <ac:chgData name="Sophie Bayer" userId="ede9276c-710b-4378-937b-bdc2eba6c543" providerId="ADAL" clId="{E3EDA246-60EA-465A-9C7B-AD452C69BB9D}" dt="2023-01-11T12:14:15.797" v="10498" actId="478"/>
          <ac:spMkLst>
            <pc:docMk/>
            <pc:sldMk cId="2455952374" sldId="1982"/>
            <ac:spMk id="139" creationId="{2F18429B-D9A8-43C6-BDDA-24FF1DE2E67F}"/>
          </ac:spMkLst>
        </pc:spChg>
        <pc:spChg chg="del mod topLvl">
          <ac:chgData name="Sophie Bayer" userId="ede9276c-710b-4378-937b-bdc2eba6c543" providerId="ADAL" clId="{E3EDA246-60EA-465A-9C7B-AD452C69BB9D}" dt="2023-01-11T12:09:46.493" v="10366" actId="478"/>
          <ac:spMkLst>
            <pc:docMk/>
            <pc:sldMk cId="2455952374" sldId="1982"/>
            <ac:spMk id="140" creationId="{37F64915-8B9B-49B3-AFFF-629E6441EB61}"/>
          </ac:spMkLst>
        </pc:spChg>
        <pc:spChg chg="del mod topLvl">
          <ac:chgData name="Sophie Bayer" userId="ede9276c-710b-4378-937b-bdc2eba6c543" providerId="ADAL" clId="{E3EDA246-60EA-465A-9C7B-AD452C69BB9D}" dt="2023-01-13T15:35:56.928" v="15624" actId="478"/>
          <ac:spMkLst>
            <pc:docMk/>
            <pc:sldMk cId="2455952374" sldId="1982"/>
            <ac:spMk id="142" creationId="{427AAB4E-10BB-4525-922E-077C42E2CA40}"/>
          </ac:spMkLst>
        </pc:spChg>
        <pc:spChg chg="del mod topLvl">
          <ac:chgData name="Sophie Bayer" userId="ede9276c-710b-4378-937b-bdc2eba6c543" providerId="ADAL" clId="{E3EDA246-60EA-465A-9C7B-AD452C69BB9D}" dt="2023-01-11T12:09:57.438" v="10370" actId="478"/>
          <ac:spMkLst>
            <pc:docMk/>
            <pc:sldMk cId="2455952374" sldId="1982"/>
            <ac:spMk id="143" creationId="{1944C250-C83F-41B2-88A3-22550FFB4B8F}"/>
          </ac:spMkLst>
        </pc:spChg>
        <pc:spChg chg="del mod topLvl">
          <ac:chgData name="Sophie Bayer" userId="ede9276c-710b-4378-937b-bdc2eba6c543" providerId="ADAL" clId="{E3EDA246-60EA-465A-9C7B-AD452C69BB9D}" dt="2023-01-11T12:19:52.213" v="10681" actId="478"/>
          <ac:spMkLst>
            <pc:docMk/>
            <pc:sldMk cId="2455952374" sldId="1982"/>
            <ac:spMk id="145" creationId="{BEE92837-A058-43AA-B71B-C71A5DF0F640}"/>
          </ac:spMkLst>
        </pc:spChg>
        <pc:spChg chg="del mod topLvl">
          <ac:chgData name="Sophie Bayer" userId="ede9276c-710b-4378-937b-bdc2eba6c543" providerId="ADAL" clId="{E3EDA246-60EA-465A-9C7B-AD452C69BB9D}" dt="2023-01-11T12:09:28.882" v="10357" actId="478"/>
          <ac:spMkLst>
            <pc:docMk/>
            <pc:sldMk cId="2455952374" sldId="1982"/>
            <ac:spMk id="146" creationId="{C7D9BF60-5D12-48AD-AA72-6F5E9FE7D7CB}"/>
          </ac:spMkLst>
        </pc:spChg>
        <pc:spChg chg="del mod topLvl">
          <ac:chgData name="Sophie Bayer" userId="ede9276c-710b-4378-937b-bdc2eba6c543" providerId="ADAL" clId="{E3EDA246-60EA-465A-9C7B-AD452C69BB9D}" dt="2023-01-11T12:18:43.809" v="10649" actId="478"/>
          <ac:spMkLst>
            <pc:docMk/>
            <pc:sldMk cId="2455952374" sldId="1982"/>
            <ac:spMk id="148" creationId="{0DE7FF84-5C99-40A7-86D1-2D3A3CB88A2A}"/>
          </ac:spMkLst>
        </pc:spChg>
        <pc:spChg chg="del mod topLvl">
          <ac:chgData name="Sophie Bayer" userId="ede9276c-710b-4378-937b-bdc2eba6c543" providerId="ADAL" clId="{E3EDA246-60EA-465A-9C7B-AD452C69BB9D}" dt="2023-01-11T12:09:39.045" v="10363" actId="478"/>
          <ac:spMkLst>
            <pc:docMk/>
            <pc:sldMk cId="2455952374" sldId="1982"/>
            <ac:spMk id="149" creationId="{69B923D7-55CF-4F57-8179-28C199AC1738}"/>
          </ac:spMkLst>
        </pc:spChg>
        <pc:spChg chg="add del mod">
          <ac:chgData name="Sophie Bayer" userId="ede9276c-710b-4378-937b-bdc2eba6c543" providerId="ADAL" clId="{E3EDA246-60EA-465A-9C7B-AD452C69BB9D}" dt="2023-01-11T12:09:32.601" v="10359" actId="478"/>
          <ac:spMkLst>
            <pc:docMk/>
            <pc:sldMk cId="2455952374" sldId="1982"/>
            <ac:spMk id="150" creationId="{3E8BF91C-C6B8-48C1-9531-096BCA52933D}"/>
          </ac:spMkLst>
        </pc:spChg>
        <pc:spChg chg="add del mod">
          <ac:chgData name="Sophie Bayer" userId="ede9276c-710b-4378-937b-bdc2eba6c543" providerId="ADAL" clId="{E3EDA246-60EA-465A-9C7B-AD452C69BB9D}" dt="2023-01-11T12:09:37.513" v="10362" actId="478"/>
          <ac:spMkLst>
            <pc:docMk/>
            <pc:sldMk cId="2455952374" sldId="1982"/>
            <ac:spMk id="151" creationId="{6E0ED80D-681D-4FF8-8B00-319A7F98B49B}"/>
          </ac:spMkLst>
        </pc:spChg>
        <pc:spChg chg="add del mod">
          <ac:chgData name="Sophie Bayer" userId="ede9276c-710b-4378-937b-bdc2eba6c543" providerId="ADAL" clId="{E3EDA246-60EA-465A-9C7B-AD452C69BB9D}" dt="2023-01-11T12:10:43.370" v="10379" actId="478"/>
          <ac:spMkLst>
            <pc:docMk/>
            <pc:sldMk cId="2455952374" sldId="1982"/>
            <ac:spMk id="152" creationId="{7489B92D-4EEF-4D13-9B93-1EC3C4A05090}"/>
          </ac:spMkLst>
        </pc:spChg>
        <pc:spChg chg="del mod topLvl">
          <ac:chgData name="Sophie Bayer" userId="ede9276c-710b-4378-937b-bdc2eba6c543" providerId="ADAL" clId="{E3EDA246-60EA-465A-9C7B-AD452C69BB9D}" dt="2023-01-13T15:35:56.928" v="15624" actId="478"/>
          <ac:spMkLst>
            <pc:docMk/>
            <pc:sldMk cId="2455952374" sldId="1982"/>
            <ac:spMk id="154" creationId="{CB6B5C26-45FF-4D2B-9F27-52CC1D02C060}"/>
          </ac:spMkLst>
        </pc:spChg>
        <pc:spChg chg="del mod topLvl">
          <ac:chgData name="Sophie Bayer" userId="ede9276c-710b-4378-937b-bdc2eba6c543" providerId="ADAL" clId="{E3EDA246-60EA-465A-9C7B-AD452C69BB9D}" dt="2023-01-11T12:09:48.370" v="10367" actId="478"/>
          <ac:spMkLst>
            <pc:docMk/>
            <pc:sldMk cId="2455952374" sldId="1982"/>
            <ac:spMk id="155" creationId="{47745BE5-C60A-4BE1-B69D-325EF253CF26}"/>
          </ac:spMkLst>
        </pc:spChg>
        <pc:spChg chg="add del mod topLvl">
          <ac:chgData name="Sophie Bayer" userId="ede9276c-710b-4378-937b-bdc2eba6c543" providerId="ADAL" clId="{E3EDA246-60EA-465A-9C7B-AD452C69BB9D}" dt="2023-01-13T15:35:56.928" v="15624" actId="478"/>
          <ac:spMkLst>
            <pc:docMk/>
            <pc:sldMk cId="2455952374" sldId="1982"/>
            <ac:spMk id="157" creationId="{260C7ED5-CF3A-4358-9466-F7DBC90A0166}"/>
          </ac:spMkLst>
        </pc:spChg>
        <pc:spChg chg="del mod topLvl">
          <ac:chgData name="Sophie Bayer" userId="ede9276c-710b-4378-937b-bdc2eba6c543" providerId="ADAL" clId="{E3EDA246-60EA-465A-9C7B-AD452C69BB9D}" dt="2023-01-11T12:09:26.085" v="10356" actId="478"/>
          <ac:spMkLst>
            <pc:docMk/>
            <pc:sldMk cId="2455952374" sldId="1982"/>
            <ac:spMk id="158" creationId="{58AB34B5-6DEB-4B3A-BEA7-007DFD25CC1C}"/>
          </ac:spMkLst>
        </pc:spChg>
        <pc:spChg chg="add del mod">
          <ac:chgData name="Sophie Bayer" userId="ede9276c-710b-4378-937b-bdc2eba6c543" providerId="ADAL" clId="{E3EDA246-60EA-465A-9C7B-AD452C69BB9D}" dt="2023-01-11T12:09:59.235" v="10371" actId="478"/>
          <ac:spMkLst>
            <pc:docMk/>
            <pc:sldMk cId="2455952374" sldId="1982"/>
            <ac:spMk id="159" creationId="{56BBFF88-1BD7-41D4-8235-83D12D81CF44}"/>
          </ac:spMkLst>
        </pc:spChg>
        <pc:spChg chg="add del mod">
          <ac:chgData name="Sophie Bayer" userId="ede9276c-710b-4378-937b-bdc2eba6c543" providerId="ADAL" clId="{E3EDA246-60EA-465A-9C7B-AD452C69BB9D}" dt="2023-01-11T12:09:33.872" v="10360" actId="478"/>
          <ac:spMkLst>
            <pc:docMk/>
            <pc:sldMk cId="2455952374" sldId="1982"/>
            <ac:spMk id="160" creationId="{980FAECD-300C-4089-9FF0-C76BA3785352}"/>
          </ac:spMkLst>
        </pc:spChg>
        <pc:spChg chg="add del mod">
          <ac:chgData name="Sophie Bayer" userId="ede9276c-710b-4378-937b-bdc2eba6c543" providerId="ADAL" clId="{E3EDA246-60EA-465A-9C7B-AD452C69BB9D}" dt="2023-01-11T12:10:02.621" v="10373" actId="478"/>
          <ac:spMkLst>
            <pc:docMk/>
            <pc:sldMk cId="2455952374" sldId="1982"/>
            <ac:spMk id="161" creationId="{55C1079F-3833-4DED-8709-ECA39AD294C1}"/>
          </ac:spMkLst>
        </pc:spChg>
        <pc:spChg chg="add del mod">
          <ac:chgData name="Sophie Bayer" userId="ede9276c-710b-4378-937b-bdc2eba6c543" providerId="ADAL" clId="{E3EDA246-60EA-465A-9C7B-AD452C69BB9D}" dt="2023-01-11T12:09:35.294" v="10361" actId="478"/>
          <ac:spMkLst>
            <pc:docMk/>
            <pc:sldMk cId="2455952374" sldId="1982"/>
            <ac:spMk id="162" creationId="{DB02E60C-4EB6-402F-ACD2-8003957C7FC9}"/>
          </ac:spMkLst>
        </pc:spChg>
        <pc:spChg chg="add del mod">
          <ac:chgData name="Sophie Bayer" userId="ede9276c-710b-4378-937b-bdc2eba6c543" providerId="ADAL" clId="{E3EDA246-60EA-465A-9C7B-AD452C69BB9D}" dt="2023-01-11T12:10:00.933" v="10372" actId="478"/>
          <ac:spMkLst>
            <pc:docMk/>
            <pc:sldMk cId="2455952374" sldId="1982"/>
            <ac:spMk id="163" creationId="{F67D999D-3F2E-4013-B54E-0B9F43123C13}"/>
          </ac:spMkLst>
        </pc:spChg>
        <pc:spChg chg="del mod topLvl">
          <ac:chgData name="Sophie Bayer" userId="ede9276c-710b-4378-937b-bdc2eba6c543" providerId="ADAL" clId="{E3EDA246-60EA-465A-9C7B-AD452C69BB9D}" dt="2023-01-11T12:19:10.713" v="10671" actId="478"/>
          <ac:spMkLst>
            <pc:docMk/>
            <pc:sldMk cId="2455952374" sldId="1982"/>
            <ac:spMk id="165" creationId="{88C8E909-AB0B-4030-8E32-D228E1A42E25}"/>
          </ac:spMkLst>
        </pc:spChg>
        <pc:spChg chg="del mod topLvl">
          <ac:chgData name="Sophie Bayer" userId="ede9276c-710b-4378-937b-bdc2eba6c543" providerId="ADAL" clId="{E3EDA246-60EA-465A-9C7B-AD452C69BB9D}" dt="2023-01-11T12:09:30.837" v="10358" actId="478"/>
          <ac:spMkLst>
            <pc:docMk/>
            <pc:sldMk cId="2455952374" sldId="1982"/>
            <ac:spMk id="166" creationId="{CEF90B50-7F26-4810-A996-66E31C07E0A5}"/>
          </ac:spMkLst>
        </pc:spChg>
        <pc:spChg chg="del mod topLvl">
          <ac:chgData name="Sophie Bayer" userId="ede9276c-710b-4378-937b-bdc2eba6c543" providerId="ADAL" clId="{E3EDA246-60EA-465A-9C7B-AD452C69BB9D}" dt="2023-01-11T12:23:12.535" v="10779" actId="478"/>
          <ac:spMkLst>
            <pc:docMk/>
            <pc:sldMk cId="2455952374" sldId="1982"/>
            <ac:spMk id="168" creationId="{984FBFE5-9AAD-4646-A556-CE58C31409ED}"/>
          </ac:spMkLst>
        </pc:spChg>
        <pc:spChg chg="del mod topLvl">
          <ac:chgData name="Sophie Bayer" userId="ede9276c-710b-4378-937b-bdc2eba6c543" providerId="ADAL" clId="{E3EDA246-60EA-465A-9C7B-AD452C69BB9D}" dt="2023-01-11T12:09:22.366" v="10354" actId="478"/>
          <ac:spMkLst>
            <pc:docMk/>
            <pc:sldMk cId="2455952374" sldId="1982"/>
            <ac:spMk id="169" creationId="{F82F60DC-1204-4492-8A47-0BAB8776ABA1}"/>
          </ac:spMkLst>
        </pc:spChg>
        <pc:spChg chg="add mod">
          <ac:chgData name="Sophie Bayer" userId="ede9276c-710b-4378-937b-bdc2eba6c543" providerId="ADAL" clId="{E3EDA246-60EA-465A-9C7B-AD452C69BB9D}" dt="2023-01-13T15:32:11.351" v="15444" actId="1076"/>
          <ac:spMkLst>
            <pc:docMk/>
            <pc:sldMk cId="2455952374" sldId="1982"/>
            <ac:spMk id="173" creationId="{75436E45-FC46-422A-9D69-8963386AF554}"/>
          </ac:spMkLst>
        </pc:spChg>
        <pc:spChg chg="add mod">
          <ac:chgData name="Sophie Bayer" userId="ede9276c-710b-4378-937b-bdc2eba6c543" providerId="ADAL" clId="{E3EDA246-60EA-465A-9C7B-AD452C69BB9D}" dt="2023-01-13T15:32:20.345" v="15445" actId="1076"/>
          <ac:spMkLst>
            <pc:docMk/>
            <pc:sldMk cId="2455952374" sldId="1982"/>
            <ac:spMk id="174" creationId="{147C1725-64F3-4376-8C3A-2AA709F791B5}"/>
          </ac:spMkLst>
        </pc:spChg>
        <pc:spChg chg="add del mod">
          <ac:chgData name="Sophie Bayer" userId="ede9276c-710b-4378-937b-bdc2eba6c543" providerId="ADAL" clId="{E3EDA246-60EA-465A-9C7B-AD452C69BB9D}" dt="2023-01-13T15:32:41.275" v="15450" actId="478"/>
          <ac:spMkLst>
            <pc:docMk/>
            <pc:sldMk cId="2455952374" sldId="1982"/>
            <ac:spMk id="175" creationId="{104B5F6A-FAF1-4592-9956-CA18F548E13F}"/>
          </ac:spMkLst>
        </pc:spChg>
        <pc:spChg chg="add del mod">
          <ac:chgData name="Sophie Bayer" userId="ede9276c-710b-4378-937b-bdc2eba6c543" providerId="ADAL" clId="{E3EDA246-60EA-465A-9C7B-AD452C69BB9D}" dt="2023-01-13T15:35:56.928" v="15624" actId="478"/>
          <ac:spMkLst>
            <pc:docMk/>
            <pc:sldMk cId="2455952374" sldId="1982"/>
            <ac:spMk id="176" creationId="{6BB648F7-3265-45EC-BCCF-76A4151E5284}"/>
          </ac:spMkLst>
        </pc:spChg>
        <pc:spChg chg="add del mod">
          <ac:chgData name="Sophie Bayer" userId="ede9276c-710b-4378-937b-bdc2eba6c543" providerId="ADAL" clId="{E3EDA246-60EA-465A-9C7B-AD452C69BB9D}" dt="2023-01-13T15:35:56.928" v="15624" actId="478"/>
          <ac:spMkLst>
            <pc:docMk/>
            <pc:sldMk cId="2455952374" sldId="1982"/>
            <ac:spMk id="177" creationId="{9A4F4CB2-E8B9-4885-8D9B-5DDEFEF27055}"/>
          </ac:spMkLst>
        </pc:spChg>
        <pc:spChg chg="add del mod">
          <ac:chgData name="Sophie Bayer" userId="ede9276c-710b-4378-937b-bdc2eba6c543" providerId="ADAL" clId="{E3EDA246-60EA-465A-9C7B-AD452C69BB9D}" dt="2023-01-13T15:35:56.928" v="15624" actId="478"/>
          <ac:spMkLst>
            <pc:docMk/>
            <pc:sldMk cId="2455952374" sldId="1982"/>
            <ac:spMk id="178" creationId="{7A0CA456-0953-49A4-AC1D-2789B3187419}"/>
          </ac:spMkLst>
        </pc:spChg>
        <pc:spChg chg="add del mod">
          <ac:chgData name="Sophie Bayer" userId="ede9276c-710b-4378-937b-bdc2eba6c543" providerId="ADAL" clId="{E3EDA246-60EA-465A-9C7B-AD452C69BB9D}" dt="2023-01-13T15:36:16.389" v="15628" actId="478"/>
          <ac:spMkLst>
            <pc:docMk/>
            <pc:sldMk cId="2455952374" sldId="1982"/>
            <ac:spMk id="182" creationId="{609B6912-8180-4BB2-8E71-BB83285EE27E}"/>
          </ac:spMkLst>
        </pc:spChg>
        <pc:spChg chg="add del mod">
          <ac:chgData name="Sophie Bayer" userId="ede9276c-710b-4378-937b-bdc2eba6c543" providerId="ADAL" clId="{E3EDA246-60EA-465A-9C7B-AD452C69BB9D}" dt="2023-01-13T15:35:56.928" v="15624" actId="478"/>
          <ac:spMkLst>
            <pc:docMk/>
            <pc:sldMk cId="2455952374" sldId="1982"/>
            <ac:spMk id="183" creationId="{4546331D-A252-4C43-8EC8-7DD493A38E72}"/>
          </ac:spMkLst>
        </pc:spChg>
        <pc:spChg chg="add del mod">
          <ac:chgData name="Sophie Bayer" userId="ede9276c-710b-4378-937b-bdc2eba6c543" providerId="ADAL" clId="{E3EDA246-60EA-465A-9C7B-AD452C69BB9D}" dt="2023-01-13T15:35:56.928" v="15624" actId="478"/>
          <ac:spMkLst>
            <pc:docMk/>
            <pc:sldMk cId="2455952374" sldId="1982"/>
            <ac:spMk id="184" creationId="{170DB38B-21CC-474D-8D8B-E86163FCEFA4}"/>
          </ac:spMkLst>
        </pc:spChg>
        <pc:spChg chg="add del mod">
          <ac:chgData name="Sophie Bayer" userId="ede9276c-710b-4378-937b-bdc2eba6c543" providerId="ADAL" clId="{E3EDA246-60EA-465A-9C7B-AD452C69BB9D}" dt="2023-01-13T15:35:56.928" v="15624" actId="478"/>
          <ac:spMkLst>
            <pc:docMk/>
            <pc:sldMk cId="2455952374" sldId="1982"/>
            <ac:spMk id="185" creationId="{AC6CE505-BA2A-4C33-A9D1-672F7423520B}"/>
          </ac:spMkLst>
        </pc:spChg>
        <pc:spChg chg="add del mod">
          <ac:chgData name="Sophie Bayer" userId="ede9276c-710b-4378-937b-bdc2eba6c543" providerId="ADAL" clId="{E3EDA246-60EA-465A-9C7B-AD452C69BB9D}" dt="2023-01-13T15:36:17.603" v="15629" actId="478"/>
          <ac:spMkLst>
            <pc:docMk/>
            <pc:sldMk cId="2455952374" sldId="1982"/>
            <ac:spMk id="186" creationId="{6D582674-29F3-4100-A406-548F06094D23}"/>
          </ac:spMkLst>
        </pc:spChg>
        <pc:spChg chg="add del mod">
          <ac:chgData name="Sophie Bayer" userId="ede9276c-710b-4378-937b-bdc2eba6c543" providerId="ADAL" clId="{E3EDA246-60EA-465A-9C7B-AD452C69BB9D}" dt="2023-01-13T15:35:56.928" v="15624" actId="478"/>
          <ac:spMkLst>
            <pc:docMk/>
            <pc:sldMk cId="2455952374" sldId="1982"/>
            <ac:spMk id="187" creationId="{7E8DC17E-6911-4077-BA0C-233F4ECD261E}"/>
          </ac:spMkLst>
        </pc:spChg>
        <pc:spChg chg="add del mod">
          <ac:chgData name="Sophie Bayer" userId="ede9276c-710b-4378-937b-bdc2eba6c543" providerId="ADAL" clId="{E3EDA246-60EA-465A-9C7B-AD452C69BB9D}" dt="2023-01-13T15:35:56.928" v="15624" actId="478"/>
          <ac:spMkLst>
            <pc:docMk/>
            <pc:sldMk cId="2455952374" sldId="1982"/>
            <ac:spMk id="188" creationId="{7AB75F5E-7ED7-4399-BA77-A929287A1F5D}"/>
          </ac:spMkLst>
        </pc:spChg>
        <pc:spChg chg="add del mod">
          <ac:chgData name="Sophie Bayer" userId="ede9276c-710b-4378-937b-bdc2eba6c543" providerId="ADAL" clId="{E3EDA246-60EA-465A-9C7B-AD452C69BB9D}" dt="2023-01-13T15:36:20.143" v="15630" actId="478"/>
          <ac:spMkLst>
            <pc:docMk/>
            <pc:sldMk cId="2455952374" sldId="1982"/>
            <ac:spMk id="189" creationId="{B2D628CE-8C0D-4ABD-9C02-BD2B19A89610}"/>
          </ac:spMkLst>
        </pc:spChg>
        <pc:spChg chg="add del mod">
          <ac:chgData name="Sophie Bayer" userId="ede9276c-710b-4378-937b-bdc2eba6c543" providerId="ADAL" clId="{E3EDA246-60EA-465A-9C7B-AD452C69BB9D}" dt="2023-01-13T15:35:56.928" v="15624" actId="478"/>
          <ac:spMkLst>
            <pc:docMk/>
            <pc:sldMk cId="2455952374" sldId="1982"/>
            <ac:spMk id="190" creationId="{A0D7FB85-36B3-4C85-AEEF-9085E2936884}"/>
          </ac:spMkLst>
        </pc:spChg>
        <pc:spChg chg="add del mod">
          <ac:chgData name="Sophie Bayer" userId="ede9276c-710b-4378-937b-bdc2eba6c543" providerId="ADAL" clId="{E3EDA246-60EA-465A-9C7B-AD452C69BB9D}" dt="2023-01-13T15:27:43.595" v="15323" actId="478"/>
          <ac:spMkLst>
            <pc:docMk/>
            <pc:sldMk cId="2455952374" sldId="1982"/>
            <ac:spMk id="191" creationId="{7962593B-6909-47F6-A86A-13ABDA60A236}"/>
          </ac:spMkLst>
        </pc:spChg>
        <pc:spChg chg="add del mod">
          <ac:chgData name="Sophie Bayer" userId="ede9276c-710b-4378-937b-bdc2eba6c543" providerId="ADAL" clId="{E3EDA246-60EA-465A-9C7B-AD452C69BB9D}" dt="2023-01-13T15:35:56.928" v="15624" actId="478"/>
          <ac:spMkLst>
            <pc:docMk/>
            <pc:sldMk cId="2455952374" sldId="1982"/>
            <ac:spMk id="193" creationId="{8785F98D-6BA8-43D1-8BFE-225B56338C52}"/>
          </ac:spMkLst>
        </pc:spChg>
        <pc:spChg chg="add del mod">
          <ac:chgData name="Sophie Bayer" userId="ede9276c-710b-4378-937b-bdc2eba6c543" providerId="ADAL" clId="{E3EDA246-60EA-465A-9C7B-AD452C69BB9D}" dt="2023-01-13T15:35:56.928" v="15624" actId="478"/>
          <ac:spMkLst>
            <pc:docMk/>
            <pc:sldMk cId="2455952374" sldId="1982"/>
            <ac:spMk id="194" creationId="{77C2318C-25E6-4010-B861-C3898001D7A1}"/>
          </ac:spMkLst>
        </pc:spChg>
        <pc:spChg chg="add del mod">
          <ac:chgData name="Sophie Bayer" userId="ede9276c-710b-4378-937b-bdc2eba6c543" providerId="ADAL" clId="{E3EDA246-60EA-465A-9C7B-AD452C69BB9D}" dt="2023-01-13T15:35:56.928" v="15624" actId="478"/>
          <ac:spMkLst>
            <pc:docMk/>
            <pc:sldMk cId="2455952374" sldId="1982"/>
            <ac:spMk id="195" creationId="{EC9F3D8C-72F6-4753-9AD5-C1ED7C1C514F}"/>
          </ac:spMkLst>
        </pc:spChg>
        <pc:spChg chg="add del mod">
          <ac:chgData name="Sophie Bayer" userId="ede9276c-710b-4378-937b-bdc2eba6c543" providerId="ADAL" clId="{E3EDA246-60EA-465A-9C7B-AD452C69BB9D}" dt="2023-01-13T15:35:56.928" v="15624" actId="478"/>
          <ac:spMkLst>
            <pc:docMk/>
            <pc:sldMk cId="2455952374" sldId="1982"/>
            <ac:spMk id="196" creationId="{05892A3F-DE65-4106-A31C-A67604D83501}"/>
          </ac:spMkLst>
        </pc:spChg>
        <pc:spChg chg="add del mod">
          <ac:chgData name="Sophie Bayer" userId="ede9276c-710b-4378-937b-bdc2eba6c543" providerId="ADAL" clId="{E3EDA246-60EA-465A-9C7B-AD452C69BB9D}" dt="2023-01-11T12:25:50.283" v="10809" actId="478"/>
          <ac:spMkLst>
            <pc:docMk/>
            <pc:sldMk cId="2455952374" sldId="1982"/>
            <ac:spMk id="197" creationId="{3442036F-4B63-4B64-8DDD-65163B2B1C89}"/>
          </ac:spMkLst>
        </pc:spChg>
        <pc:grpChg chg="add del mod">
          <ac:chgData name="Sophie Bayer" userId="ede9276c-710b-4378-937b-bdc2eba6c543" providerId="ADAL" clId="{E3EDA246-60EA-465A-9C7B-AD452C69BB9D}" dt="2023-01-11T12:07:42.794" v="10331" actId="478"/>
          <ac:grpSpMkLst>
            <pc:docMk/>
            <pc:sldMk cId="2455952374" sldId="1982"/>
            <ac:grpSpMk id="60" creationId="{554CEE16-D6E2-474A-9873-DF964845AF27}"/>
          </ac:grpSpMkLst>
        </pc:grpChg>
        <pc:grpChg chg="add del mod">
          <ac:chgData name="Sophie Bayer" userId="ede9276c-710b-4378-937b-bdc2eba6c543" providerId="ADAL" clId="{E3EDA246-60EA-465A-9C7B-AD452C69BB9D}" dt="2023-01-11T12:07:42.794" v="10331" actId="478"/>
          <ac:grpSpMkLst>
            <pc:docMk/>
            <pc:sldMk cId="2455952374" sldId="1982"/>
            <ac:grpSpMk id="64" creationId="{9C7EF71D-AAA5-4087-AE9C-51F54267A54F}"/>
          </ac:grpSpMkLst>
        </pc:grpChg>
        <pc:grpChg chg="add del mod">
          <ac:chgData name="Sophie Bayer" userId="ede9276c-710b-4378-937b-bdc2eba6c543" providerId="ADAL" clId="{E3EDA246-60EA-465A-9C7B-AD452C69BB9D}" dt="2023-01-11T12:07:42.794" v="10331" actId="478"/>
          <ac:grpSpMkLst>
            <pc:docMk/>
            <pc:sldMk cId="2455952374" sldId="1982"/>
            <ac:grpSpMk id="67" creationId="{BEE9B49C-C39A-4FF7-B8C7-16653F900CCF}"/>
          </ac:grpSpMkLst>
        </pc:grpChg>
        <pc:grpChg chg="add del mod">
          <ac:chgData name="Sophie Bayer" userId="ede9276c-710b-4378-937b-bdc2eba6c543" providerId="ADAL" clId="{E3EDA246-60EA-465A-9C7B-AD452C69BB9D}" dt="2023-01-11T12:07:42.794" v="10331" actId="478"/>
          <ac:grpSpMkLst>
            <pc:docMk/>
            <pc:sldMk cId="2455952374" sldId="1982"/>
            <ac:grpSpMk id="70" creationId="{3AFAD6FF-CBF0-4450-89FA-E683ECF43B95}"/>
          </ac:grpSpMkLst>
        </pc:grpChg>
        <pc:grpChg chg="add del mod">
          <ac:chgData name="Sophie Bayer" userId="ede9276c-710b-4378-937b-bdc2eba6c543" providerId="ADAL" clId="{E3EDA246-60EA-465A-9C7B-AD452C69BB9D}" dt="2023-01-11T12:07:42.794" v="10331" actId="478"/>
          <ac:grpSpMkLst>
            <pc:docMk/>
            <pc:sldMk cId="2455952374" sldId="1982"/>
            <ac:grpSpMk id="73" creationId="{C39CE122-B2D3-4DD0-96C9-75CCD22F8D68}"/>
          </ac:grpSpMkLst>
        </pc:grpChg>
        <pc:grpChg chg="add del mod">
          <ac:chgData name="Sophie Bayer" userId="ede9276c-710b-4378-937b-bdc2eba6c543" providerId="ADAL" clId="{E3EDA246-60EA-465A-9C7B-AD452C69BB9D}" dt="2023-01-11T12:07:42.794" v="10331" actId="478"/>
          <ac:grpSpMkLst>
            <pc:docMk/>
            <pc:sldMk cId="2455952374" sldId="1982"/>
            <ac:grpSpMk id="79" creationId="{195BBDBE-8F84-4EE5-9A7A-8BE75556533C}"/>
          </ac:grpSpMkLst>
        </pc:grpChg>
        <pc:grpChg chg="add del mod">
          <ac:chgData name="Sophie Bayer" userId="ede9276c-710b-4378-937b-bdc2eba6c543" providerId="ADAL" clId="{E3EDA246-60EA-465A-9C7B-AD452C69BB9D}" dt="2023-01-11T12:07:42.794" v="10331" actId="478"/>
          <ac:grpSpMkLst>
            <pc:docMk/>
            <pc:sldMk cId="2455952374" sldId="1982"/>
            <ac:grpSpMk id="82" creationId="{D4139B1C-6FF6-4252-AD9F-97619FA9780C}"/>
          </ac:grpSpMkLst>
        </pc:grpChg>
        <pc:grpChg chg="add del mod">
          <ac:chgData name="Sophie Bayer" userId="ede9276c-710b-4378-937b-bdc2eba6c543" providerId="ADAL" clId="{E3EDA246-60EA-465A-9C7B-AD452C69BB9D}" dt="2023-01-11T12:07:42.794" v="10331" actId="478"/>
          <ac:grpSpMkLst>
            <pc:docMk/>
            <pc:sldMk cId="2455952374" sldId="1982"/>
            <ac:grpSpMk id="90" creationId="{CE8DD12B-DC8E-4C57-8FA1-D70A76724F61}"/>
          </ac:grpSpMkLst>
        </pc:grpChg>
        <pc:grpChg chg="add del mod">
          <ac:chgData name="Sophie Bayer" userId="ede9276c-710b-4378-937b-bdc2eba6c543" providerId="ADAL" clId="{E3EDA246-60EA-465A-9C7B-AD452C69BB9D}" dt="2023-01-11T12:07:42.794" v="10331" actId="478"/>
          <ac:grpSpMkLst>
            <pc:docMk/>
            <pc:sldMk cId="2455952374" sldId="1982"/>
            <ac:grpSpMk id="93" creationId="{F6970294-765C-49D8-ABE5-790C28122773}"/>
          </ac:grpSpMkLst>
        </pc:grpChg>
        <pc:grpChg chg="add del mod">
          <ac:chgData name="Sophie Bayer" userId="ede9276c-710b-4378-937b-bdc2eba6c543" providerId="ADAL" clId="{E3EDA246-60EA-465A-9C7B-AD452C69BB9D}" dt="2023-01-11T12:07:53.221" v="10333"/>
          <ac:grpSpMkLst>
            <pc:docMk/>
            <pc:sldMk cId="2455952374" sldId="1982"/>
            <ac:grpSpMk id="97" creationId="{4CDA1A09-F713-4833-B8B7-830C1402D60E}"/>
          </ac:grpSpMkLst>
        </pc:grpChg>
        <pc:grpChg chg="add del mod">
          <ac:chgData name="Sophie Bayer" userId="ede9276c-710b-4378-937b-bdc2eba6c543" providerId="ADAL" clId="{E3EDA246-60EA-465A-9C7B-AD452C69BB9D}" dt="2023-01-11T12:07:53.221" v="10333"/>
          <ac:grpSpMkLst>
            <pc:docMk/>
            <pc:sldMk cId="2455952374" sldId="1982"/>
            <ac:grpSpMk id="101" creationId="{5B8CCACA-C687-49AA-B040-BA6AB5BC2EDF}"/>
          </ac:grpSpMkLst>
        </pc:grpChg>
        <pc:grpChg chg="add del mod">
          <ac:chgData name="Sophie Bayer" userId="ede9276c-710b-4378-937b-bdc2eba6c543" providerId="ADAL" clId="{E3EDA246-60EA-465A-9C7B-AD452C69BB9D}" dt="2023-01-11T12:07:53.221" v="10333"/>
          <ac:grpSpMkLst>
            <pc:docMk/>
            <pc:sldMk cId="2455952374" sldId="1982"/>
            <ac:grpSpMk id="104" creationId="{58D4C48D-6A94-426F-8580-9834F7D5789F}"/>
          </ac:grpSpMkLst>
        </pc:grpChg>
        <pc:grpChg chg="add del mod">
          <ac:chgData name="Sophie Bayer" userId="ede9276c-710b-4378-937b-bdc2eba6c543" providerId="ADAL" clId="{E3EDA246-60EA-465A-9C7B-AD452C69BB9D}" dt="2023-01-11T12:07:53.221" v="10333"/>
          <ac:grpSpMkLst>
            <pc:docMk/>
            <pc:sldMk cId="2455952374" sldId="1982"/>
            <ac:grpSpMk id="107" creationId="{CD0BEBC2-9D97-4EAB-AE42-187066173506}"/>
          </ac:grpSpMkLst>
        </pc:grpChg>
        <pc:grpChg chg="add del mod">
          <ac:chgData name="Sophie Bayer" userId="ede9276c-710b-4378-937b-bdc2eba6c543" providerId="ADAL" clId="{E3EDA246-60EA-465A-9C7B-AD452C69BB9D}" dt="2023-01-11T12:07:53.221" v="10333"/>
          <ac:grpSpMkLst>
            <pc:docMk/>
            <pc:sldMk cId="2455952374" sldId="1982"/>
            <ac:grpSpMk id="110" creationId="{A761172C-6A71-48A2-8F3A-CEFB84E5A997}"/>
          </ac:grpSpMkLst>
        </pc:grpChg>
        <pc:grpChg chg="add del mod">
          <ac:chgData name="Sophie Bayer" userId="ede9276c-710b-4378-937b-bdc2eba6c543" providerId="ADAL" clId="{E3EDA246-60EA-465A-9C7B-AD452C69BB9D}" dt="2023-01-11T12:07:53.221" v="10333"/>
          <ac:grpSpMkLst>
            <pc:docMk/>
            <pc:sldMk cId="2455952374" sldId="1982"/>
            <ac:grpSpMk id="116" creationId="{7B492CF2-AEF4-45DA-93E8-99E87EA484CE}"/>
          </ac:grpSpMkLst>
        </pc:grpChg>
        <pc:grpChg chg="add del mod">
          <ac:chgData name="Sophie Bayer" userId="ede9276c-710b-4378-937b-bdc2eba6c543" providerId="ADAL" clId="{E3EDA246-60EA-465A-9C7B-AD452C69BB9D}" dt="2023-01-11T12:07:53.221" v="10333"/>
          <ac:grpSpMkLst>
            <pc:docMk/>
            <pc:sldMk cId="2455952374" sldId="1982"/>
            <ac:grpSpMk id="119" creationId="{A74FE812-B919-478D-9AAA-543C8E3D5B8E}"/>
          </ac:grpSpMkLst>
        </pc:grpChg>
        <pc:grpChg chg="add del mod">
          <ac:chgData name="Sophie Bayer" userId="ede9276c-710b-4378-937b-bdc2eba6c543" providerId="ADAL" clId="{E3EDA246-60EA-465A-9C7B-AD452C69BB9D}" dt="2023-01-11T12:07:53.221" v="10333"/>
          <ac:grpSpMkLst>
            <pc:docMk/>
            <pc:sldMk cId="2455952374" sldId="1982"/>
            <ac:grpSpMk id="127" creationId="{7AAFD35B-648D-4BDC-8B0E-C3AE42279445}"/>
          </ac:grpSpMkLst>
        </pc:grpChg>
        <pc:grpChg chg="add del mod">
          <ac:chgData name="Sophie Bayer" userId="ede9276c-710b-4378-937b-bdc2eba6c543" providerId="ADAL" clId="{E3EDA246-60EA-465A-9C7B-AD452C69BB9D}" dt="2023-01-11T12:07:53.221" v="10333"/>
          <ac:grpSpMkLst>
            <pc:docMk/>
            <pc:sldMk cId="2455952374" sldId="1982"/>
            <ac:grpSpMk id="130" creationId="{21937EAA-A78B-432F-B7A5-89AE2C3947E4}"/>
          </ac:grpSpMkLst>
        </pc:grpChg>
        <pc:grpChg chg="add del mod">
          <ac:chgData name="Sophie Bayer" userId="ede9276c-710b-4378-937b-bdc2eba6c543" providerId="ADAL" clId="{E3EDA246-60EA-465A-9C7B-AD452C69BB9D}" dt="2023-01-13T15:36:14.459" v="15627" actId="478"/>
          <ac:grpSpMkLst>
            <pc:docMk/>
            <pc:sldMk cId="2455952374" sldId="1982"/>
            <ac:grpSpMk id="134" creationId="{F41424EC-BEAC-4D6D-94F5-C60F8F197863}"/>
          </ac:grpSpMkLst>
        </pc:grpChg>
        <pc:grpChg chg="add del mod">
          <ac:chgData name="Sophie Bayer" userId="ede9276c-710b-4378-937b-bdc2eba6c543" providerId="ADAL" clId="{E3EDA246-60EA-465A-9C7B-AD452C69BB9D}" dt="2023-01-11T12:09:46.493" v="10366" actId="478"/>
          <ac:grpSpMkLst>
            <pc:docMk/>
            <pc:sldMk cId="2455952374" sldId="1982"/>
            <ac:grpSpMk id="138" creationId="{236E1ACF-A6AE-409D-A661-F208FAB9ECD6}"/>
          </ac:grpSpMkLst>
        </pc:grpChg>
        <pc:grpChg chg="add del mod">
          <ac:chgData name="Sophie Bayer" userId="ede9276c-710b-4378-937b-bdc2eba6c543" providerId="ADAL" clId="{E3EDA246-60EA-465A-9C7B-AD452C69BB9D}" dt="2023-01-11T12:09:57.438" v="10370" actId="478"/>
          <ac:grpSpMkLst>
            <pc:docMk/>
            <pc:sldMk cId="2455952374" sldId="1982"/>
            <ac:grpSpMk id="141" creationId="{6CEC258E-79C6-4042-A15C-0E4DA53FD92D}"/>
          </ac:grpSpMkLst>
        </pc:grpChg>
        <pc:grpChg chg="add del mod">
          <ac:chgData name="Sophie Bayer" userId="ede9276c-710b-4378-937b-bdc2eba6c543" providerId="ADAL" clId="{E3EDA246-60EA-465A-9C7B-AD452C69BB9D}" dt="2023-01-11T12:09:28.882" v="10357" actId="478"/>
          <ac:grpSpMkLst>
            <pc:docMk/>
            <pc:sldMk cId="2455952374" sldId="1982"/>
            <ac:grpSpMk id="144" creationId="{FD96B846-453A-4285-A2E2-45D2820A2CEB}"/>
          </ac:grpSpMkLst>
        </pc:grpChg>
        <pc:grpChg chg="add del mod">
          <ac:chgData name="Sophie Bayer" userId="ede9276c-710b-4378-937b-bdc2eba6c543" providerId="ADAL" clId="{E3EDA246-60EA-465A-9C7B-AD452C69BB9D}" dt="2023-01-11T12:09:39.045" v="10363" actId="478"/>
          <ac:grpSpMkLst>
            <pc:docMk/>
            <pc:sldMk cId="2455952374" sldId="1982"/>
            <ac:grpSpMk id="147" creationId="{57EAFF93-546F-4C69-8342-BF5F6161830F}"/>
          </ac:grpSpMkLst>
        </pc:grpChg>
        <pc:grpChg chg="add del mod">
          <ac:chgData name="Sophie Bayer" userId="ede9276c-710b-4378-937b-bdc2eba6c543" providerId="ADAL" clId="{E3EDA246-60EA-465A-9C7B-AD452C69BB9D}" dt="2023-01-11T12:09:48.370" v="10367" actId="478"/>
          <ac:grpSpMkLst>
            <pc:docMk/>
            <pc:sldMk cId="2455952374" sldId="1982"/>
            <ac:grpSpMk id="153" creationId="{88D52A50-8E45-4ADE-85E8-2F621E5E272A}"/>
          </ac:grpSpMkLst>
        </pc:grpChg>
        <pc:grpChg chg="add del mod">
          <ac:chgData name="Sophie Bayer" userId="ede9276c-710b-4378-937b-bdc2eba6c543" providerId="ADAL" clId="{E3EDA246-60EA-465A-9C7B-AD452C69BB9D}" dt="2023-01-11T12:09:26.085" v="10356" actId="478"/>
          <ac:grpSpMkLst>
            <pc:docMk/>
            <pc:sldMk cId="2455952374" sldId="1982"/>
            <ac:grpSpMk id="156" creationId="{30449ED9-B2AA-4791-A454-A993C209459F}"/>
          </ac:grpSpMkLst>
        </pc:grpChg>
        <pc:grpChg chg="add del mod">
          <ac:chgData name="Sophie Bayer" userId="ede9276c-710b-4378-937b-bdc2eba6c543" providerId="ADAL" clId="{E3EDA246-60EA-465A-9C7B-AD452C69BB9D}" dt="2023-01-11T12:09:30.837" v="10358" actId="478"/>
          <ac:grpSpMkLst>
            <pc:docMk/>
            <pc:sldMk cId="2455952374" sldId="1982"/>
            <ac:grpSpMk id="164" creationId="{C4434D7F-C1A5-4D57-93C0-B42C86ED1600}"/>
          </ac:grpSpMkLst>
        </pc:grpChg>
        <pc:grpChg chg="add del mod">
          <ac:chgData name="Sophie Bayer" userId="ede9276c-710b-4378-937b-bdc2eba6c543" providerId="ADAL" clId="{E3EDA246-60EA-465A-9C7B-AD452C69BB9D}" dt="2023-01-11T12:09:22.366" v="10354" actId="478"/>
          <ac:grpSpMkLst>
            <pc:docMk/>
            <pc:sldMk cId="2455952374" sldId="1982"/>
            <ac:grpSpMk id="167" creationId="{799257D7-4055-4716-97A4-9822E137A983}"/>
          </ac:grpSpMkLst>
        </pc:grpChg>
        <pc:graphicFrameChg chg="add mod ord modVis replST">
          <ac:chgData name="Sophie Bayer" userId="ede9276c-710b-4378-937b-bdc2eba6c543" providerId="ADAL" clId="{E3EDA246-60EA-465A-9C7B-AD452C69BB9D}" dt="2023-01-11T11:52:24.800" v="10144"/>
          <ac:graphicFrameMkLst>
            <pc:docMk/>
            <pc:sldMk cId="2455952374" sldId="1982"/>
            <ac:graphicFrameMk id="5" creationId="{89209629-4037-4725-B7FD-E1ED27DECE23}"/>
          </ac:graphicFrameMkLst>
        </pc:graphicFrameChg>
        <pc:picChg chg="add mod">
          <ac:chgData name="Sophie Bayer" userId="ede9276c-710b-4378-937b-bdc2eba6c543" providerId="ADAL" clId="{E3EDA246-60EA-465A-9C7B-AD452C69BB9D}" dt="2023-01-13T15:31:19.756" v="15420" actId="1076"/>
          <ac:picMkLst>
            <pc:docMk/>
            <pc:sldMk cId="2455952374" sldId="1982"/>
            <ac:picMk id="4" creationId="{31CCCF25-7D36-48BD-BBFC-4362D8980826}"/>
          </ac:picMkLst>
        </pc:picChg>
        <pc:picChg chg="add del mod ord">
          <ac:chgData name="Sophie Bayer" userId="ede9276c-710b-4378-937b-bdc2eba6c543" providerId="ADAL" clId="{E3EDA246-60EA-465A-9C7B-AD452C69BB9D}" dt="2023-01-11T12:21:40.377" v="10696" actId="478"/>
          <ac:picMkLst>
            <pc:docMk/>
            <pc:sldMk cId="2455952374" sldId="1982"/>
            <ac:picMk id="8" creationId="{050961CC-1AB5-45C9-8413-27F088BBC588}"/>
          </ac:picMkLst>
        </pc:picChg>
        <pc:picChg chg="add del mod">
          <ac:chgData name="Sophie Bayer" userId="ede9276c-710b-4378-937b-bdc2eba6c543" providerId="ADAL" clId="{E3EDA246-60EA-465A-9C7B-AD452C69BB9D}" dt="2023-01-11T09:30:31.511" v="2845" actId="478"/>
          <ac:picMkLst>
            <pc:docMk/>
            <pc:sldMk cId="2455952374" sldId="1982"/>
            <ac:picMk id="15" creationId="{4AC30235-9F4C-49BA-8A52-6FF2A60429E1}"/>
          </ac:picMkLst>
        </pc:picChg>
        <pc:picChg chg="add mod ord">
          <ac:chgData name="Sophie Bayer" userId="ede9276c-710b-4378-937b-bdc2eba6c543" providerId="ADAL" clId="{E3EDA246-60EA-465A-9C7B-AD452C69BB9D}" dt="2023-01-13T15:31:19.756" v="15420" actId="1076"/>
          <ac:picMkLst>
            <pc:docMk/>
            <pc:sldMk cId="2455952374" sldId="1982"/>
            <ac:picMk id="18" creationId="{AC193279-C673-425D-BF01-1E49FA20B59D}"/>
          </ac:picMkLst>
        </pc:picChg>
        <pc:picChg chg="add del mod">
          <ac:chgData name="Sophie Bayer" userId="ede9276c-710b-4378-937b-bdc2eba6c543" providerId="ADAL" clId="{E3EDA246-60EA-465A-9C7B-AD452C69BB9D}" dt="2023-01-13T15:30:57.335" v="15416" actId="478"/>
          <ac:picMkLst>
            <pc:docMk/>
            <pc:sldMk cId="2455952374" sldId="1982"/>
            <ac:picMk id="47" creationId="{C4016991-A3D9-4FE1-99BE-FFB695E7CB4B}"/>
          </ac:picMkLst>
        </pc:picChg>
        <pc:picChg chg="add mod">
          <ac:chgData name="Sophie Bayer" userId="ede9276c-710b-4378-937b-bdc2eba6c543" providerId="ADAL" clId="{E3EDA246-60EA-465A-9C7B-AD452C69BB9D}" dt="2023-01-13T15:31:19.756" v="15420" actId="1076"/>
          <ac:picMkLst>
            <pc:docMk/>
            <pc:sldMk cId="2455952374" sldId="1982"/>
            <ac:picMk id="48" creationId="{CB500B05-3CA9-4E33-AACD-FD9BF1F6F076}"/>
          </ac:picMkLst>
        </pc:picChg>
        <pc:picChg chg="add mod">
          <ac:chgData name="Sophie Bayer" userId="ede9276c-710b-4378-937b-bdc2eba6c543" providerId="ADAL" clId="{E3EDA246-60EA-465A-9C7B-AD452C69BB9D}" dt="2023-01-13T15:31:19.756" v="15420" actId="1076"/>
          <ac:picMkLst>
            <pc:docMk/>
            <pc:sldMk cId="2455952374" sldId="1982"/>
            <ac:picMk id="49" creationId="{F661F3B2-DD4B-4B84-A31C-5F7E664F119C}"/>
          </ac:picMkLst>
        </pc:picChg>
        <pc:cxnChg chg="add mod">
          <ac:chgData name="Sophie Bayer" userId="ede9276c-710b-4378-937b-bdc2eba6c543" providerId="ADAL" clId="{E3EDA246-60EA-465A-9C7B-AD452C69BB9D}" dt="2023-01-13T15:50:30.830" v="15642" actId="14100"/>
          <ac:cxnSpMkLst>
            <pc:docMk/>
            <pc:sldMk cId="2455952374" sldId="1982"/>
            <ac:cxnSpMk id="46" creationId="{44576D5D-9C7D-4D9B-99AE-2C7AD7E0D69D}"/>
          </ac:cxnSpMkLst>
        </pc:cxnChg>
        <pc:cxnChg chg="add mod">
          <ac:chgData name="Sophie Bayer" userId="ede9276c-710b-4378-937b-bdc2eba6c543" providerId="ADAL" clId="{E3EDA246-60EA-465A-9C7B-AD452C69BB9D}" dt="2023-01-13T15:50:33.544" v="15643" actId="14100"/>
          <ac:cxnSpMkLst>
            <pc:docMk/>
            <pc:sldMk cId="2455952374" sldId="1982"/>
            <ac:cxnSpMk id="171" creationId="{66EEAD2C-87A2-4211-9A9A-7C9CC6D012BF}"/>
          </ac:cxnSpMkLst>
        </pc:cxnChg>
        <pc:cxnChg chg="add del mod">
          <ac:chgData name="Sophie Bayer" userId="ede9276c-710b-4378-937b-bdc2eba6c543" providerId="ADAL" clId="{E3EDA246-60EA-465A-9C7B-AD452C69BB9D}" dt="2023-01-13T15:35:56.928" v="15624" actId="478"/>
          <ac:cxnSpMkLst>
            <pc:docMk/>
            <pc:sldMk cId="2455952374" sldId="1982"/>
            <ac:cxnSpMk id="180" creationId="{FE9FD181-26D7-4FBD-99B8-3B8B8760D1E5}"/>
          </ac:cxnSpMkLst>
        </pc:cxnChg>
      </pc:sldChg>
      <pc:sldChg chg="addSp delSp modSp new add mod delCm">
        <pc:chgData name="Sophie Bayer" userId="ede9276c-710b-4378-937b-bdc2eba6c543" providerId="ADAL" clId="{E3EDA246-60EA-465A-9C7B-AD452C69BB9D}" dt="2023-01-13T14:47:32.221" v="13009" actId="1076"/>
        <pc:sldMkLst>
          <pc:docMk/>
          <pc:sldMk cId="3446406459" sldId="1983"/>
        </pc:sldMkLst>
        <pc:spChg chg="del mod">
          <ac:chgData name="Sophie Bayer" userId="ede9276c-710b-4378-937b-bdc2eba6c543" providerId="ADAL" clId="{E3EDA246-60EA-465A-9C7B-AD452C69BB9D}" dt="2023-01-11T10:09:53.975" v="5093" actId="478"/>
          <ac:spMkLst>
            <pc:docMk/>
            <pc:sldMk cId="3446406459" sldId="1983"/>
            <ac:spMk id="2" creationId="{BD3D4AD4-EDF6-4D50-ABC0-715095FBB340}"/>
          </ac:spMkLst>
        </pc:spChg>
        <pc:spChg chg="del mod">
          <ac:chgData name="Sophie Bayer" userId="ede9276c-710b-4378-937b-bdc2eba6c543" providerId="ADAL" clId="{E3EDA246-60EA-465A-9C7B-AD452C69BB9D}" dt="2023-01-11T10:02:57.021" v="5042" actId="478"/>
          <ac:spMkLst>
            <pc:docMk/>
            <pc:sldMk cId="3446406459" sldId="1983"/>
            <ac:spMk id="3" creationId="{343039C4-E53A-417C-870E-BF1CD834B848}"/>
          </ac:spMkLst>
        </pc:spChg>
        <pc:spChg chg="add del mod modVis">
          <ac:chgData name="Sophie Bayer" userId="ede9276c-710b-4378-937b-bdc2eba6c543" providerId="ADAL" clId="{E3EDA246-60EA-465A-9C7B-AD452C69BB9D}" dt="2023-01-11T08:44:50.882" v="959"/>
          <ac:spMkLst>
            <pc:docMk/>
            <pc:sldMk cId="3446406459" sldId="1983"/>
            <ac:spMk id="4" creationId="{4EB8B018-9992-49C9-A53C-E4D80BBE641F}"/>
          </ac:spMkLst>
        </pc:spChg>
        <pc:spChg chg="add del mod modVis">
          <ac:chgData name="Sophie Bayer" userId="ede9276c-710b-4378-937b-bdc2eba6c543" providerId="ADAL" clId="{E3EDA246-60EA-465A-9C7B-AD452C69BB9D}" dt="2023-01-11T08:44:52.557" v="1025"/>
          <ac:spMkLst>
            <pc:docMk/>
            <pc:sldMk cId="3446406459" sldId="1983"/>
            <ac:spMk id="6" creationId="{704D5EE1-4010-41FB-9E1D-B22DE3930740}"/>
          </ac:spMkLst>
        </pc:spChg>
        <pc:spChg chg="add del mod">
          <ac:chgData name="Sophie Bayer" userId="ede9276c-710b-4378-937b-bdc2eba6c543" providerId="ADAL" clId="{E3EDA246-60EA-465A-9C7B-AD452C69BB9D}" dt="2023-01-11T10:04:24.481" v="5083" actId="478"/>
          <ac:spMkLst>
            <pc:docMk/>
            <pc:sldMk cId="3446406459" sldId="1983"/>
            <ac:spMk id="7" creationId="{4F51FC94-F189-433F-AD25-5F78E224BFEB}"/>
          </ac:spMkLst>
        </pc:spChg>
        <pc:spChg chg="add mod">
          <ac:chgData name="Sophie Bayer" userId="ede9276c-710b-4378-937b-bdc2eba6c543" providerId="ADAL" clId="{E3EDA246-60EA-465A-9C7B-AD452C69BB9D}" dt="2023-01-11T10:03:51.416" v="5075" actId="1076"/>
          <ac:spMkLst>
            <pc:docMk/>
            <pc:sldMk cId="3446406459" sldId="1983"/>
            <ac:spMk id="8" creationId="{90AEFAD8-26C2-4357-8200-C7836A31699B}"/>
          </ac:spMkLst>
        </pc:spChg>
        <pc:spChg chg="add mod">
          <ac:chgData name="Sophie Bayer" userId="ede9276c-710b-4378-937b-bdc2eba6c543" providerId="ADAL" clId="{E3EDA246-60EA-465A-9C7B-AD452C69BB9D}" dt="2023-01-11T10:04:28.562" v="5084" actId="14100"/>
          <ac:spMkLst>
            <pc:docMk/>
            <pc:sldMk cId="3446406459" sldId="1983"/>
            <ac:spMk id="9" creationId="{D8F211BF-30A9-4208-9440-7305E183DD2D}"/>
          </ac:spMkLst>
        </pc:spChg>
        <pc:spChg chg="add del mod">
          <ac:chgData name="Sophie Bayer" userId="ede9276c-710b-4378-937b-bdc2eba6c543" providerId="ADAL" clId="{E3EDA246-60EA-465A-9C7B-AD452C69BB9D}" dt="2023-01-11T10:03:41.891" v="5073" actId="478"/>
          <ac:spMkLst>
            <pc:docMk/>
            <pc:sldMk cId="3446406459" sldId="1983"/>
            <ac:spMk id="10" creationId="{89B9CA5F-477E-41CB-903E-A9EF522D4ED3}"/>
          </ac:spMkLst>
        </pc:spChg>
        <pc:spChg chg="add mod">
          <ac:chgData name="Sophie Bayer" userId="ede9276c-710b-4378-937b-bdc2eba6c543" providerId="ADAL" clId="{E3EDA246-60EA-465A-9C7B-AD452C69BB9D}" dt="2023-01-13T14:47:29.476" v="13008" actId="1076"/>
          <ac:spMkLst>
            <pc:docMk/>
            <pc:sldMk cId="3446406459" sldId="1983"/>
            <ac:spMk id="11" creationId="{10A44325-23D7-46CD-BA06-0FCA7A3B6297}"/>
          </ac:spMkLst>
        </pc:spChg>
        <pc:spChg chg="add del mod modVis">
          <ac:chgData name="Sophie Bayer" userId="ede9276c-710b-4378-937b-bdc2eba6c543" providerId="ADAL" clId="{E3EDA246-60EA-465A-9C7B-AD452C69BB9D}" dt="2023-01-11T10:02:53.629" v="5039"/>
          <ac:spMkLst>
            <pc:docMk/>
            <pc:sldMk cId="3446406459" sldId="1983"/>
            <ac:spMk id="13" creationId="{C7295BAD-F77B-45FA-B5C3-B896DE08D3F6}"/>
          </ac:spMkLst>
        </pc:spChg>
        <pc:spChg chg="add mod">
          <ac:chgData name="Sophie Bayer" userId="ede9276c-710b-4378-937b-bdc2eba6c543" providerId="ADAL" clId="{E3EDA246-60EA-465A-9C7B-AD452C69BB9D}" dt="2023-01-11T10:04:19.167" v="5082" actId="1076"/>
          <ac:spMkLst>
            <pc:docMk/>
            <pc:sldMk cId="3446406459" sldId="1983"/>
            <ac:spMk id="14" creationId="{335D332F-DF4D-40EF-9F89-8D085A289F99}"/>
          </ac:spMkLst>
        </pc:spChg>
        <pc:spChg chg="add mod">
          <ac:chgData name="Sophie Bayer" userId="ede9276c-710b-4378-937b-bdc2eba6c543" providerId="ADAL" clId="{E3EDA246-60EA-465A-9C7B-AD452C69BB9D}" dt="2023-01-11T10:04:03.466" v="5078" actId="207"/>
          <ac:spMkLst>
            <pc:docMk/>
            <pc:sldMk cId="3446406459" sldId="1983"/>
            <ac:spMk id="15" creationId="{352D8E8C-91A1-4D3F-B8A4-B963D3B7833D}"/>
          </ac:spMkLst>
        </pc:spChg>
        <pc:spChg chg="add mod">
          <ac:chgData name="Sophie Bayer" userId="ede9276c-710b-4378-937b-bdc2eba6c543" providerId="ADAL" clId="{E3EDA246-60EA-465A-9C7B-AD452C69BB9D}" dt="2023-01-11T10:10:02.661" v="5102" actId="208"/>
          <ac:spMkLst>
            <pc:docMk/>
            <pc:sldMk cId="3446406459" sldId="1983"/>
            <ac:spMk id="18" creationId="{CE39AA97-4D19-424A-B2C7-FF4C20C02189}"/>
          </ac:spMkLst>
        </pc:spChg>
        <pc:spChg chg="add mod">
          <ac:chgData name="Sophie Bayer" userId="ede9276c-710b-4378-937b-bdc2eba6c543" providerId="ADAL" clId="{E3EDA246-60EA-465A-9C7B-AD452C69BB9D}" dt="2023-01-11T10:10:04.736" v="5103" actId="208"/>
          <ac:spMkLst>
            <pc:docMk/>
            <pc:sldMk cId="3446406459" sldId="1983"/>
            <ac:spMk id="19" creationId="{810ACAF7-694B-47CA-AE1A-F1D1D2FEA95A}"/>
          </ac:spMkLst>
        </pc:spChg>
        <pc:spChg chg="add mod">
          <ac:chgData name="Sophie Bayer" userId="ede9276c-710b-4378-937b-bdc2eba6c543" providerId="ADAL" clId="{E3EDA246-60EA-465A-9C7B-AD452C69BB9D}" dt="2023-01-11T10:12:04.738" v="5313" actId="20577"/>
          <ac:spMkLst>
            <pc:docMk/>
            <pc:sldMk cId="3446406459" sldId="1983"/>
            <ac:spMk id="20" creationId="{1923FD27-E9DC-40D5-A4B1-EE2E259978AF}"/>
          </ac:spMkLst>
        </pc:spChg>
        <pc:spChg chg="add mod">
          <ac:chgData name="Sophie Bayer" userId="ede9276c-710b-4378-937b-bdc2eba6c543" providerId="ADAL" clId="{E3EDA246-60EA-465A-9C7B-AD452C69BB9D}" dt="2023-01-13T14:47:21.677" v="13006" actId="20577"/>
          <ac:spMkLst>
            <pc:docMk/>
            <pc:sldMk cId="3446406459" sldId="1983"/>
            <ac:spMk id="21" creationId="{E7E73127-719C-481B-B67B-CCA16425E42B}"/>
          </ac:spMkLst>
        </pc:spChg>
        <pc:spChg chg="add del mod">
          <ac:chgData name="Sophie Bayer" userId="ede9276c-710b-4378-937b-bdc2eba6c543" providerId="ADAL" clId="{E3EDA246-60EA-465A-9C7B-AD452C69BB9D}" dt="2023-01-11T10:09:56.280" v="5097" actId="478"/>
          <ac:spMkLst>
            <pc:docMk/>
            <pc:sldMk cId="3446406459" sldId="1983"/>
            <ac:spMk id="23" creationId="{BEEFD603-DB61-4618-BCC0-3919F1A626C7}"/>
          </ac:spMkLst>
        </pc:spChg>
        <pc:spChg chg="add del mod">
          <ac:chgData name="Sophie Bayer" userId="ede9276c-710b-4378-937b-bdc2eba6c543" providerId="ADAL" clId="{E3EDA246-60EA-465A-9C7B-AD452C69BB9D}" dt="2023-01-11T10:15:13.341" v="5495" actId="478"/>
          <ac:spMkLst>
            <pc:docMk/>
            <pc:sldMk cId="3446406459" sldId="1983"/>
            <ac:spMk id="24" creationId="{F28046AB-58C6-4281-94D1-4945068A9CA7}"/>
          </ac:spMkLst>
        </pc:spChg>
        <pc:spChg chg="add del mod">
          <ac:chgData name="Sophie Bayer" userId="ede9276c-710b-4378-937b-bdc2eba6c543" providerId="ADAL" clId="{E3EDA246-60EA-465A-9C7B-AD452C69BB9D}" dt="2023-01-11T10:15:12.606" v="5494" actId="478"/>
          <ac:spMkLst>
            <pc:docMk/>
            <pc:sldMk cId="3446406459" sldId="1983"/>
            <ac:spMk id="25" creationId="{015C2CD7-44B2-4E8C-9AA4-6F6F91AFF4E1}"/>
          </ac:spMkLst>
        </pc:spChg>
        <pc:spChg chg="add del mod">
          <ac:chgData name="Sophie Bayer" userId="ede9276c-710b-4378-937b-bdc2eba6c543" providerId="ADAL" clId="{E3EDA246-60EA-465A-9C7B-AD452C69BB9D}" dt="2023-01-11T10:22:11.788" v="5902" actId="478"/>
          <ac:spMkLst>
            <pc:docMk/>
            <pc:sldMk cId="3446406459" sldId="1983"/>
            <ac:spMk id="27" creationId="{D9B5AB3A-3B72-4538-A603-79E705722653}"/>
          </ac:spMkLst>
        </pc:spChg>
        <pc:graphicFrameChg chg="add mod ord modVis replST">
          <ac:chgData name="Sophie Bayer" userId="ede9276c-710b-4378-937b-bdc2eba6c543" providerId="ADAL" clId="{E3EDA246-60EA-465A-9C7B-AD452C69BB9D}" dt="2023-01-11T10:09:56.819" v="5100"/>
          <ac:graphicFrameMkLst>
            <pc:docMk/>
            <pc:sldMk cId="3446406459" sldId="1983"/>
            <ac:graphicFrameMk id="5" creationId="{ABBF6E3B-7DD0-4692-9F53-350096E175E4}"/>
          </ac:graphicFrameMkLst>
        </pc:graphicFrameChg>
        <pc:picChg chg="add del mod">
          <ac:chgData name="Sophie Bayer" userId="ede9276c-710b-4378-937b-bdc2eba6c543" providerId="ADAL" clId="{E3EDA246-60EA-465A-9C7B-AD452C69BB9D}" dt="2023-01-11T10:08:41.743" v="5088" actId="478"/>
          <ac:picMkLst>
            <pc:docMk/>
            <pc:sldMk cId="3446406459" sldId="1983"/>
            <ac:picMk id="12" creationId="{E40FB25E-D037-4B44-8489-4353E0DDB42E}"/>
          </ac:picMkLst>
        </pc:picChg>
        <pc:picChg chg="add mod">
          <ac:chgData name="Sophie Bayer" userId="ede9276c-710b-4378-937b-bdc2eba6c543" providerId="ADAL" clId="{E3EDA246-60EA-465A-9C7B-AD452C69BB9D}" dt="2023-01-13T14:47:32.221" v="13009" actId="1076"/>
          <ac:picMkLst>
            <pc:docMk/>
            <pc:sldMk cId="3446406459" sldId="1983"/>
            <ac:picMk id="17" creationId="{104E16DC-DE10-474A-951D-EBF804D4C218}"/>
          </ac:picMkLst>
        </pc:picChg>
      </pc:sldChg>
      <pc:sldChg chg="addSp delSp modSp new add mod">
        <pc:chgData name="Sophie Bayer" userId="ede9276c-710b-4378-937b-bdc2eba6c543" providerId="ADAL" clId="{E3EDA246-60EA-465A-9C7B-AD452C69BB9D}" dt="2023-01-11T12:41:07.181" v="12194" actId="1076"/>
        <pc:sldMkLst>
          <pc:docMk/>
          <pc:sldMk cId="3441729892" sldId="1984"/>
        </pc:sldMkLst>
        <pc:spChg chg="del mod">
          <ac:chgData name="Sophie Bayer" userId="ede9276c-710b-4378-937b-bdc2eba6c543" providerId="ADAL" clId="{E3EDA246-60EA-465A-9C7B-AD452C69BB9D}" dt="2023-01-11T12:33:21.302" v="11345" actId="478"/>
          <ac:spMkLst>
            <pc:docMk/>
            <pc:sldMk cId="3441729892" sldId="1984"/>
            <ac:spMk id="2" creationId="{89609013-4B9D-4DE3-8252-31669581589D}"/>
          </ac:spMkLst>
        </pc:spChg>
        <pc:spChg chg="del">
          <ac:chgData name="Sophie Bayer" userId="ede9276c-710b-4378-937b-bdc2eba6c543" providerId="ADAL" clId="{E3EDA246-60EA-465A-9C7B-AD452C69BB9D}" dt="2023-01-11T12:27:17.665" v="10861" actId="478"/>
          <ac:spMkLst>
            <pc:docMk/>
            <pc:sldMk cId="3441729892" sldId="1984"/>
            <ac:spMk id="3" creationId="{DF791BB2-995F-45A1-A46B-5948B1A734E6}"/>
          </ac:spMkLst>
        </pc:spChg>
        <pc:spChg chg="add del mod modVis">
          <ac:chgData name="Sophie Bayer" userId="ede9276c-710b-4378-937b-bdc2eba6c543" providerId="ADAL" clId="{E3EDA246-60EA-465A-9C7B-AD452C69BB9D}" dt="2023-01-11T08:46:06.273" v="1284"/>
          <ac:spMkLst>
            <pc:docMk/>
            <pc:sldMk cId="3441729892" sldId="1984"/>
            <ac:spMk id="5" creationId="{7C12651C-312D-4245-BAFB-666A7B9F73B8}"/>
          </ac:spMkLst>
        </pc:spChg>
        <pc:spChg chg="add del mod modVis">
          <ac:chgData name="Sophie Bayer" userId="ede9276c-710b-4378-937b-bdc2eba6c543" providerId="ADAL" clId="{E3EDA246-60EA-465A-9C7B-AD452C69BB9D}" dt="2023-01-11T08:46:15.255" v="1328"/>
          <ac:spMkLst>
            <pc:docMk/>
            <pc:sldMk cId="3441729892" sldId="1984"/>
            <ac:spMk id="6" creationId="{EB71DB43-B10F-47A2-A813-35944B8A02D4}"/>
          </ac:spMkLst>
        </pc:spChg>
        <pc:spChg chg="add del mod">
          <ac:chgData name="Sophie Bayer" userId="ede9276c-710b-4378-937b-bdc2eba6c543" providerId="ADAL" clId="{E3EDA246-60EA-465A-9C7B-AD452C69BB9D}" dt="2023-01-11T12:39:10.582" v="12075" actId="478"/>
          <ac:spMkLst>
            <pc:docMk/>
            <pc:sldMk cId="3441729892" sldId="1984"/>
            <ac:spMk id="7" creationId="{1F72ABD5-C6F7-4D6B-B88B-3BA471235F19}"/>
          </ac:spMkLst>
        </pc:spChg>
        <pc:spChg chg="add del mod modVis">
          <ac:chgData name="Sophie Bayer" userId="ede9276c-710b-4378-937b-bdc2eba6c543" providerId="ADAL" clId="{E3EDA246-60EA-465A-9C7B-AD452C69BB9D}" dt="2023-01-11T12:27:17.023" v="10858"/>
          <ac:spMkLst>
            <pc:docMk/>
            <pc:sldMk cId="3441729892" sldId="1984"/>
            <ac:spMk id="8" creationId="{D2A961CD-24D4-418D-938C-B5E6CC68DF34}"/>
          </ac:spMkLst>
        </pc:spChg>
        <pc:spChg chg="add mod">
          <ac:chgData name="Sophie Bayer" userId="ede9276c-710b-4378-937b-bdc2eba6c543" providerId="ADAL" clId="{E3EDA246-60EA-465A-9C7B-AD452C69BB9D}" dt="2023-01-11T12:31:57.773" v="11273" actId="14100"/>
          <ac:spMkLst>
            <pc:docMk/>
            <pc:sldMk cId="3441729892" sldId="1984"/>
            <ac:spMk id="9" creationId="{0925DE32-781D-4EBA-80CF-DAC45B0811BF}"/>
          </ac:spMkLst>
        </pc:spChg>
        <pc:spChg chg="add mod">
          <ac:chgData name="Sophie Bayer" userId="ede9276c-710b-4378-937b-bdc2eba6c543" providerId="ADAL" clId="{E3EDA246-60EA-465A-9C7B-AD452C69BB9D}" dt="2023-01-11T12:32:03.523" v="11274" actId="207"/>
          <ac:spMkLst>
            <pc:docMk/>
            <pc:sldMk cId="3441729892" sldId="1984"/>
            <ac:spMk id="10" creationId="{E4303472-D4C8-453D-8ED7-7F327BB3014C}"/>
          </ac:spMkLst>
        </pc:spChg>
        <pc:spChg chg="add mod">
          <ac:chgData name="Sophie Bayer" userId="ede9276c-710b-4378-937b-bdc2eba6c543" providerId="ADAL" clId="{E3EDA246-60EA-465A-9C7B-AD452C69BB9D}" dt="2023-01-11T12:31:57.773" v="11273" actId="14100"/>
          <ac:spMkLst>
            <pc:docMk/>
            <pc:sldMk cId="3441729892" sldId="1984"/>
            <ac:spMk id="11" creationId="{04DE7178-295E-4CF7-B6E8-11E8E8FC43B0}"/>
          </ac:spMkLst>
        </pc:spChg>
        <pc:spChg chg="add mod">
          <ac:chgData name="Sophie Bayer" userId="ede9276c-710b-4378-937b-bdc2eba6c543" providerId="ADAL" clId="{E3EDA246-60EA-465A-9C7B-AD452C69BB9D}" dt="2023-01-11T12:39:20.836" v="12077" actId="1076"/>
          <ac:spMkLst>
            <pc:docMk/>
            <pc:sldMk cId="3441729892" sldId="1984"/>
            <ac:spMk id="12" creationId="{95D71F0E-3B40-4B0C-B6BA-9BA692EB3253}"/>
          </ac:spMkLst>
        </pc:spChg>
        <pc:spChg chg="add mod">
          <ac:chgData name="Sophie Bayer" userId="ede9276c-710b-4378-937b-bdc2eba6c543" providerId="ADAL" clId="{E3EDA246-60EA-465A-9C7B-AD452C69BB9D}" dt="2023-01-11T12:41:07.181" v="12194" actId="1076"/>
          <ac:spMkLst>
            <pc:docMk/>
            <pc:sldMk cId="3441729892" sldId="1984"/>
            <ac:spMk id="13" creationId="{6D457B4F-2914-4833-84A1-5A5D2F84CA7D}"/>
          </ac:spMkLst>
        </pc:spChg>
        <pc:spChg chg="add mod">
          <ac:chgData name="Sophie Bayer" userId="ede9276c-710b-4378-937b-bdc2eba6c543" providerId="ADAL" clId="{E3EDA246-60EA-465A-9C7B-AD452C69BB9D}" dt="2023-01-11T12:39:20.836" v="12077" actId="1076"/>
          <ac:spMkLst>
            <pc:docMk/>
            <pc:sldMk cId="3441729892" sldId="1984"/>
            <ac:spMk id="14" creationId="{8A84B69B-B9F9-4F80-8651-F050BAF5CFBC}"/>
          </ac:spMkLst>
        </pc:spChg>
        <pc:spChg chg="add mod">
          <ac:chgData name="Sophie Bayer" userId="ede9276c-710b-4378-937b-bdc2eba6c543" providerId="ADAL" clId="{E3EDA246-60EA-465A-9C7B-AD452C69BB9D}" dt="2023-01-11T12:41:03.344" v="12193" actId="20577"/>
          <ac:spMkLst>
            <pc:docMk/>
            <pc:sldMk cId="3441729892" sldId="1984"/>
            <ac:spMk id="15" creationId="{95BED6D4-B599-483B-817D-87AD7138B9D8}"/>
          </ac:spMkLst>
        </pc:spChg>
        <pc:spChg chg="add del mod">
          <ac:chgData name="Sophie Bayer" userId="ede9276c-710b-4378-937b-bdc2eba6c543" providerId="ADAL" clId="{E3EDA246-60EA-465A-9C7B-AD452C69BB9D}" dt="2023-01-11T12:33:30.895" v="11349" actId="478"/>
          <ac:spMkLst>
            <pc:docMk/>
            <pc:sldMk cId="3441729892" sldId="1984"/>
            <ac:spMk id="17" creationId="{0D67BEFA-EB3F-481A-AB21-E5072719C5B0}"/>
          </ac:spMkLst>
        </pc:spChg>
        <pc:spChg chg="add del mod">
          <ac:chgData name="Sophie Bayer" userId="ede9276c-710b-4378-937b-bdc2eba6c543" providerId="ADAL" clId="{E3EDA246-60EA-465A-9C7B-AD452C69BB9D}" dt="2023-01-11T12:40:31.774" v="12182" actId="478"/>
          <ac:spMkLst>
            <pc:docMk/>
            <pc:sldMk cId="3441729892" sldId="1984"/>
            <ac:spMk id="19" creationId="{2F077139-9B55-4C44-B9F3-4A777FF60E6E}"/>
          </ac:spMkLst>
        </pc:spChg>
        <pc:graphicFrameChg chg="add mod ord modVis replST">
          <ac:chgData name="Sophie Bayer" userId="ede9276c-710b-4378-937b-bdc2eba6c543" providerId="ADAL" clId="{E3EDA246-60EA-465A-9C7B-AD452C69BB9D}" dt="2023-01-11T12:33:31.436" v="11352"/>
          <ac:graphicFrameMkLst>
            <pc:docMk/>
            <pc:sldMk cId="3441729892" sldId="1984"/>
            <ac:graphicFrameMk id="4" creationId="{CF65C6D3-94F2-4669-8F51-7C2E00FE10C2}"/>
          </ac:graphicFrameMkLst>
        </pc:graphicFrameChg>
      </pc:sldChg>
      <pc:sldChg chg="addSp delSp modSp new add del mod">
        <pc:chgData name="Sophie Bayer" userId="ede9276c-710b-4378-937b-bdc2eba6c543" providerId="ADAL" clId="{E3EDA246-60EA-465A-9C7B-AD452C69BB9D}" dt="2023-01-11T10:01:11.563" v="4896" actId="2696"/>
        <pc:sldMkLst>
          <pc:docMk/>
          <pc:sldMk cId="1597296429" sldId="1985"/>
        </pc:sldMkLst>
        <pc:spChg chg="mod">
          <ac:chgData name="Sophie Bayer" userId="ede9276c-710b-4378-937b-bdc2eba6c543" providerId="ADAL" clId="{E3EDA246-60EA-465A-9C7B-AD452C69BB9D}" dt="2023-01-11T08:45:07.751" v="1055" actId="948"/>
          <ac:spMkLst>
            <pc:docMk/>
            <pc:sldMk cId="1597296429" sldId="1985"/>
            <ac:spMk id="2" creationId="{070F497F-D321-4122-8C39-08CC3E7279C2}"/>
          </ac:spMkLst>
        </pc:spChg>
        <pc:spChg chg="add del mod modVis">
          <ac:chgData name="Sophie Bayer" userId="ede9276c-710b-4378-937b-bdc2eba6c543" providerId="ADAL" clId="{E3EDA246-60EA-465A-9C7B-AD452C69BB9D}" dt="2023-01-11T08:45:07.796" v="1095"/>
          <ac:spMkLst>
            <pc:docMk/>
            <pc:sldMk cId="1597296429" sldId="1985"/>
            <ac:spMk id="4" creationId="{16BC9850-F5BC-4557-8870-F1DD1396FEAD}"/>
          </ac:spMkLst>
        </pc:spChg>
        <pc:graphicFrameChg chg="add mod ord modVis replST">
          <ac:chgData name="Sophie Bayer" userId="ede9276c-710b-4378-937b-bdc2eba6c543" providerId="ADAL" clId="{E3EDA246-60EA-465A-9C7B-AD452C69BB9D}" dt="2023-01-11T08:45:07.837" v="1111"/>
          <ac:graphicFrameMkLst>
            <pc:docMk/>
            <pc:sldMk cId="1597296429" sldId="1985"/>
            <ac:graphicFrameMk id="5" creationId="{3CC2DD04-1265-450B-862B-493BA086762D}"/>
          </ac:graphicFrameMkLst>
        </pc:graphicFrameChg>
      </pc:sldChg>
      <pc:sldChg chg="add del">
        <pc:chgData name="Sophie Bayer" userId="ede9276c-710b-4378-937b-bdc2eba6c543" providerId="ADAL" clId="{E3EDA246-60EA-465A-9C7B-AD452C69BB9D}" dt="2023-01-11T10:01:20.441" v="4898"/>
        <pc:sldMkLst>
          <pc:docMk/>
          <pc:sldMk cId="3409322264" sldId="1985"/>
        </pc:sldMkLst>
      </pc:sldChg>
      <pc:sldChg chg="addSp delSp modSp new add del mod">
        <pc:chgData name="Sophie Bayer" userId="ede9276c-710b-4378-937b-bdc2eba6c543" providerId="ADAL" clId="{E3EDA246-60EA-465A-9C7B-AD452C69BB9D}" dt="2023-01-11T09:03:09.323" v="2009" actId="47"/>
        <pc:sldMkLst>
          <pc:docMk/>
          <pc:sldMk cId="63468557" sldId="1986"/>
        </pc:sldMkLst>
        <pc:spChg chg="mod">
          <ac:chgData name="Sophie Bayer" userId="ede9276c-710b-4378-937b-bdc2eba6c543" providerId="ADAL" clId="{E3EDA246-60EA-465A-9C7B-AD452C69BB9D}" dt="2023-01-11T08:46:35.265" v="1540" actId="948"/>
          <ac:spMkLst>
            <pc:docMk/>
            <pc:sldMk cId="63468557" sldId="1986"/>
            <ac:spMk id="2" creationId="{3ADE1BE2-B736-4A19-A940-CB3937F074CF}"/>
          </ac:spMkLst>
        </pc:spChg>
        <pc:spChg chg="add del mod modVis">
          <ac:chgData name="Sophie Bayer" userId="ede9276c-710b-4378-937b-bdc2eba6c543" providerId="ADAL" clId="{E3EDA246-60EA-465A-9C7B-AD452C69BB9D}" dt="2023-01-11T08:46:24.959" v="1407"/>
          <ac:spMkLst>
            <pc:docMk/>
            <pc:sldMk cId="63468557" sldId="1986"/>
            <ac:spMk id="5" creationId="{B80DF5F6-16A3-4CEA-B3FB-45FD0D5E4044}"/>
          </ac:spMkLst>
        </pc:spChg>
        <pc:spChg chg="add del mod modVis">
          <ac:chgData name="Sophie Bayer" userId="ede9276c-710b-4378-937b-bdc2eba6c543" providerId="ADAL" clId="{E3EDA246-60EA-465A-9C7B-AD452C69BB9D}" dt="2023-01-11T08:46:27.105" v="1457"/>
          <ac:spMkLst>
            <pc:docMk/>
            <pc:sldMk cId="63468557" sldId="1986"/>
            <ac:spMk id="6" creationId="{B0CEC25C-FBE0-49F6-BF36-DD6F42F6BF74}"/>
          </ac:spMkLst>
        </pc:spChg>
        <pc:spChg chg="add del mod modVis">
          <ac:chgData name="Sophie Bayer" userId="ede9276c-710b-4378-937b-bdc2eba6c543" providerId="ADAL" clId="{E3EDA246-60EA-465A-9C7B-AD452C69BB9D}" dt="2023-01-11T08:46:31.306" v="1522"/>
          <ac:spMkLst>
            <pc:docMk/>
            <pc:sldMk cId="63468557" sldId="1986"/>
            <ac:spMk id="7" creationId="{94EA68CE-4844-44EB-9FE8-9642027C259B}"/>
          </ac:spMkLst>
        </pc:spChg>
        <pc:spChg chg="add del mod modVis">
          <ac:chgData name="Sophie Bayer" userId="ede9276c-710b-4378-937b-bdc2eba6c543" providerId="ADAL" clId="{E3EDA246-60EA-465A-9C7B-AD452C69BB9D}" dt="2023-01-11T08:46:35.300" v="1580"/>
          <ac:spMkLst>
            <pc:docMk/>
            <pc:sldMk cId="63468557" sldId="1986"/>
            <ac:spMk id="8" creationId="{7D00F337-8919-45B9-BB3D-A54CB6881062}"/>
          </ac:spMkLst>
        </pc:spChg>
        <pc:graphicFrameChg chg="add mod ord modVis replST">
          <ac:chgData name="Sophie Bayer" userId="ede9276c-710b-4378-937b-bdc2eba6c543" providerId="ADAL" clId="{E3EDA246-60EA-465A-9C7B-AD452C69BB9D}" dt="2023-01-11T08:46:35.301" v="1582"/>
          <ac:graphicFrameMkLst>
            <pc:docMk/>
            <pc:sldMk cId="63468557" sldId="1986"/>
            <ac:graphicFrameMk id="4" creationId="{D0BC7C97-DF20-4166-B824-4174EE9460E4}"/>
          </ac:graphicFrameMkLst>
        </pc:graphicFrameChg>
      </pc:sldChg>
      <pc:sldChg chg="new add del">
        <pc:chgData name="Sophie Bayer" userId="ede9276c-710b-4378-937b-bdc2eba6c543" providerId="ADAL" clId="{E3EDA246-60EA-465A-9C7B-AD452C69BB9D}" dt="2023-01-11T08:46:55.366" v="1585" actId="680"/>
        <pc:sldMkLst>
          <pc:docMk/>
          <pc:sldMk cId="713258860" sldId="1987"/>
        </pc:sldMkLst>
      </pc:sldChg>
      <pc:sldChg chg="addSp delSp modSp new add mod">
        <pc:chgData name="Sophie Bayer" userId="ede9276c-710b-4378-937b-bdc2eba6c543" providerId="ADAL" clId="{E3EDA246-60EA-465A-9C7B-AD452C69BB9D}" dt="2023-01-11T08:47:17.004" v="1607"/>
        <pc:sldMkLst>
          <pc:docMk/>
          <pc:sldMk cId="3395906277" sldId="1987"/>
        </pc:sldMkLst>
        <pc:spChg chg="del">
          <ac:chgData name="Sophie Bayer" userId="ede9276c-710b-4378-937b-bdc2eba6c543" providerId="ADAL" clId="{E3EDA246-60EA-465A-9C7B-AD452C69BB9D}" dt="2023-01-11T08:47:06.766" v="1588" actId="478"/>
          <ac:spMkLst>
            <pc:docMk/>
            <pc:sldMk cId="3395906277" sldId="1987"/>
            <ac:spMk id="3" creationId="{2ABD1B2F-97AC-4524-9E49-0FEDD339F4A4}"/>
          </ac:spMkLst>
        </pc:spChg>
        <pc:spChg chg="del">
          <ac:chgData name="Sophie Bayer" userId="ede9276c-710b-4378-937b-bdc2eba6c543" providerId="ADAL" clId="{E3EDA246-60EA-465A-9C7B-AD452C69BB9D}" dt="2023-01-11T08:47:09.328" v="1606" actId="478"/>
          <ac:spMkLst>
            <pc:docMk/>
            <pc:sldMk cId="3395906277" sldId="1987"/>
            <ac:spMk id="4" creationId="{C25592F1-E517-46C0-9CF6-5947D766FDD6}"/>
          </ac:spMkLst>
        </pc:spChg>
        <pc:graphicFrameChg chg="add mod ord modVis replST">
          <ac:chgData name="Sophie Bayer" userId="ede9276c-710b-4378-937b-bdc2eba6c543" providerId="ADAL" clId="{E3EDA246-60EA-465A-9C7B-AD452C69BB9D}" dt="2023-01-11T08:47:07.327" v="1605"/>
          <ac:graphicFrameMkLst>
            <pc:docMk/>
            <pc:sldMk cId="3395906277" sldId="1987"/>
            <ac:graphicFrameMk id="5" creationId="{D0B07D94-19DC-458B-8D42-1D592927D95A}"/>
          </ac:graphicFrameMkLst>
        </pc:graphicFrameChg>
        <pc:picChg chg="add mod">
          <ac:chgData name="Sophie Bayer" userId="ede9276c-710b-4378-937b-bdc2eba6c543" providerId="ADAL" clId="{E3EDA246-60EA-465A-9C7B-AD452C69BB9D}" dt="2023-01-11T08:47:17.004" v="1607"/>
          <ac:picMkLst>
            <pc:docMk/>
            <pc:sldMk cId="3395906277" sldId="1987"/>
            <ac:picMk id="6" creationId="{76FAD47E-0F7F-47F2-8E3D-506EFD5D3B2C}"/>
          </ac:picMkLst>
        </pc:picChg>
      </pc:sldChg>
      <pc:sldChg chg="new add del">
        <pc:chgData name="Sophie Bayer" userId="ede9276c-710b-4378-937b-bdc2eba6c543" providerId="ADAL" clId="{E3EDA246-60EA-465A-9C7B-AD452C69BB9D}" dt="2023-01-11T08:59:57.350" v="2005" actId="680"/>
        <pc:sldMkLst>
          <pc:docMk/>
          <pc:sldMk cId="2139711197" sldId="1988"/>
        </pc:sldMkLst>
      </pc:sldChg>
      <pc:sldChg chg="addSp delSp modSp add mod addCm delCm">
        <pc:chgData name="Sophie Bayer" userId="ede9276c-710b-4378-937b-bdc2eba6c543" providerId="ADAL" clId="{E3EDA246-60EA-465A-9C7B-AD452C69BB9D}" dt="2023-01-13T14:46:32.077" v="12922"/>
        <pc:sldMkLst>
          <pc:docMk/>
          <pc:sldMk cId="2676015612" sldId="1988"/>
        </pc:sldMkLst>
        <pc:spChg chg="mod">
          <ac:chgData name="Sophie Bayer" userId="ede9276c-710b-4378-937b-bdc2eba6c543" providerId="ADAL" clId="{E3EDA246-60EA-465A-9C7B-AD452C69BB9D}" dt="2023-01-11T09:47:12.809" v="4247"/>
          <ac:spMkLst>
            <pc:docMk/>
            <pc:sldMk cId="2676015612" sldId="1988"/>
            <ac:spMk id="2" creationId="{086C204E-F617-4773-80B1-4992F18DE87E}"/>
          </ac:spMkLst>
        </pc:spChg>
        <pc:spChg chg="mod">
          <ac:chgData name="Sophie Bayer" userId="ede9276c-710b-4378-937b-bdc2eba6c543" providerId="ADAL" clId="{E3EDA246-60EA-465A-9C7B-AD452C69BB9D}" dt="2023-01-11T09:47:12.809" v="4247"/>
          <ac:spMkLst>
            <pc:docMk/>
            <pc:sldMk cId="2676015612" sldId="1988"/>
            <ac:spMk id="21" creationId="{87E2A4CF-53F1-4515-BE78-23D925C019ED}"/>
          </ac:spMkLst>
        </pc:spChg>
        <pc:spChg chg="mod">
          <ac:chgData name="Sophie Bayer" userId="ede9276c-710b-4378-937b-bdc2eba6c543" providerId="ADAL" clId="{E3EDA246-60EA-465A-9C7B-AD452C69BB9D}" dt="2023-01-11T09:47:12.809" v="4247"/>
          <ac:spMkLst>
            <pc:docMk/>
            <pc:sldMk cId="2676015612" sldId="1988"/>
            <ac:spMk id="22" creationId="{81732859-9F50-452E-9AFE-EDAF011B271C}"/>
          </ac:spMkLst>
        </pc:spChg>
        <pc:spChg chg="mod">
          <ac:chgData name="Sophie Bayer" userId="ede9276c-710b-4378-937b-bdc2eba6c543" providerId="ADAL" clId="{E3EDA246-60EA-465A-9C7B-AD452C69BB9D}" dt="2023-01-11T09:47:12.809" v="4247"/>
          <ac:spMkLst>
            <pc:docMk/>
            <pc:sldMk cId="2676015612" sldId="1988"/>
            <ac:spMk id="23" creationId="{488F2B86-D27F-43EA-A9E0-B40CE7A6FB50}"/>
          </ac:spMkLst>
        </pc:spChg>
        <pc:spChg chg="mod">
          <ac:chgData name="Sophie Bayer" userId="ede9276c-710b-4378-937b-bdc2eba6c543" providerId="ADAL" clId="{E3EDA246-60EA-465A-9C7B-AD452C69BB9D}" dt="2023-01-11T09:47:12.809" v="4247"/>
          <ac:spMkLst>
            <pc:docMk/>
            <pc:sldMk cId="2676015612" sldId="1988"/>
            <ac:spMk id="24" creationId="{F8828B6B-59CC-417B-9D3C-67A4ECCC3798}"/>
          </ac:spMkLst>
        </pc:spChg>
        <pc:spChg chg="add del mod">
          <ac:chgData name="Sophie Bayer" userId="ede9276c-710b-4378-937b-bdc2eba6c543" providerId="ADAL" clId="{E3EDA246-60EA-465A-9C7B-AD452C69BB9D}" dt="2023-01-11T10:00:06.653" v="4890" actId="1076"/>
          <ac:spMkLst>
            <pc:docMk/>
            <pc:sldMk cId="2676015612" sldId="1988"/>
            <ac:spMk id="32" creationId="{6FADC90D-C63E-4995-A315-394AAA3E1D8D}"/>
          </ac:spMkLst>
        </pc:spChg>
        <pc:spChg chg="mod">
          <ac:chgData name="Sophie Bayer" userId="ede9276c-710b-4378-937b-bdc2eba6c543" providerId="ADAL" clId="{E3EDA246-60EA-465A-9C7B-AD452C69BB9D}" dt="2023-01-13T14:46:26.679" v="12921" actId="14100"/>
          <ac:spMkLst>
            <pc:docMk/>
            <pc:sldMk cId="2676015612" sldId="1988"/>
            <ac:spMk id="33" creationId="{1797CD25-E47B-462D-9CDE-FDA73CBB813E}"/>
          </ac:spMkLst>
        </pc:spChg>
        <pc:spChg chg="mod">
          <ac:chgData name="Sophie Bayer" userId="ede9276c-710b-4378-937b-bdc2eba6c543" providerId="ADAL" clId="{E3EDA246-60EA-465A-9C7B-AD452C69BB9D}" dt="2023-01-13T14:46:22.371" v="12920" actId="20577"/>
          <ac:spMkLst>
            <pc:docMk/>
            <pc:sldMk cId="2676015612" sldId="1988"/>
            <ac:spMk id="34" creationId="{4DA16978-08B8-44DE-AE66-A99A848C6160}"/>
          </ac:spMkLst>
        </pc:spChg>
        <pc:spChg chg="del mod">
          <ac:chgData name="Sophie Bayer" userId="ede9276c-710b-4378-937b-bdc2eba6c543" providerId="ADAL" clId="{E3EDA246-60EA-465A-9C7B-AD452C69BB9D}" dt="2023-01-11T09:47:20.224" v="4250" actId="478"/>
          <ac:spMkLst>
            <pc:docMk/>
            <pc:sldMk cId="2676015612" sldId="1988"/>
            <ac:spMk id="35" creationId="{93122527-33C3-4B7B-8284-7B11953F1FA9}"/>
          </ac:spMkLst>
        </pc:spChg>
        <pc:grpChg chg="mod">
          <ac:chgData name="Sophie Bayer" userId="ede9276c-710b-4378-937b-bdc2eba6c543" providerId="ADAL" clId="{E3EDA246-60EA-465A-9C7B-AD452C69BB9D}" dt="2023-01-11T09:47:12.809" v="4247"/>
          <ac:grpSpMkLst>
            <pc:docMk/>
            <pc:sldMk cId="2676015612" sldId="1988"/>
            <ac:grpSpMk id="1" creationId="{00000000-0000-0000-0000-000000000000}"/>
          </ac:grpSpMkLst>
        </pc:grpChg>
        <pc:graphicFrameChg chg="mod">
          <ac:chgData name="Sophie Bayer" userId="ede9276c-710b-4378-937b-bdc2eba6c543" providerId="ADAL" clId="{E3EDA246-60EA-465A-9C7B-AD452C69BB9D}" dt="2023-01-11T09:47:12.809" v="4247"/>
          <ac:graphicFrameMkLst>
            <pc:docMk/>
            <pc:sldMk cId="2676015612" sldId="1988"/>
            <ac:graphicFrameMk id="5" creationId="{DE507A71-666E-43DC-B180-527351AC62FF}"/>
          </ac:graphicFrameMkLst>
        </pc:graphicFrameChg>
        <pc:picChg chg="mod">
          <ac:chgData name="Sophie Bayer" userId="ede9276c-710b-4378-937b-bdc2eba6c543" providerId="ADAL" clId="{E3EDA246-60EA-465A-9C7B-AD452C69BB9D}" dt="2023-01-11T09:47:12.809" v="4247"/>
          <ac:picMkLst>
            <pc:docMk/>
            <pc:sldMk cId="2676015612" sldId="1988"/>
            <ac:picMk id="18" creationId="{ED7215C1-3596-435E-BD0E-705EA32993A2}"/>
          </ac:picMkLst>
        </pc:picChg>
      </pc:sldChg>
      <pc:sldChg chg="addSp delSp modSp add mod">
        <pc:chgData name="Sophie Bayer" userId="ede9276c-710b-4378-937b-bdc2eba6c543" providerId="ADAL" clId="{E3EDA246-60EA-465A-9C7B-AD452C69BB9D}" dt="2023-01-13T14:47:48.917" v="13015"/>
        <pc:sldMkLst>
          <pc:docMk/>
          <pc:sldMk cId="4271052140" sldId="1989"/>
        </pc:sldMkLst>
        <pc:spChg chg="mod">
          <ac:chgData name="Sophie Bayer" userId="ede9276c-710b-4378-937b-bdc2eba6c543" providerId="ADAL" clId="{E3EDA246-60EA-465A-9C7B-AD452C69BB9D}" dt="2023-01-11T10:23:04.021" v="5905"/>
          <ac:spMkLst>
            <pc:docMk/>
            <pc:sldMk cId="4271052140" sldId="1989"/>
            <ac:spMk id="8" creationId="{90AEFAD8-26C2-4357-8200-C7836A31699B}"/>
          </ac:spMkLst>
        </pc:spChg>
        <pc:spChg chg="mod">
          <ac:chgData name="Sophie Bayer" userId="ede9276c-710b-4378-937b-bdc2eba6c543" providerId="ADAL" clId="{E3EDA246-60EA-465A-9C7B-AD452C69BB9D}" dt="2023-01-13T14:47:38.812" v="13011" actId="1076"/>
          <ac:spMkLst>
            <pc:docMk/>
            <pc:sldMk cId="4271052140" sldId="1989"/>
            <ac:spMk id="9" creationId="{D8F211BF-30A9-4208-9440-7305E183DD2D}"/>
          </ac:spMkLst>
        </pc:spChg>
        <pc:spChg chg="del mod">
          <ac:chgData name="Sophie Bayer" userId="ede9276c-710b-4378-937b-bdc2eba6c543" providerId="ADAL" clId="{E3EDA246-60EA-465A-9C7B-AD452C69BB9D}" dt="2023-01-13T14:47:44.163" v="13013" actId="478"/>
          <ac:spMkLst>
            <pc:docMk/>
            <pc:sldMk cId="4271052140" sldId="1989"/>
            <ac:spMk id="11" creationId="{10A44325-23D7-46CD-BA06-0FCA7A3B6297}"/>
          </ac:spMkLst>
        </pc:spChg>
        <pc:spChg chg="add mod">
          <ac:chgData name="Sophie Bayer" userId="ede9276c-710b-4378-937b-bdc2eba6c543" providerId="ADAL" clId="{E3EDA246-60EA-465A-9C7B-AD452C69BB9D}" dt="2023-01-11T11:27:59" v="7172" actId="1076"/>
          <ac:spMkLst>
            <pc:docMk/>
            <pc:sldMk cId="4271052140" sldId="1989"/>
            <ac:spMk id="13" creationId="{3350969E-2532-4C4A-A918-EB6B1BCEFFA6}"/>
          </ac:spMkLst>
        </pc:spChg>
        <pc:spChg chg="mod">
          <ac:chgData name="Sophie Bayer" userId="ede9276c-710b-4378-937b-bdc2eba6c543" providerId="ADAL" clId="{E3EDA246-60EA-465A-9C7B-AD452C69BB9D}" dt="2023-01-11T10:23:04.021" v="5905"/>
          <ac:spMkLst>
            <pc:docMk/>
            <pc:sldMk cId="4271052140" sldId="1989"/>
            <ac:spMk id="14" creationId="{335D332F-DF4D-40EF-9F89-8D085A289F99}"/>
          </ac:spMkLst>
        </pc:spChg>
        <pc:spChg chg="mod">
          <ac:chgData name="Sophie Bayer" userId="ede9276c-710b-4378-937b-bdc2eba6c543" providerId="ADAL" clId="{E3EDA246-60EA-465A-9C7B-AD452C69BB9D}" dt="2023-01-11T10:23:04.021" v="5905"/>
          <ac:spMkLst>
            <pc:docMk/>
            <pc:sldMk cId="4271052140" sldId="1989"/>
            <ac:spMk id="15" creationId="{352D8E8C-91A1-4D3F-B8A4-B963D3B7833D}"/>
          </ac:spMkLst>
        </pc:spChg>
        <pc:spChg chg="add mod">
          <ac:chgData name="Sophie Bayer" userId="ede9276c-710b-4378-937b-bdc2eba6c543" providerId="ADAL" clId="{E3EDA246-60EA-465A-9C7B-AD452C69BB9D}" dt="2023-01-11T11:27:59" v="7172" actId="1076"/>
          <ac:spMkLst>
            <pc:docMk/>
            <pc:sldMk cId="4271052140" sldId="1989"/>
            <ac:spMk id="16" creationId="{58150B2C-2439-4337-B069-8B321F50120E}"/>
          </ac:spMkLst>
        </pc:spChg>
        <pc:spChg chg="add del mod">
          <ac:chgData name="Sophie Bayer" userId="ede9276c-710b-4378-937b-bdc2eba6c543" providerId="ADAL" clId="{E3EDA246-60EA-465A-9C7B-AD452C69BB9D}" dt="2023-01-11T11:27:43.353" v="7168" actId="1076"/>
          <ac:spMkLst>
            <pc:docMk/>
            <pc:sldMk cId="4271052140" sldId="1989"/>
            <ac:spMk id="18" creationId="{CE39AA97-4D19-424A-B2C7-FF4C20C02189}"/>
          </ac:spMkLst>
        </pc:spChg>
        <pc:spChg chg="add del mod">
          <ac:chgData name="Sophie Bayer" userId="ede9276c-710b-4378-937b-bdc2eba6c543" providerId="ADAL" clId="{E3EDA246-60EA-465A-9C7B-AD452C69BB9D}" dt="2023-01-11T11:27:43.353" v="7168" actId="1076"/>
          <ac:spMkLst>
            <pc:docMk/>
            <pc:sldMk cId="4271052140" sldId="1989"/>
            <ac:spMk id="19" creationId="{810ACAF7-694B-47CA-AE1A-F1D1D2FEA95A}"/>
          </ac:spMkLst>
        </pc:spChg>
        <pc:spChg chg="mod">
          <ac:chgData name="Sophie Bayer" userId="ede9276c-710b-4378-937b-bdc2eba6c543" providerId="ADAL" clId="{E3EDA246-60EA-465A-9C7B-AD452C69BB9D}" dt="2023-01-11T11:27:43.353" v="7168" actId="1076"/>
          <ac:spMkLst>
            <pc:docMk/>
            <pc:sldMk cId="4271052140" sldId="1989"/>
            <ac:spMk id="20" creationId="{1923FD27-E9DC-40D5-A4B1-EE2E259978AF}"/>
          </ac:spMkLst>
        </pc:spChg>
        <pc:spChg chg="add mod">
          <ac:chgData name="Sophie Bayer" userId="ede9276c-710b-4378-937b-bdc2eba6c543" providerId="ADAL" clId="{E3EDA246-60EA-465A-9C7B-AD452C69BB9D}" dt="2023-01-13T14:47:48.917" v="13015"/>
          <ac:spMkLst>
            <pc:docMk/>
            <pc:sldMk cId="4271052140" sldId="1989"/>
            <ac:spMk id="21" creationId="{316F59B9-EEC4-46AE-960D-85836C2051B8}"/>
          </ac:spMkLst>
        </pc:spChg>
        <pc:spChg chg="del mod">
          <ac:chgData name="Sophie Bayer" userId="ede9276c-710b-4378-937b-bdc2eba6c543" providerId="ADAL" clId="{E3EDA246-60EA-465A-9C7B-AD452C69BB9D}" dt="2023-01-11T11:27:19.744" v="7137" actId="478"/>
          <ac:spMkLst>
            <pc:docMk/>
            <pc:sldMk cId="4271052140" sldId="1989"/>
            <ac:spMk id="21" creationId="{E7E73127-719C-481B-B67B-CCA16425E42B}"/>
          </ac:spMkLst>
        </pc:spChg>
        <pc:spChg chg="add mod">
          <ac:chgData name="Sophie Bayer" userId="ede9276c-710b-4378-937b-bdc2eba6c543" providerId="ADAL" clId="{E3EDA246-60EA-465A-9C7B-AD452C69BB9D}" dt="2023-01-11T11:27:59" v="7172" actId="1076"/>
          <ac:spMkLst>
            <pc:docMk/>
            <pc:sldMk cId="4271052140" sldId="1989"/>
            <ac:spMk id="22" creationId="{EF106EA0-5B80-4410-87D5-4B85EE6FCBD8}"/>
          </ac:spMkLst>
        </pc:spChg>
        <pc:spChg chg="add mod">
          <ac:chgData name="Sophie Bayer" userId="ede9276c-710b-4378-937b-bdc2eba6c543" providerId="ADAL" clId="{E3EDA246-60EA-465A-9C7B-AD452C69BB9D}" dt="2023-01-11T11:28:20.300" v="7175" actId="1076"/>
          <ac:spMkLst>
            <pc:docMk/>
            <pc:sldMk cId="4271052140" sldId="1989"/>
            <ac:spMk id="23" creationId="{92660346-9379-4E5E-A504-88A46E8336B1}"/>
          </ac:spMkLst>
        </pc:spChg>
        <pc:spChg chg="add mod">
          <ac:chgData name="Sophie Bayer" userId="ede9276c-710b-4378-937b-bdc2eba6c543" providerId="ADAL" clId="{E3EDA246-60EA-465A-9C7B-AD452C69BB9D}" dt="2023-01-11T11:28:20.300" v="7175" actId="1076"/>
          <ac:spMkLst>
            <pc:docMk/>
            <pc:sldMk cId="4271052140" sldId="1989"/>
            <ac:spMk id="24" creationId="{467FA636-B83B-4BCF-86A3-5944D6CA1E96}"/>
          </ac:spMkLst>
        </pc:spChg>
        <pc:spChg chg="add mod">
          <ac:chgData name="Sophie Bayer" userId="ede9276c-710b-4378-937b-bdc2eba6c543" providerId="ADAL" clId="{E3EDA246-60EA-465A-9C7B-AD452C69BB9D}" dt="2023-01-11T11:28:20.300" v="7175" actId="1076"/>
          <ac:spMkLst>
            <pc:docMk/>
            <pc:sldMk cId="4271052140" sldId="1989"/>
            <ac:spMk id="25" creationId="{0A5239A4-21D4-4585-86F0-5205BDA57DA2}"/>
          </ac:spMkLst>
        </pc:spChg>
        <pc:spChg chg="add mod">
          <ac:chgData name="Sophie Bayer" userId="ede9276c-710b-4378-937b-bdc2eba6c543" providerId="ADAL" clId="{E3EDA246-60EA-465A-9C7B-AD452C69BB9D}" dt="2023-01-11T11:29:01.479" v="7244" actId="6549"/>
          <ac:spMkLst>
            <pc:docMk/>
            <pc:sldMk cId="4271052140" sldId="1989"/>
            <ac:spMk id="26" creationId="{57013E32-E121-4F7A-B10F-4BCEF3AD9EAE}"/>
          </ac:spMkLst>
        </pc:spChg>
        <pc:grpChg chg="mod">
          <ac:chgData name="Sophie Bayer" userId="ede9276c-710b-4378-937b-bdc2eba6c543" providerId="ADAL" clId="{E3EDA246-60EA-465A-9C7B-AD452C69BB9D}" dt="2023-01-11T10:23:04.021" v="5905"/>
          <ac:grpSpMkLst>
            <pc:docMk/>
            <pc:sldMk cId="4271052140" sldId="1989"/>
            <ac:grpSpMk id="1" creationId="{00000000-0000-0000-0000-000000000000}"/>
          </ac:grpSpMkLst>
        </pc:grpChg>
        <pc:graphicFrameChg chg="mod">
          <ac:chgData name="Sophie Bayer" userId="ede9276c-710b-4378-937b-bdc2eba6c543" providerId="ADAL" clId="{E3EDA246-60EA-465A-9C7B-AD452C69BB9D}" dt="2023-01-11T10:23:04.021" v="5905"/>
          <ac:graphicFrameMkLst>
            <pc:docMk/>
            <pc:sldMk cId="4271052140" sldId="1989"/>
            <ac:graphicFrameMk id="5" creationId="{ABBF6E3B-7DD0-4692-9F53-350096E175E4}"/>
          </ac:graphicFrameMkLst>
        </pc:graphicFrameChg>
        <pc:picChg chg="del mod">
          <ac:chgData name="Sophie Bayer" userId="ede9276c-710b-4378-937b-bdc2eba6c543" providerId="ADAL" clId="{E3EDA246-60EA-465A-9C7B-AD452C69BB9D}" dt="2023-01-13T14:47:44.884" v="13014" actId="478"/>
          <ac:picMkLst>
            <pc:docMk/>
            <pc:sldMk cId="4271052140" sldId="1989"/>
            <ac:picMk id="17" creationId="{104E16DC-DE10-474A-951D-EBF804D4C218}"/>
          </ac:picMkLst>
        </pc:picChg>
        <pc:picChg chg="add mod">
          <ac:chgData name="Sophie Bayer" userId="ede9276c-710b-4378-937b-bdc2eba6c543" providerId="ADAL" clId="{E3EDA246-60EA-465A-9C7B-AD452C69BB9D}" dt="2023-01-13T14:47:48.917" v="13015"/>
          <ac:picMkLst>
            <pc:docMk/>
            <pc:sldMk cId="4271052140" sldId="1989"/>
            <ac:picMk id="27" creationId="{50248614-4BAD-48B6-BC18-DC094AF71002}"/>
          </ac:picMkLst>
        </pc:picChg>
      </pc:sldChg>
      <pc:sldChg chg="addSp delSp modSp add mod addCm delCm">
        <pc:chgData name="Sophie Bayer" userId="ede9276c-710b-4378-937b-bdc2eba6c543" providerId="ADAL" clId="{E3EDA246-60EA-465A-9C7B-AD452C69BB9D}" dt="2023-01-13T14:57:24.920" v="13361"/>
        <pc:sldMkLst>
          <pc:docMk/>
          <pc:sldMk cId="15753831" sldId="1990"/>
        </pc:sldMkLst>
        <pc:spChg chg="mod">
          <ac:chgData name="Sophie Bayer" userId="ede9276c-710b-4378-937b-bdc2eba6c543" providerId="ADAL" clId="{E3EDA246-60EA-465A-9C7B-AD452C69BB9D}" dt="2023-01-11T11:29:21.898" v="7246"/>
          <ac:spMkLst>
            <pc:docMk/>
            <pc:sldMk cId="15753831" sldId="1990"/>
            <ac:spMk id="8" creationId="{90AEFAD8-26C2-4357-8200-C7836A31699B}"/>
          </ac:spMkLst>
        </pc:spChg>
        <pc:spChg chg="add del mod">
          <ac:chgData name="Sophie Bayer" userId="ede9276c-710b-4378-937b-bdc2eba6c543" providerId="ADAL" clId="{E3EDA246-60EA-465A-9C7B-AD452C69BB9D}" dt="2023-01-13T14:47:55.409" v="13017" actId="478"/>
          <ac:spMkLst>
            <pc:docMk/>
            <pc:sldMk cId="15753831" sldId="1990"/>
            <ac:spMk id="9" creationId="{D8F211BF-30A9-4208-9440-7305E183DD2D}"/>
          </ac:spMkLst>
        </pc:spChg>
        <pc:spChg chg="del mod">
          <ac:chgData name="Sophie Bayer" userId="ede9276c-710b-4378-937b-bdc2eba6c543" providerId="ADAL" clId="{E3EDA246-60EA-465A-9C7B-AD452C69BB9D}" dt="2023-01-13T14:47:57.520" v="13018" actId="478"/>
          <ac:spMkLst>
            <pc:docMk/>
            <pc:sldMk cId="15753831" sldId="1990"/>
            <ac:spMk id="11" creationId="{10A44325-23D7-46CD-BA06-0FCA7A3B6297}"/>
          </ac:spMkLst>
        </pc:spChg>
        <pc:spChg chg="del mod">
          <ac:chgData name="Sophie Bayer" userId="ede9276c-710b-4378-937b-bdc2eba6c543" providerId="ADAL" clId="{E3EDA246-60EA-465A-9C7B-AD452C69BB9D}" dt="2023-01-11T11:29:34.141" v="7279" actId="478"/>
          <ac:spMkLst>
            <pc:docMk/>
            <pc:sldMk cId="15753831" sldId="1990"/>
            <ac:spMk id="13" creationId="{3350969E-2532-4C4A-A918-EB6B1BCEFFA6}"/>
          </ac:spMkLst>
        </pc:spChg>
        <pc:spChg chg="mod">
          <ac:chgData name="Sophie Bayer" userId="ede9276c-710b-4378-937b-bdc2eba6c543" providerId="ADAL" clId="{E3EDA246-60EA-465A-9C7B-AD452C69BB9D}" dt="2023-01-11T11:29:21.898" v="7246"/>
          <ac:spMkLst>
            <pc:docMk/>
            <pc:sldMk cId="15753831" sldId="1990"/>
            <ac:spMk id="14" creationId="{335D332F-DF4D-40EF-9F89-8D085A289F99}"/>
          </ac:spMkLst>
        </pc:spChg>
        <pc:spChg chg="mod">
          <ac:chgData name="Sophie Bayer" userId="ede9276c-710b-4378-937b-bdc2eba6c543" providerId="ADAL" clId="{E3EDA246-60EA-465A-9C7B-AD452C69BB9D}" dt="2023-01-11T11:29:21.898" v="7246"/>
          <ac:spMkLst>
            <pc:docMk/>
            <pc:sldMk cId="15753831" sldId="1990"/>
            <ac:spMk id="15" creationId="{352D8E8C-91A1-4D3F-B8A4-B963D3B7833D}"/>
          </ac:spMkLst>
        </pc:spChg>
        <pc:spChg chg="add mod">
          <ac:chgData name="Sophie Bayer" userId="ede9276c-710b-4378-937b-bdc2eba6c543" providerId="ADAL" clId="{E3EDA246-60EA-465A-9C7B-AD452C69BB9D}" dt="2023-01-13T14:47:59.568" v="13020"/>
          <ac:spMkLst>
            <pc:docMk/>
            <pc:sldMk cId="15753831" sldId="1990"/>
            <ac:spMk id="16" creationId="{4D44D326-BDC3-48BB-A1CE-D56F0CD1F08B}"/>
          </ac:spMkLst>
        </pc:spChg>
        <pc:spChg chg="del mod">
          <ac:chgData name="Sophie Bayer" userId="ede9276c-710b-4378-937b-bdc2eba6c543" providerId="ADAL" clId="{E3EDA246-60EA-465A-9C7B-AD452C69BB9D}" dt="2023-01-11T11:29:34.141" v="7279" actId="478"/>
          <ac:spMkLst>
            <pc:docMk/>
            <pc:sldMk cId="15753831" sldId="1990"/>
            <ac:spMk id="16" creationId="{58150B2C-2439-4337-B069-8B321F50120E}"/>
          </ac:spMkLst>
        </pc:spChg>
        <pc:spChg chg="mod">
          <ac:chgData name="Sophie Bayer" userId="ede9276c-710b-4378-937b-bdc2eba6c543" providerId="ADAL" clId="{E3EDA246-60EA-465A-9C7B-AD452C69BB9D}" dt="2023-01-11T11:31:25.610" v="7397" actId="20577"/>
          <ac:spMkLst>
            <pc:docMk/>
            <pc:sldMk cId="15753831" sldId="1990"/>
            <ac:spMk id="18" creationId="{CE39AA97-4D19-424A-B2C7-FF4C20C02189}"/>
          </ac:spMkLst>
        </pc:spChg>
        <pc:spChg chg="mod">
          <ac:chgData name="Sophie Bayer" userId="ede9276c-710b-4378-937b-bdc2eba6c543" providerId="ADAL" clId="{E3EDA246-60EA-465A-9C7B-AD452C69BB9D}" dt="2023-01-11T11:36:27.469" v="7981" actId="14100"/>
          <ac:spMkLst>
            <pc:docMk/>
            <pc:sldMk cId="15753831" sldId="1990"/>
            <ac:spMk id="19" creationId="{810ACAF7-694B-47CA-AE1A-F1D1D2FEA95A}"/>
          </ac:spMkLst>
        </pc:spChg>
        <pc:spChg chg="mod">
          <ac:chgData name="Sophie Bayer" userId="ede9276c-710b-4378-937b-bdc2eba6c543" providerId="ADAL" clId="{E3EDA246-60EA-465A-9C7B-AD452C69BB9D}" dt="2023-01-13T14:56:00.689" v="13350" actId="20577"/>
          <ac:spMkLst>
            <pc:docMk/>
            <pc:sldMk cId="15753831" sldId="1990"/>
            <ac:spMk id="20" creationId="{1923FD27-E9DC-40D5-A4B1-EE2E259978AF}"/>
          </ac:spMkLst>
        </pc:spChg>
        <pc:spChg chg="add mod">
          <ac:chgData name="Sophie Bayer" userId="ede9276c-710b-4378-937b-bdc2eba6c543" providerId="ADAL" clId="{E3EDA246-60EA-465A-9C7B-AD452C69BB9D}" dt="2023-01-11T11:31:48.114" v="7414" actId="20577"/>
          <ac:spMkLst>
            <pc:docMk/>
            <pc:sldMk cId="15753831" sldId="1990"/>
            <ac:spMk id="21" creationId="{1417DE11-9E4B-4FFE-9C5F-D327D3F1FACE}"/>
          </ac:spMkLst>
        </pc:spChg>
        <pc:spChg chg="del mod">
          <ac:chgData name="Sophie Bayer" userId="ede9276c-710b-4378-937b-bdc2eba6c543" providerId="ADAL" clId="{E3EDA246-60EA-465A-9C7B-AD452C69BB9D}" dt="2023-01-11T11:29:34.141" v="7279" actId="478"/>
          <ac:spMkLst>
            <pc:docMk/>
            <pc:sldMk cId="15753831" sldId="1990"/>
            <ac:spMk id="22" creationId="{EF106EA0-5B80-4410-87D5-4B85EE6FCBD8}"/>
          </ac:spMkLst>
        </pc:spChg>
        <pc:spChg chg="del mod">
          <ac:chgData name="Sophie Bayer" userId="ede9276c-710b-4378-937b-bdc2eba6c543" providerId="ADAL" clId="{E3EDA246-60EA-465A-9C7B-AD452C69BB9D}" dt="2023-01-11T11:29:32.386" v="7278" actId="478"/>
          <ac:spMkLst>
            <pc:docMk/>
            <pc:sldMk cId="15753831" sldId="1990"/>
            <ac:spMk id="23" creationId="{92660346-9379-4E5E-A504-88A46E8336B1}"/>
          </ac:spMkLst>
        </pc:spChg>
        <pc:spChg chg="add mod">
          <ac:chgData name="Sophie Bayer" userId="ede9276c-710b-4378-937b-bdc2eba6c543" providerId="ADAL" clId="{E3EDA246-60EA-465A-9C7B-AD452C69BB9D}" dt="2023-01-13T14:56:41.110" v="13358" actId="20577"/>
          <ac:spMkLst>
            <pc:docMk/>
            <pc:sldMk cId="15753831" sldId="1990"/>
            <ac:spMk id="23" creationId="{DC8D841A-07A7-4C6A-94C2-39243F2EB8BA}"/>
          </ac:spMkLst>
        </pc:spChg>
        <pc:spChg chg="del mod">
          <ac:chgData name="Sophie Bayer" userId="ede9276c-710b-4378-937b-bdc2eba6c543" providerId="ADAL" clId="{E3EDA246-60EA-465A-9C7B-AD452C69BB9D}" dt="2023-01-11T11:29:32.386" v="7278" actId="478"/>
          <ac:spMkLst>
            <pc:docMk/>
            <pc:sldMk cId="15753831" sldId="1990"/>
            <ac:spMk id="24" creationId="{467FA636-B83B-4BCF-86A3-5944D6CA1E96}"/>
          </ac:spMkLst>
        </pc:spChg>
        <pc:spChg chg="del mod">
          <ac:chgData name="Sophie Bayer" userId="ede9276c-710b-4378-937b-bdc2eba6c543" providerId="ADAL" clId="{E3EDA246-60EA-465A-9C7B-AD452C69BB9D}" dt="2023-01-11T11:29:32.386" v="7278" actId="478"/>
          <ac:spMkLst>
            <pc:docMk/>
            <pc:sldMk cId="15753831" sldId="1990"/>
            <ac:spMk id="25" creationId="{0A5239A4-21D4-4585-86F0-5205BDA57DA2}"/>
          </ac:spMkLst>
        </pc:spChg>
        <pc:spChg chg="del mod">
          <ac:chgData name="Sophie Bayer" userId="ede9276c-710b-4378-937b-bdc2eba6c543" providerId="ADAL" clId="{E3EDA246-60EA-465A-9C7B-AD452C69BB9D}" dt="2023-01-11T11:29:59.714" v="7283" actId="478"/>
          <ac:spMkLst>
            <pc:docMk/>
            <pc:sldMk cId="15753831" sldId="1990"/>
            <ac:spMk id="26" creationId="{57013E32-E121-4F7A-B10F-4BCEF3AD9EAE}"/>
          </ac:spMkLst>
        </pc:spChg>
        <pc:spChg chg="add mod">
          <ac:chgData name="Sophie Bayer" userId="ede9276c-710b-4378-937b-bdc2eba6c543" providerId="ADAL" clId="{E3EDA246-60EA-465A-9C7B-AD452C69BB9D}" dt="2023-01-11T11:37:40.486" v="8098" actId="14100"/>
          <ac:spMkLst>
            <pc:docMk/>
            <pc:sldMk cId="15753831" sldId="1990"/>
            <ac:spMk id="27" creationId="{1F2D0745-AF6F-4E3C-A0D8-24E74A59A07A}"/>
          </ac:spMkLst>
        </pc:spChg>
        <pc:spChg chg="add del mod">
          <ac:chgData name="Sophie Bayer" userId="ede9276c-710b-4378-937b-bdc2eba6c543" providerId="ADAL" clId="{E3EDA246-60EA-465A-9C7B-AD452C69BB9D}" dt="2023-01-13T14:56:09.445" v="13351" actId="478"/>
          <ac:spMkLst>
            <pc:docMk/>
            <pc:sldMk cId="15753831" sldId="1990"/>
            <ac:spMk id="28" creationId="{86ED0811-3208-4FC4-9FD3-150E358C7726}"/>
          </ac:spMkLst>
        </pc:spChg>
        <pc:grpChg chg="mod">
          <ac:chgData name="Sophie Bayer" userId="ede9276c-710b-4378-937b-bdc2eba6c543" providerId="ADAL" clId="{E3EDA246-60EA-465A-9C7B-AD452C69BB9D}" dt="2023-01-11T11:29:21.898" v="7246"/>
          <ac:grpSpMkLst>
            <pc:docMk/>
            <pc:sldMk cId="15753831" sldId="1990"/>
            <ac:grpSpMk id="1" creationId="{00000000-0000-0000-0000-000000000000}"/>
          </ac:grpSpMkLst>
        </pc:grpChg>
        <pc:graphicFrameChg chg="mod">
          <ac:chgData name="Sophie Bayer" userId="ede9276c-710b-4378-937b-bdc2eba6c543" providerId="ADAL" clId="{E3EDA246-60EA-465A-9C7B-AD452C69BB9D}" dt="2023-01-11T11:29:21.898" v="7246"/>
          <ac:graphicFrameMkLst>
            <pc:docMk/>
            <pc:sldMk cId="15753831" sldId="1990"/>
            <ac:graphicFrameMk id="5" creationId="{ABBF6E3B-7DD0-4692-9F53-350096E175E4}"/>
          </ac:graphicFrameMkLst>
        </pc:graphicFrameChg>
        <pc:picChg chg="del mod">
          <ac:chgData name="Sophie Bayer" userId="ede9276c-710b-4378-937b-bdc2eba6c543" providerId="ADAL" clId="{E3EDA246-60EA-465A-9C7B-AD452C69BB9D}" dt="2023-01-13T14:47:59.244" v="13019" actId="478"/>
          <ac:picMkLst>
            <pc:docMk/>
            <pc:sldMk cId="15753831" sldId="1990"/>
            <ac:picMk id="17" creationId="{104E16DC-DE10-474A-951D-EBF804D4C218}"/>
          </ac:picMkLst>
        </pc:picChg>
        <pc:picChg chg="add mod">
          <ac:chgData name="Sophie Bayer" userId="ede9276c-710b-4378-937b-bdc2eba6c543" providerId="ADAL" clId="{E3EDA246-60EA-465A-9C7B-AD452C69BB9D}" dt="2023-01-13T14:47:59.568" v="13020"/>
          <ac:picMkLst>
            <pc:docMk/>
            <pc:sldMk cId="15753831" sldId="1990"/>
            <ac:picMk id="22" creationId="{8A28C1A4-C1D7-481F-B766-16111A2FB19D}"/>
          </ac:picMkLst>
        </pc:picChg>
      </pc:sldChg>
      <pc:sldChg chg="addSp delSp modSp add mod addCm delCm">
        <pc:chgData name="Sophie Bayer" userId="ede9276c-710b-4378-937b-bdc2eba6c543" providerId="ADAL" clId="{E3EDA246-60EA-465A-9C7B-AD452C69BB9D}" dt="2023-01-13T15:18:21.614" v="14535" actId="13926"/>
        <pc:sldMkLst>
          <pc:docMk/>
          <pc:sldMk cId="1053166324" sldId="1991"/>
        </pc:sldMkLst>
        <pc:spChg chg="mod">
          <ac:chgData name="Sophie Bayer" userId="ede9276c-710b-4378-937b-bdc2eba6c543" providerId="ADAL" clId="{E3EDA246-60EA-465A-9C7B-AD452C69BB9D}" dt="2023-01-13T14:45:11.236" v="12740"/>
          <ac:spMkLst>
            <pc:docMk/>
            <pc:sldMk cId="1053166324" sldId="1991"/>
            <ac:spMk id="2" creationId="{086C204E-F617-4773-80B1-4992F18DE87E}"/>
          </ac:spMkLst>
        </pc:spChg>
        <pc:spChg chg="add mod">
          <ac:chgData name="Sophie Bayer" userId="ede9276c-710b-4378-937b-bdc2eba6c543" providerId="ADAL" clId="{E3EDA246-60EA-465A-9C7B-AD452C69BB9D}" dt="2023-01-13T15:12:30.752" v="13759" actId="20577"/>
          <ac:spMkLst>
            <pc:docMk/>
            <pc:sldMk cId="1053166324" sldId="1991"/>
            <ac:spMk id="12" creationId="{9A9EC5C7-379D-4159-881C-64C2A901F5AB}"/>
          </ac:spMkLst>
        </pc:spChg>
        <pc:spChg chg="add mod">
          <ac:chgData name="Sophie Bayer" userId="ede9276c-710b-4378-937b-bdc2eba6c543" providerId="ADAL" clId="{E3EDA246-60EA-465A-9C7B-AD452C69BB9D}" dt="2023-01-13T15:18:21.614" v="14535" actId="13926"/>
          <ac:spMkLst>
            <pc:docMk/>
            <pc:sldMk cId="1053166324" sldId="1991"/>
            <ac:spMk id="13" creationId="{D2F201AB-E8A3-43D5-AD56-0BC3AF8A3B9A}"/>
          </ac:spMkLst>
        </pc:spChg>
        <pc:spChg chg="add mod">
          <ac:chgData name="Sophie Bayer" userId="ede9276c-710b-4378-937b-bdc2eba6c543" providerId="ADAL" clId="{E3EDA246-60EA-465A-9C7B-AD452C69BB9D}" dt="2023-01-13T15:18:14.760" v="14534" actId="14100"/>
          <ac:spMkLst>
            <pc:docMk/>
            <pc:sldMk cId="1053166324" sldId="1991"/>
            <ac:spMk id="14" creationId="{A547D884-A5D7-4E6A-93EB-BD3A96A22DD5}"/>
          </ac:spMkLst>
        </pc:spChg>
        <pc:spChg chg="mod">
          <ac:chgData name="Sophie Bayer" userId="ede9276c-710b-4378-937b-bdc2eba6c543" providerId="ADAL" clId="{E3EDA246-60EA-465A-9C7B-AD452C69BB9D}" dt="2023-01-13T14:45:11.236" v="12740"/>
          <ac:spMkLst>
            <pc:docMk/>
            <pc:sldMk cId="1053166324" sldId="1991"/>
            <ac:spMk id="21" creationId="{87E2A4CF-53F1-4515-BE78-23D925C019ED}"/>
          </ac:spMkLst>
        </pc:spChg>
        <pc:spChg chg="mod">
          <ac:chgData name="Sophie Bayer" userId="ede9276c-710b-4378-937b-bdc2eba6c543" providerId="ADAL" clId="{E3EDA246-60EA-465A-9C7B-AD452C69BB9D}" dt="2023-01-13T14:45:11.236" v="12740"/>
          <ac:spMkLst>
            <pc:docMk/>
            <pc:sldMk cId="1053166324" sldId="1991"/>
            <ac:spMk id="22" creationId="{81732859-9F50-452E-9AFE-EDAF011B271C}"/>
          </ac:spMkLst>
        </pc:spChg>
        <pc:spChg chg="mod">
          <ac:chgData name="Sophie Bayer" userId="ede9276c-710b-4378-937b-bdc2eba6c543" providerId="ADAL" clId="{E3EDA246-60EA-465A-9C7B-AD452C69BB9D}" dt="2023-01-13T14:45:11.236" v="12740"/>
          <ac:spMkLst>
            <pc:docMk/>
            <pc:sldMk cId="1053166324" sldId="1991"/>
            <ac:spMk id="23" creationId="{488F2B86-D27F-43EA-A9E0-B40CE7A6FB50}"/>
          </ac:spMkLst>
        </pc:spChg>
        <pc:spChg chg="mod">
          <ac:chgData name="Sophie Bayer" userId="ede9276c-710b-4378-937b-bdc2eba6c543" providerId="ADAL" clId="{E3EDA246-60EA-465A-9C7B-AD452C69BB9D}" dt="2023-01-13T14:45:11.236" v="12740"/>
          <ac:spMkLst>
            <pc:docMk/>
            <pc:sldMk cId="1053166324" sldId="1991"/>
            <ac:spMk id="24" creationId="{F8828B6B-59CC-417B-9D3C-67A4ECCC3798}"/>
          </ac:spMkLst>
        </pc:spChg>
        <pc:spChg chg="del mod">
          <ac:chgData name="Sophie Bayer" userId="ede9276c-710b-4378-937b-bdc2eba6c543" providerId="ADAL" clId="{E3EDA246-60EA-465A-9C7B-AD452C69BB9D}" dt="2023-01-13T15:13:13.644" v="13786" actId="478"/>
          <ac:spMkLst>
            <pc:docMk/>
            <pc:sldMk cId="1053166324" sldId="1991"/>
            <ac:spMk id="32" creationId="{6FADC90D-C63E-4995-A315-394AAA3E1D8D}"/>
          </ac:spMkLst>
        </pc:spChg>
        <pc:spChg chg="del mod">
          <ac:chgData name="Sophie Bayer" userId="ede9276c-710b-4378-937b-bdc2eba6c543" providerId="ADAL" clId="{E3EDA246-60EA-465A-9C7B-AD452C69BB9D}" dt="2023-01-13T15:13:12.540" v="13785" actId="478"/>
          <ac:spMkLst>
            <pc:docMk/>
            <pc:sldMk cId="1053166324" sldId="1991"/>
            <ac:spMk id="33" creationId="{1797CD25-E47B-462D-9CDE-FDA73CBB813E}"/>
          </ac:spMkLst>
        </pc:spChg>
        <pc:spChg chg="mod">
          <ac:chgData name="Sophie Bayer" userId="ede9276c-710b-4378-937b-bdc2eba6c543" providerId="ADAL" clId="{E3EDA246-60EA-465A-9C7B-AD452C69BB9D}" dt="2023-01-13T15:14:28.873" v="13869" actId="1076"/>
          <ac:spMkLst>
            <pc:docMk/>
            <pc:sldMk cId="1053166324" sldId="1991"/>
            <ac:spMk id="34" creationId="{4DA16978-08B8-44DE-AE66-A99A848C6160}"/>
          </ac:spMkLst>
        </pc:spChg>
        <pc:grpChg chg="mod">
          <ac:chgData name="Sophie Bayer" userId="ede9276c-710b-4378-937b-bdc2eba6c543" providerId="ADAL" clId="{E3EDA246-60EA-465A-9C7B-AD452C69BB9D}" dt="2023-01-13T14:45:11.236" v="12740"/>
          <ac:grpSpMkLst>
            <pc:docMk/>
            <pc:sldMk cId="1053166324" sldId="1991"/>
            <ac:grpSpMk id="1" creationId="{00000000-0000-0000-0000-000000000000}"/>
          </ac:grpSpMkLst>
        </pc:grpChg>
        <pc:graphicFrameChg chg="mod">
          <ac:chgData name="Sophie Bayer" userId="ede9276c-710b-4378-937b-bdc2eba6c543" providerId="ADAL" clId="{E3EDA246-60EA-465A-9C7B-AD452C69BB9D}" dt="2023-01-13T14:45:11.236" v="12740"/>
          <ac:graphicFrameMkLst>
            <pc:docMk/>
            <pc:sldMk cId="1053166324" sldId="1991"/>
            <ac:graphicFrameMk id="5" creationId="{DE507A71-666E-43DC-B180-527351AC62FF}"/>
          </ac:graphicFrameMkLst>
        </pc:graphicFrameChg>
        <pc:picChg chg="mod">
          <ac:chgData name="Sophie Bayer" userId="ede9276c-710b-4378-937b-bdc2eba6c543" providerId="ADAL" clId="{E3EDA246-60EA-465A-9C7B-AD452C69BB9D}" dt="2023-01-13T14:45:11.236" v="12740"/>
          <ac:picMkLst>
            <pc:docMk/>
            <pc:sldMk cId="1053166324" sldId="1991"/>
            <ac:picMk id="18" creationId="{ED7215C1-3596-435E-BD0E-705EA32993A2}"/>
          </ac:picMkLst>
        </pc:picChg>
      </pc:sldChg>
      <pc:sldChg chg="addSp delSp modSp add del mod ord">
        <pc:chgData name="Sophie Bayer" userId="ede9276c-710b-4378-937b-bdc2eba6c543" providerId="ADAL" clId="{E3EDA246-60EA-465A-9C7B-AD452C69BB9D}" dt="2023-01-11T12:12:47.322" v="10415" actId="47"/>
        <pc:sldMkLst>
          <pc:docMk/>
          <pc:sldMk cId="1125486335" sldId="1991"/>
        </pc:sldMkLst>
        <pc:spChg chg="add del mod">
          <ac:chgData name="Sophie Bayer" userId="ede9276c-710b-4378-937b-bdc2eba6c543" providerId="ADAL" clId="{E3EDA246-60EA-465A-9C7B-AD452C69BB9D}" dt="2023-01-11T12:07:38.528" v="10328" actId="478"/>
          <ac:spMkLst>
            <pc:docMk/>
            <pc:sldMk cId="1125486335" sldId="1991"/>
            <ac:spMk id="2" creationId="{0F8BF24F-A2E6-4CF6-8D40-59F7B68CAF25}"/>
          </ac:spMkLst>
        </pc:spChg>
        <pc:spChg chg="mod">
          <ac:chgData name="Sophie Bayer" userId="ede9276c-710b-4378-937b-bdc2eba6c543" providerId="ADAL" clId="{E3EDA246-60EA-465A-9C7B-AD452C69BB9D}" dt="2023-01-11T12:07:05.804" v="10308"/>
          <ac:spMkLst>
            <pc:docMk/>
            <pc:sldMk cId="1125486335" sldId="1991"/>
            <ac:spMk id="4" creationId="{BEE9A4E6-2BCE-456F-81BF-9B495BB56FD8}"/>
          </ac:spMkLst>
        </pc:spChg>
        <pc:spChg chg="add del mod">
          <ac:chgData name="Sophie Bayer" userId="ede9276c-710b-4378-937b-bdc2eba6c543" providerId="ADAL" clId="{E3EDA246-60EA-465A-9C7B-AD452C69BB9D}" dt="2023-01-11T12:07:38.528" v="10328" actId="478"/>
          <ac:spMkLst>
            <pc:docMk/>
            <pc:sldMk cId="1125486335" sldId="1991"/>
            <ac:spMk id="5" creationId="{36CBBE25-9587-4174-9A2E-0C337BE71BFA}"/>
          </ac:spMkLst>
        </pc:spChg>
        <pc:spChg chg="mod">
          <ac:chgData name="Sophie Bayer" userId="ede9276c-710b-4378-937b-bdc2eba6c543" providerId="ADAL" clId="{E3EDA246-60EA-465A-9C7B-AD452C69BB9D}" dt="2023-01-11T12:07:05.804" v="10308"/>
          <ac:spMkLst>
            <pc:docMk/>
            <pc:sldMk cId="1125486335" sldId="1991"/>
            <ac:spMk id="40" creationId="{70BA9DAC-6772-4AF9-B414-C40244B3F93E}"/>
          </ac:spMkLst>
        </pc:spChg>
        <pc:spChg chg="add mod">
          <ac:chgData name="Sophie Bayer" userId="ede9276c-710b-4378-937b-bdc2eba6c543" providerId="ADAL" clId="{E3EDA246-60EA-465A-9C7B-AD452C69BB9D}" dt="2023-01-11T12:07:25.654" v="10312"/>
          <ac:spMkLst>
            <pc:docMk/>
            <pc:sldMk cId="1125486335" sldId="1991"/>
            <ac:spMk id="46" creationId="{7359C478-39D6-4F98-80A4-0E85A6958791}"/>
          </ac:spMkLst>
        </pc:spChg>
        <pc:spChg chg="add mod">
          <ac:chgData name="Sophie Bayer" userId="ede9276c-710b-4378-937b-bdc2eba6c543" providerId="ADAL" clId="{E3EDA246-60EA-465A-9C7B-AD452C69BB9D}" dt="2023-01-11T12:07:25.654" v="10312"/>
          <ac:spMkLst>
            <pc:docMk/>
            <pc:sldMk cId="1125486335" sldId="1991"/>
            <ac:spMk id="47" creationId="{39F57DC6-55D7-42D0-9328-B09266CA4C3E}"/>
          </ac:spMkLst>
        </pc:spChg>
        <pc:spChg chg="add mod">
          <ac:chgData name="Sophie Bayer" userId="ede9276c-710b-4378-937b-bdc2eba6c543" providerId="ADAL" clId="{E3EDA246-60EA-465A-9C7B-AD452C69BB9D}" dt="2023-01-11T12:07:25.654" v="10312"/>
          <ac:spMkLst>
            <pc:docMk/>
            <pc:sldMk cId="1125486335" sldId="1991"/>
            <ac:spMk id="48" creationId="{8A12C78F-D5BC-4584-9D49-EB727F6BF71F}"/>
          </ac:spMkLst>
        </pc:spChg>
        <pc:spChg chg="add mod">
          <ac:chgData name="Sophie Bayer" userId="ede9276c-710b-4378-937b-bdc2eba6c543" providerId="ADAL" clId="{E3EDA246-60EA-465A-9C7B-AD452C69BB9D}" dt="2023-01-11T12:07:25.654" v="10312"/>
          <ac:spMkLst>
            <pc:docMk/>
            <pc:sldMk cId="1125486335" sldId="1991"/>
            <ac:spMk id="49" creationId="{C95C2842-2BCB-4212-9A4E-73A476DB4D60}"/>
          </ac:spMkLst>
        </pc:spChg>
        <pc:spChg chg="add mod">
          <ac:chgData name="Sophie Bayer" userId="ede9276c-710b-4378-937b-bdc2eba6c543" providerId="ADAL" clId="{E3EDA246-60EA-465A-9C7B-AD452C69BB9D}" dt="2023-01-11T12:07:25.654" v="10312"/>
          <ac:spMkLst>
            <pc:docMk/>
            <pc:sldMk cId="1125486335" sldId="1991"/>
            <ac:spMk id="52" creationId="{A5CC6196-9B99-45D9-BC3B-0A0E4345904D}"/>
          </ac:spMkLst>
        </pc:spChg>
        <pc:spChg chg="add mod">
          <ac:chgData name="Sophie Bayer" userId="ede9276c-710b-4378-937b-bdc2eba6c543" providerId="ADAL" clId="{E3EDA246-60EA-465A-9C7B-AD452C69BB9D}" dt="2023-01-11T12:07:25.654" v="10312"/>
          <ac:spMkLst>
            <pc:docMk/>
            <pc:sldMk cId="1125486335" sldId="1991"/>
            <ac:spMk id="53" creationId="{088907AE-DF7C-4E40-9BB9-6E0351A43E61}"/>
          </ac:spMkLst>
        </pc:spChg>
        <pc:spChg chg="add mod">
          <ac:chgData name="Sophie Bayer" userId="ede9276c-710b-4378-937b-bdc2eba6c543" providerId="ADAL" clId="{E3EDA246-60EA-465A-9C7B-AD452C69BB9D}" dt="2023-01-11T12:07:25.654" v="10312"/>
          <ac:spMkLst>
            <pc:docMk/>
            <pc:sldMk cId="1125486335" sldId="1991"/>
            <ac:spMk id="54" creationId="{C33272DF-9C02-4D67-B26A-06A1830C5376}"/>
          </ac:spMkLst>
        </pc:spChg>
        <pc:spChg chg="add mod">
          <ac:chgData name="Sophie Bayer" userId="ede9276c-710b-4378-937b-bdc2eba6c543" providerId="ADAL" clId="{E3EDA246-60EA-465A-9C7B-AD452C69BB9D}" dt="2023-01-11T12:07:25.654" v="10312"/>
          <ac:spMkLst>
            <pc:docMk/>
            <pc:sldMk cId="1125486335" sldId="1991"/>
            <ac:spMk id="55" creationId="{79C31389-ED38-4CCC-A419-9EEEEF8ECCDE}"/>
          </ac:spMkLst>
        </pc:spChg>
        <pc:spChg chg="add mod">
          <ac:chgData name="Sophie Bayer" userId="ede9276c-710b-4378-937b-bdc2eba6c543" providerId="ADAL" clId="{E3EDA246-60EA-465A-9C7B-AD452C69BB9D}" dt="2023-01-11T12:07:25.654" v="10312"/>
          <ac:spMkLst>
            <pc:docMk/>
            <pc:sldMk cId="1125486335" sldId="1991"/>
            <ac:spMk id="56" creationId="{23E6B088-913F-41BA-8E76-156FB73772D7}"/>
          </ac:spMkLst>
        </pc:spChg>
        <pc:spChg chg="add mod">
          <ac:chgData name="Sophie Bayer" userId="ede9276c-710b-4378-937b-bdc2eba6c543" providerId="ADAL" clId="{E3EDA246-60EA-465A-9C7B-AD452C69BB9D}" dt="2023-01-11T12:07:25.654" v="10312"/>
          <ac:spMkLst>
            <pc:docMk/>
            <pc:sldMk cId="1125486335" sldId="1991"/>
            <ac:spMk id="57" creationId="{82A897C2-6477-41EA-B071-A70B4E2FC7F1}"/>
          </ac:spMkLst>
        </pc:spChg>
        <pc:spChg chg="mod">
          <ac:chgData name="Sophie Bayer" userId="ede9276c-710b-4378-937b-bdc2eba6c543" providerId="ADAL" clId="{E3EDA246-60EA-465A-9C7B-AD452C69BB9D}" dt="2023-01-11T12:07:05.804" v="10308"/>
          <ac:spMkLst>
            <pc:docMk/>
            <pc:sldMk cId="1125486335" sldId="1991"/>
            <ac:spMk id="61" creationId="{A750D20F-4394-4ECC-8544-778894C30DBC}"/>
          </ac:spMkLst>
        </pc:spChg>
        <pc:spChg chg="mod">
          <ac:chgData name="Sophie Bayer" userId="ede9276c-710b-4378-937b-bdc2eba6c543" providerId="ADAL" clId="{E3EDA246-60EA-465A-9C7B-AD452C69BB9D}" dt="2023-01-11T12:07:05.804" v="10308"/>
          <ac:spMkLst>
            <pc:docMk/>
            <pc:sldMk cId="1125486335" sldId="1991"/>
            <ac:spMk id="78" creationId="{81F9F7E3-840D-4157-A27C-DD948A36F164}"/>
          </ac:spMkLst>
        </pc:spChg>
        <pc:spChg chg="mod">
          <ac:chgData name="Sophie Bayer" userId="ede9276c-710b-4378-937b-bdc2eba6c543" providerId="ADAL" clId="{E3EDA246-60EA-465A-9C7B-AD452C69BB9D}" dt="2023-01-11T12:07:05.804" v="10308"/>
          <ac:spMkLst>
            <pc:docMk/>
            <pc:sldMk cId="1125486335" sldId="1991"/>
            <ac:spMk id="79" creationId="{727B89BD-34CE-458C-BC9B-8066BC508956}"/>
          </ac:spMkLst>
        </pc:spChg>
        <pc:spChg chg="mod">
          <ac:chgData name="Sophie Bayer" userId="ede9276c-710b-4378-937b-bdc2eba6c543" providerId="ADAL" clId="{E3EDA246-60EA-465A-9C7B-AD452C69BB9D}" dt="2023-01-11T12:07:05.804" v="10308"/>
          <ac:spMkLst>
            <pc:docMk/>
            <pc:sldMk cId="1125486335" sldId="1991"/>
            <ac:spMk id="80" creationId="{8D3ED845-F1F4-4680-9328-8BF18C06DE5C}"/>
          </ac:spMkLst>
        </pc:spChg>
        <pc:spChg chg="mod">
          <ac:chgData name="Sophie Bayer" userId="ede9276c-710b-4378-937b-bdc2eba6c543" providerId="ADAL" clId="{E3EDA246-60EA-465A-9C7B-AD452C69BB9D}" dt="2023-01-11T12:07:05.804" v="10308"/>
          <ac:spMkLst>
            <pc:docMk/>
            <pc:sldMk cId="1125486335" sldId="1991"/>
            <ac:spMk id="82" creationId="{DD205991-9458-4807-9487-28216ED3A7A2}"/>
          </ac:spMkLst>
        </pc:spChg>
        <pc:spChg chg="mod">
          <ac:chgData name="Sophie Bayer" userId="ede9276c-710b-4378-937b-bdc2eba6c543" providerId="ADAL" clId="{E3EDA246-60EA-465A-9C7B-AD452C69BB9D}" dt="2023-01-11T12:07:05.804" v="10308"/>
          <ac:spMkLst>
            <pc:docMk/>
            <pc:sldMk cId="1125486335" sldId="1991"/>
            <ac:spMk id="83" creationId="{94AF5AF5-6A30-4BB5-A6FD-AA8D568A12C3}"/>
          </ac:spMkLst>
        </pc:spChg>
        <pc:spChg chg="mod">
          <ac:chgData name="Sophie Bayer" userId="ede9276c-710b-4378-937b-bdc2eba6c543" providerId="ADAL" clId="{E3EDA246-60EA-465A-9C7B-AD452C69BB9D}" dt="2023-01-11T12:07:05.804" v="10308"/>
          <ac:spMkLst>
            <pc:docMk/>
            <pc:sldMk cId="1125486335" sldId="1991"/>
            <ac:spMk id="85" creationId="{2B3B713B-1785-4BBD-AD1B-66C5A7AFC362}"/>
          </ac:spMkLst>
        </pc:spChg>
        <pc:spChg chg="mod">
          <ac:chgData name="Sophie Bayer" userId="ede9276c-710b-4378-937b-bdc2eba6c543" providerId="ADAL" clId="{E3EDA246-60EA-465A-9C7B-AD452C69BB9D}" dt="2023-01-11T12:07:05.804" v="10308"/>
          <ac:spMkLst>
            <pc:docMk/>
            <pc:sldMk cId="1125486335" sldId="1991"/>
            <ac:spMk id="86" creationId="{3DC9417F-34DC-4B4B-9A43-D06ED92C282D}"/>
          </ac:spMkLst>
        </pc:spChg>
        <pc:spChg chg="mod">
          <ac:chgData name="Sophie Bayer" userId="ede9276c-710b-4378-937b-bdc2eba6c543" providerId="ADAL" clId="{E3EDA246-60EA-465A-9C7B-AD452C69BB9D}" dt="2023-01-11T12:07:05.804" v="10308"/>
          <ac:spMkLst>
            <pc:docMk/>
            <pc:sldMk cId="1125486335" sldId="1991"/>
            <ac:spMk id="88" creationId="{2268DFB0-0FD0-49C9-98E1-412AF1937CB8}"/>
          </ac:spMkLst>
        </pc:spChg>
        <pc:spChg chg="mod">
          <ac:chgData name="Sophie Bayer" userId="ede9276c-710b-4378-937b-bdc2eba6c543" providerId="ADAL" clId="{E3EDA246-60EA-465A-9C7B-AD452C69BB9D}" dt="2023-01-11T12:07:05.804" v="10308"/>
          <ac:spMkLst>
            <pc:docMk/>
            <pc:sldMk cId="1125486335" sldId="1991"/>
            <ac:spMk id="89" creationId="{9092BFB3-5473-4F15-89E6-23F6660307A5}"/>
          </ac:spMkLst>
        </pc:spChg>
        <pc:spChg chg="mod">
          <ac:chgData name="Sophie Bayer" userId="ede9276c-710b-4378-937b-bdc2eba6c543" providerId="ADAL" clId="{E3EDA246-60EA-465A-9C7B-AD452C69BB9D}" dt="2023-01-11T12:07:05.804" v="10308"/>
          <ac:spMkLst>
            <pc:docMk/>
            <pc:sldMk cId="1125486335" sldId="1991"/>
            <ac:spMk id="91" creationId="{A719AB7A-27E6-476A-AB6A-5B55FE6E67F2}"/>
          </ac:spMkLst>
        </pc:spChg>
        <pc:spChg chg="mod">
          <ac:chgData name="Sophie Bayer" userId="ede9276c-710b-4378-937b-bdc2eba6c543" providerId="ADAL" clId="{E3EDA246-60EA-465A-9C7B-AD452C69BB9D}" dt="2023-01-11T12:07:05.804" v="10308"/>
          <ac:spMkLst>
            <pc:docMk/>
            <pc:sldMk cId="1125486335" sldId="1991"/>
            <ac:spMk id="92" creationId="{50D8726E-9544-485B-9258-4DE6389ABE57}"/>
          </ac:spMkLst>
        </pc:spChg>
        <pc:spChg chg="mod">
          <ac:chgData name="Sophie Bayer" userId="ede9276c-710b-4378-937b-bdc2eba6c543" providerId="ADAL" clId="{E3EDA246-60EA-465A-9C7B-AD452C69BB9D}" dt="2023-01-11T12:07:05.804" v="10308"/>
          <ac:spMkLst>
            <pc:docMk/>
            <pc:sldMk cId="1125486335" sldId="1991"/>
            <ac:spMk id="93" creationId="{9E91E4B9-83A6-433B-A355-9BD5F70722D7}"/>
          </ac:spMkLst>
        </pc:spChg>
        <pc:spChg chg="mod">
          <ac:chgData name="Sophie Bayer" userId="ede9276c-710b-4378-937b-bdc2eba6c543" providerId="ADAL" clId="{E3EDA246-60EA-465A-9C7B-AD452C69BB9D}" dt="2023-01-11T12:07:05.804" v="10308"/>
          <ac:spMkLst>
            <pc:docMk/>
            <pc:sldMk cId="1125486335" sldId="1991"/>
            <ac:spMk id="94" creationId="{19E6614F-6203-4532-9AC0-A87C23922C8B}"/>
          </ac:spMkLst>
        </pc:spChg>
        <pc:spChg chg="mod">
          <ac:chgData name="Sophie Bayer" userId="ede9276c-710b-4378-937b-bdc2eba6c543" providerId="ADAL" clId="{E3EDA246-60EA-465A-9C7B-AD452C69BB9D}" dt="2023-01-11T12:07:05.804" v="10308"/>
          <ac:spMkLst>
            <pc:docMk/>
            <pc:sldMk cId="1125486335" sldId="1991"/>
            <ac:spMk id="95" creationId="{F588F0D8-8AB3-40E9-B4D9-01DCA8340C0A}"/>
          </ac:spMkLst>
        </pc:spChg>
        <pc:spChg chg="mod">
          <ac:chgData name="Sophie Bayer" userId="ede9276c-710b-4378-937b-bdc2eba6c543" providerId="ADAL" clId="{E3EDA246-60EA-465A-9C7B-AD452C69BB9D}" dt="2023-01-11T12:07:05.804" v="10308"/>
          <ac:spMkLst>
            <pc:docMk/>
            <pc:sldMk cId="1125486335" sldId="1991"/>
            <ac:spMk id="97" creationId="{EE89D12A-E9A8-4966-9937-375BB7E60748}"/>
          </ac:spMkLst>
        </pc:spChg>
        <pc:spChg chg="mod">
          <ac:chgData name="Sophie Bayer" userId="ede9276c-710b-4378-937b-bdc2eba6c543" providerId="ADAL" clId="{E3EDA246-60EA-465A-9C7B-AD452C69BB9D}" dt="2023-01-11T12:07:05.804" v="10308"/>
          <ac:spMkLst>
            <pc:docMk/>
            <pc:sldMk cId="1125486335" sldId="1991"/>
            <ac:spMk id="98" creationId="{DA746F3E-CED6-483B-98B0-3A2125E612BF}"/>
          </ac:spMkLst>
        </pc:spChg>
        <pc:spChg chg="mod">
          <ac:chgData name="Sophie Bayer" userId="ede9276c-710b-4378-937b-bdc2eba6c543" providerId="ADAL" clId="{E3EDA246-60EA-465A-9C7B-AD452C69BB9D}" dt="2023-01-11T12:07:05.804" v="10308"/>
          <ac:spMkLst>
            <pc:docMk/>
            <pc:sldMk cId="1125486335" sldId="1991"/>
            <ac:spMk id="100" creationId="{B43115DC-84F5-4455-8F11-2984D0B9EC46}"/>
          </ac:spMkLst>
        </pc:spChg>
        <pc:spChg chg="mod">
          <ac:chgData name="Sophie Bayer" userId="ede9276c-710b-4378-937b-bdc2eba6c543" providerId="ADAL" clId="{E3EDA246-60EA-465A-9C7B-AD452C69BB9D}" dt="2023-01-11T12:07:05.804" v="10308"/>
          <ac:spMkLst>
            <pc:docMk/>
            <pc:sldMk cId="1125486335" sldId="1991"/>
            <ac:spMk id="101" creationId="{1D00C5D4-3B3F-4790-A9A2-9A3E1564FCDA}"/>
          </ac:spMkLst>
        </pc:spChg>
        <pc:spChg chg="mod">
          <ac:chgData name="Sophie Bayer" userId="ede9276c-710b-4378-937b-bdc2eba6c543" providerId="ADAL" clId="{E3EDA246-60EA-465A-9C7B-AD452C69BB9D}" dt="2023-01-11T12:07:05.804" v="10308"/>
          <ac:spMkLst>
            <pc:docMk/>
            <pc:sldMk cId="1125486335" sldId="1991"/>
            <ac:spMk id="102" creationId="{7D6E07C5-0F7C-48F5-AAC9-7226EC0F6EB8}"/>
          </ac:spMkLst>
        </pc:spChg>
        <pc:spChg chg="mod">
          <ac:chgData name="Sophie Bayer" userId="ede9276c-710b-4378-937b-bdc2eba6c543" providerId="ADAL" clId="{E3EDA246-60EA-465A-9C7B-AD452C69BB9D}" dt="2023-01-11T12:07:05.804" v="10308"/>
          <ac:spMkLst>
            <pc:docMk/>
            <pc:sldMk cId="1125486335" sldId="1991"/>
            <ac:spMk id="103" creationId="{F2AC23C8-F943-463B-AFA6-CF8290A817A6}"/>
          </ac:spMkLst>
        </pc:spChg>
        <pc:spChg chg="mod">
          <ac:chgData name="Sophie Bayer" userId="ede9276c-710b-4378-937b-bdc2eba6c543" providerId="ADAL" clId="{E3EDA246-60EA-465A-9C7B-AD452C69BB9D}" dt="2023-01-11T12:07:05.804" v="10308"/>
          <ac:spMkLst>
            <pc:docMk/>
            <pc:sldMk cId="1125486335" sldId="1991"/>
            <ac:spMk id="104" creationId="{9F62A8A9-5EE7-401A-9B37-B1361D9FD462}"/>
          </ac:spMkLst>
        </pc:spChg>
        <pc:spChg chg="mod">
          <ac:chgData name="Sophie Bayer" userId="ede9276c-710b-4378-937b-bdc2eba6c543" providerId="ADAL" clId="{E3EDA246-60EA-465A-9C7B-AD452C69BB9D}" dt="2023-01-11T12:07:05.804" v="10308"/>
          <ac:spMkLst>
            <pc:docMk/>
            <pc:sldMk cId="1125486335" sldId="1991"/>
            <ac:spMk id="105" creationId="{535B470E-647F-4400-8FD2-C2CB76C014CE}"/>
          </ac:spMkLst>
        </pc:spChg>
        <pc:spChg chg="mod">
          <ac:chgData name="Sophie Bayer" userId="ede9276c-710b-4378-937b-bdc2eba6c543" providerId="ADAL" clId="{E3EDA246-60EA-465A-9C7B-AD452C69BB9D}" dt="2023-01-11T12:07:05.804" v="10308"/>
          <ac:spMkLst>
            <pc:docMk/>
            <pc:sldMk cId="1125486335" sldId="1991"/>
            <ac:spMk id="106" creationId="{B3F4340E-C264-49BF-A195-99F90B411F67}"/>
          </ac:spMkLst>
        </pc:spChg>
        <pc:spChg chg="mod">
          <ac:chgData name="Sophie Bayer" userId="ede9276c-710b-4378-937b-bdc2eba6c543" providerId="ADAL" clId="{E3EDA246-60EA-465A-9C7B-AD452C69BB9D}" dt="2023-01-11T12:07:05.804" v="10308"/>
          <ac:spMkLst>
            <pc:docMk/>
            <pc:sldMk cId="1125486335" sldId="1991"/>
            <ac:spMk id="108" creationId="{33A777D9-C2F9-4CA1-A4A2-83CB4CC07B33}"/>
          </ac:spMkLst>
        </pc:spChg>
        <pc:spChg chg="mod">
          <ac:chgData name="Sophie Bayer" userId="ede9276c-710b-4378-937b-bdc2eba6c543" providerId="ADAL" clId="{E3EDA246-60EA-465A-9C7B-AD452C69BB9D}" dt="2023-01-11T12:07:05.804" v="10308"/>
          <ac:spMkLst>
            <pc:docMk/>
            <pc:sldMk cId="1125486335" sldId="1991"/>
            <ac:spMk id="109" creationId="{C418C3B3-0CB7-410E-8C93-B20CB3B325EC}"/>
          </ac:spMkLst>
        </pc:spChg>
        <pc:spChg chg="mod">
          <ac:chgData name="Sophie Bayer" userId="ede9276c-710b-4378-937b-bdc2eba6c543" providerId="ADAL" clId="{E3EDA246-60EA-465A-9C7B-AD452C69BB9D}" dt="2023-01-11T12:07:05.804" v="10308"/>
          <ac:spMkLst>
            <pc:docMk/>
            <pc:sldMk cId="1125486335" sldId="1991"/>
            <ac:spMk id="111" creationId="{198D0653-27AA-4C1C-BD06-64F8BA654848}"/>
          </ac:spMkLst>
        </pc:spChg>
        <pc:spChg chg="mod">
          <ac:chgData name="Sophie Bayer" userId="ede9276c-710b-4378-937b-bdc2eba6c543" providerId="ADAL" clId="{E3EDA246-60EA-465A-9C7B-AD452C69BB9D}" dt="2023-01-11T12:07:05.804" v="10308"/>
          <ac:spMkLst>
            <pc:docMk/>
            <pc:sldMk cId="1125486335" sldId="1991"/>
            <ac:spMk id="112" creationId="{383DB11E-8855-4F75-9B7B-8E69EFBAEF81}"/>
          </ac:spMkLst>
        </pc:spChg>
        <pc:grpChg chg="mod">
          <ac:chgData name="Sophie Bayer" userId="ede9276c-710b-4378-937b-bdc2eba6c543" providerId="ADAL" clId="{E3EDA246-60EA-465A-9C7B-AD452C69BB9D}" dt="2023-01-11T12:07:05.804" v="10308"/>
          <ac:grpSpMkLst>
            <pc:docMk/>
            <pc:sldMk cId="1125486335" sldId="1991"/>
            <ac:grpSpMk id="1" creationId="{00000000-0000-0000-0000-000000000000}"/>
          </ac:grpSpMkLst>
        </pc:grpChg>
        <pc:grpChg chg="mod">
          <ac:chgData name="Sophie Bayer" userId="ede9276c-710b-4378-937b-bdc2eba6c543" providerId="ADAL" clId="{E3EDA246-60EA-465A-9C7B-AD452C69BB9D}" dt="2023-01-11T12:07:05.804" v="10308"/>
          <ac:grpSpMkLst>
            <pc:docMk/>
            <pc:sldMk cId="1125486335" sldId="1991"/>
            <ac:grpSpMk id="62" creationId="{36AE9F48-4351-46C7-92E2-B0DF4BFDA911}"/>
          </ac:grpSpMkLst>
        </pc:grpChg>
        <pc:grpChg chg="mod">
          <ac:chgData name="Sophie Bayer" userId="ede9276c-710b-4378-937b-bdc2eba6c543" providerId="ADAL" clId="{E3EDA246-60EA-465A-9C7B-AD452C69BB9D}" dt="2023-01-11T12:07:05.804" v="10308"/>
          <ac:grpSpMkLst>
            <pc:docMk/>
            <pc:sldMk cId="1125486335" sldId="1991"/>
            <ac:grpSpMk id="81" creationId="{C7C3B0B9-122C-4BED-96B2-CF1B73D7CBC6}"/>
          </ac:grpSpMkLst>
        </pc:grpChg>
        <pc:grpChg chg="mod">
          <ac:chgData name="Sophie Bayer" userId="ede9276c-710b-4378-937b-bdc2eba6c543" providerId="ADAL" clId="{E3EDA246-60EA-465A-9C7B-AD452C69BB9D}" dt="2023-01-11T12:07:05.804" v="10308"/>
          <ac:grpSpMkLst>
            <pc:docMk/>
            <pc:sldMk cId="1125486335" sldId="1991"/>
            <ac:grpSpMk id="84" creationId="{593489D2-0880-480C-8486-CA009DB2E94A}"/>
          </ac:grpSpMkLst>
        </pc:grpChg>
        <pc:grpChg chg="mod">
          <ac:chgData name="Sophie Bayer" userId="ede9276c-710b-4378-937b-bdc2eba6c543" providerId="ADAL" clId="{E3EDA246-60EA-465A-9C7B-AD452C69BB9D}" dt="2023-01-11T12:07:05.804" v="10308"/>
          <ac:grpSpMkLst>
            <pc:docMk/>
            <pc:sldMk cId="1125486335" sldId="1991"/>
            <ac:grpSpMk id="87" creationId="{C462D283-96E4-4912-B62F-0EBD8F9408EF}"/>
          </ac:grpSpMkLst>
        </pc:grpChg>
        <pc:grpChg chg="mod">
          <ac:chgData name="Sophie Bayer" userId="ede9276c-710b-4378-937b-bdc2eba6c543" providerId="ADAL" clId="{E3EDA246-60EA-465A-9C7B-AD452C69BB9D}" dt="2023-01-11T12:07:05.804" v="10308"/>
          <ac:grpSpMkLst>
            <pc:docMk/>
            <pc:sldMk cId="1125486335" sldId="1991"/>
            <ac:grpSpMk id="90" creationId="{CC64B2BB-CF38-437A-9477-61E4AEEB2F33}"/>
          </ac:grpSpMkLst>
        </pc:grpChg>
        <pc:grpChg chg="mod">
          <ac:chgData name="Sophie Bayer" userId="ede9276c-710b-4378-937b-bdc2eba6c543" providerId="ADAL" clId="{E3EDA246-60EA-465A-9C7B-AD452C69BB9D}" dt="2023-01-11T12:07:05.804" v="10308"/>
          <ac:grpSpMkLst>
            <pc:docMk/>
            <pc:sldMk cId="1125486335" sldId="1991"/>
            <ac:grpSpMk id="96" creationId="{D69AFB8F-CA23-4FA9-B900-B2EEC3429940}"/>
          </ac:grpSpMkLst>
        </pc:grpChg>
        <pc:grpChg chg="mod">
          <ac:chgData name="Sophie Bayer" userId="ede9276c-710b-4378-937b-bdc2eba6c543" providerId="ADAL" clId="{E3EDA246-60EA-465A-9C7B-AD452C69BB9D}" dt="2023-01-11T12:07:05.804" v="10308"/>
          <ac:grpSpMkLst>
            <pc:docMk/>
            <pc:sldMk cId="1125486335" sldId="1991"/>
            <ac:grpSpMk id="99" creationId="{B7F8EFC4-3C8C-440F-BD01-57AE2F65F5E7}"/>
          </ac:grpSpMkLst>
        </pc:grpChg>
        <pc:grpChg chg="mod">
          <ac:chgData name="Sophie Bayer" userId="ede9276c-710b-4378-937b-bdc2eba6c543" providerId="ADAL" clId="{E3EDA246-60EA-465A-9C7B-AD452C69BB9D}" dt="2023-01-11T12:07:05.804" v="10308"/>
          <ac:grpSpMkLst>
            <pc:docMk/>
            <pc:sldMk cId="1125486335" sldId="1991"/>
            <ac:grpSpMk id="107" creationId="{68236FDC-96A1-4CA2-9600-CAD2F48A2BD3}"/>
          </ac:grpSpMkLst>
        </pc:grpChg>
        <pc:grpChg chg="mod">
          <ac:chgData name="Sophie Bayer" userId="ede9276c-710b-4378-937b-bdc2eba6c543" providerId="ADAL" clId="{E3EDA246-60EA-465A-9C7B-AD452C69BB9D}" dt="2023-01-11T12:07:05.804" v="10308"/>
          <ac:grpSpMkLst>
            <pc:docMk/>
            <pc:sldMk cId="1125486335" sldId="1991"/>
            <ac:grpSpMk id="110" creationId="{DDDAF1CE-565A-4F74-B697-1A5E61BA37E2}"/>
          </ac:grpSpMkLst>
        </pc:grpChg>
        <pc:graphicFrameChg chg="mod">
          <ac:chgData name="Sophie Bayer" userId="ede9276c-710b-4378-937b-bdc2eba6c543" providerId="ADAL" clId="{E3EDA246-60EA-465A-9C7B-AD452C69BB9D}" dt="2023-01-11T12:07:38.547" v="10330"/>
          <ac:graphicFrameMkLst>
            <pc:docMk/>
            <pc:sldMk cId="1125486335" sldId="1991"/>
            <ac:graphicFrameMk id="6" creationId="{2CA615AF-F9B8-4523-BF47-85C929EE8B61}"/>
          </ac:graphicFrameMkLst>
        </pc:graphicFrameChg>
        <pc:picChg chg="add mod">
          <ac:chgData name="Sophie Bayer" userId="ede9276c-710b-4378-937b-bdc2eba6c543" providerId="ADAL" clId="{E3EDA246-60EA-465A-9C7B-AD452C69BB9D}" dt="2023-01-11T12:07:25.654" v="10312"/>
          <ac:picMkLst>
            <pc:docMk/>
            <pc:sldMk cId="1125486335" sldId="1991"/>
            <ac:picMk id="45" creationId="{695BD65B-1B2B-4E16-946C-27A8DA7916A9}"/>
          </ac:picMkLst>
        </pc:picChg>
        <pc:picChg chg="add mod">
          <ac:chgData name="Sophie Bayer" userId="ede9276c-710b-4378-937b-bdc2eba6c543" providerId="ADAL" clId="{E3EDA246-60EA-465A-9C7B-AD452C69BB9D}" dt="2023-01-11T12:07:25.654" v="10312"/>
          <ac:picMkLst>
            <pc:docMk/>
            <pc:sldMk cId="1125486335" sldId="1991"/>
            <ac:picMk id="50" creationId="{5B58A506-C55A-4367-9852-D0F96109C393}"/>
          </ac:picMkLst>
        </pc:picChg>
        <pc:picChg chg="add mod">
          <ac:chgData name="Sophie Bayer" userId="ede9276c-710b-4378-937b-bdc2eba6c543" providerId="ADAL" clId="{E3EDA246-60EA-465A-9C7B-AD452C69BB9D}" dt="2023-01-11T12:07:25.654" v="10312"/>
          <ac:picMkLst>
            <pc:docMk/>
            <pc:sldMk cId="1125486335" sldId="1991"/>
            <ac:picMk id="51" creationId="{19CE1C96-F2EC-4917-B4DD-7751C03A1AB3}"/>
          </ac:picMkLst>
        </pc:picChg>
      </pc:sldChg>
      <pc:sldChg chg="new add del">
        <pc:chgData name="Sophie Bayer" userId="ede9276c-710b-4378-937b-bdc2eba6c543" providerId="ADAL" clId="{E3EDA246-60EA-465A-9C7B-AD452C69BB9D}" dt="2023-01-11T12:28:57.914" v="10951" actId="47"/>
        <pc:sldMkLst>
          <pc:docMk/>
          <pc:sldMk cId="2260393405" sldId="1991"/>
        </pc:sldMkLst>
      </pc:sldChg>
      <pc:sldChg chg="addSp delSp modSp add mod">
        <pc:chgData name="Sophie Bayer" userId="ede9276c-710b-4378-937b-bdc2eba6c543" providerId="ADAL" clId="{E3EDA246-60EA-465A-9C7B-AD452C69BB9D}" dt="2023-01-13T15:26:08.678" v="15315" actId="478"/>
        <pc:sldMkLst>
          <pc:docMk/>
          <pc:sldMk cId="3606739673" sldId="1992"/>
        </pc:sldMkLst>
        <pc:spChg chg="mod">
          <ac:chgData name="Sophie Bayer" userId="ede9276c-710b-4378-937b-bdc2eba6c543" providerId="ADAL" clId="{E3EDA246-60EA-465A-9C7B-AD452C69BB9D}" dt="2023-01-13T15:05:00.069" v="13637"/>
          <ac:spMkLst>
            <pc:docMk/>
            <pc:sldMk cId="3606739673" sldId="1992"/>
            <ac:spMk id="6" creationId="{DFBE1B6A-EDED-46E9-8CE2-85A83E81BB0F}"/>
          </ac:spMkLst>
        </pc:spChg>
        <pc:spChg chg="mod">
          <ac:chgData name="Sophie Bayer" userId="ede9276c-710b-4378-937b-bdc2eba6c543" providerId="ADAL" clId="{E3EDA246-60EA-465A-9C7B-AD452C69BB9D}" dt="2023-01-13T15:05:00.069" v="13637"/>
          <ac:spMkLst>
            <pc:docMk/>
            <pc:sldMk cId="3606739673" sldId="1992"/>
            <ac:spMk id="7" creationId="{6EB98430-6FE2-4C8E-870C-A26F11572EAE}"/>
          </ac:spMkLst>
        </pc:spChg>
        <pc:spChg chg="mod">
          <ac:chgData name="Sophie Bayer" userId="ede9276c-710b-4378-937b-bdc2eba6c543" providerId="ADAL" clId="{E3EDA246-60EA-465A-9C7B-AD452C69BB9D}" dt="2023-01-13T15:05:00.069" v="13637"/>
          <ac:spMkLst>
            <pc:docMk/>
            <pc:sldMk cId="3606739673" sldId="1992"/>
            <ac:spMk id="8" creationId="{DE1F2D89-3E72-4838-B639-221ABCFE0485}"/>
          </ac:spMkLst>
        </pc:spChg>
        <pc:spChg chg="mod">
          <ac:chgData name="Sophie Bayer" userId="ede9276c-710b-4378-937b-bdc2eba6c543" providerId="ADAL" clId="{E3EDA246-60EA-465A-9C7B-AD452C69BB9D}" dt="2023-01-13T15:05:00.069" v="13637"/>
          <ac:spMkLst>
            <pc:docMk/>
            <pc:sldMk cId="3606739673" sldId="1992"/>
            <ac:spMk id="9" creationId="{24170802-96D1-44F6-842D-69456B141B3F}"/>
          </ac:spMkLst>
        </pc:spChg>
        <pc:spChg chg="mod">
          <ac:chgData name="Sophie Bayer" userId="ede9276c-710b-4378-937b-bdc2eba6c543" providerId="ADAL" clId="{E3EDA246-60EA-465A-9C7B-AD452C69BB9D}" dt="2023-01-13T15:05:00.069" v="13637"/>
          <ac:spMkLst>
            <pc:docMk/>
            <pc:sldMk cId="3606739673" sldId="1992"/>
            <ac:spMk id="10" creationId="{3B5F9AAC-6951-440F-8B61-B8F9AF33A22E}"/>
          </ac:spMkLst>
        </pc:spChg>
        <pc:spChg chg="mod">
          <ac:chgData name="Sophie Bayer" userId="ede9276c-710b-4378-937b-bdc2eba6c543" providerId="ADAL" clId="{E3EDA246-60EA-465A-9C7B-AD452C69BB9D}" dt="2023-01-13T15:05:00.069" v="13637"/>
          <ac:spMkLst>
            <pc:docMk/>
            <pc:sldMk cId="3606739673" sldId="1992"/>
            <ac:spMk id="14" creationId="{17149352-9874-463E-928C-05A7F97934CB}"/>
          </ac:spMkLst>
        </pc:spChg>
        <pc:spChg chg="add del mod">
          <ac:chgData name="Sophie Bayer" userId="ede9276c-710b-4378-937b-bdc2eba6c543" providerId="ADAL" clId="{E3EDA246-60EA-465A-9C7B-AD452C69BB9D}" dt="2023-01-13T15:23:52.304" v="15024" actId="478"/>
          <ac:spMkLst>
            <pc:docMk/>
            <pc:sldMk cId="3606739673" sldId="1992"/>
            <ac:spMk id="15" creationId="{FF653172-3975-44A6-ABFD-5BE067658672}"/>
          </ac:spMkLst>
        </pc:spChg>
        <pc:spChg chg="mod">
          <ac:chgData name="Sophie Bayer" userId="ede9276c-710b-4378-937b-bdc2eba6c543" providerId="ADAL" clId="{E3EDA246-60EA-465A-9C7B-AD452C69BB9D}" dt="2023-01-13T15:19:57.514" v="14569" actId="20577"/>
          <ac:spMkLst>
            <pc:docMk/>
            <pc:sldMk cId="3606739673" sldId="1992"/>
            <ac:spMk id="17" creationId="{D18898B6-B05E-447D-A66C-ECF756CF54F6}"/>
          </ac:spMkLst>
        </pc:spChg>
        <pc:spChg chg="mod">
          <ac:chgData name="Sophie Bayer" userId="ede9276c-710b-4378-937b-bdc2eba6c543" providerId="ADAL" clId="{E3EDA246-60EA-465A-9C7B-AD452C69BB9D}" dt="2023-01-13T15:20:49.817" v="14614" actId="14100"/>
          <ac:spMkLst>
            <pc:docMk/>
            <pc:sldMk cId="3606739673" sldId="1992"/>
            <ac:spMk id="18" creationId="{EA78468F-E258-48AA-9048-3CCC211CB935}"/>
          </ac:spMkLst>
        </pc:spChg>
        <pc:spChg chg="mod">
          <ac:chgData name="Sophie Bayer" userId="ede9276c-710b-4378-937b-bdc2eba6c543" providerId="ADAL" clId="{E3EDA246-60EA-465A-9C7B-AD452C69BB9D}" dt="2023-01-13T15:24:57.916" v="15244" actId="13926"/>
          <ac:spMkLst>
            <pc:docMk/>
            <pc:sldMk cId="3606739673" sldId="1992"/>
            <ac:spMk id="19" creationId="{5D72530B-A363-4545-8632-1FFB3C39526F}"/>
          </ac:spMkLst>
        </pc:spChg>
        <pc:spChg chg="add del mod">
          <ac:chgData name="Sophie Bayer" userId="ede9276c-710b-4378-937b-bdc2eba6c543" providerId="ADAL" clId="{E3EDA246-60EA-465A-9C7B-AD452C69BB9D}" dt="2023-01-13T15:26:08.678" v="15315" actId="478"/>
          <ac:spMkLst>
            <pc:docMk/>
            <pc:sldMk cId="3606739673" sldId="1992"/>
            <ac:spMk id="20" creationId="{C7D25A4A-01FC-446C-8AF8-DFD4F741B818}"/>
          </ac:spMkLst>
        </pc:spChg>
        <pc:spChg chg="add del mod">
          <ac:chgData name="Sophie Bayer" userId="ede9276c-710b-4378-937b-bdc2eba6c543" providerId="ADAL" clId="{E3EDA246-60EA-465A-9C7B-AD452C69BB9D}" dt="2023-01-13T15:25:00.855" v="15245" actId="478"/>
          <ac:spMkLst>
            <pc:docMk/>
            <pc:sldMk cId="3606739673" sldId="1992"/>
            <ac:spMk id="21" creationId="{F95A4A61-5525-4813-9C49-C2113750EBD7}"/>
          </ac:spMkLst>
        </pc:spChg>
        <pc:spChg chg="add mod">
          <ac:chgData name="Sophie Bayer" userId="ede9276c-710b-4378-937b-bdc2eba6c543" providerId="ADAL" clId="{E3EDA246-60EA-465A-9C7B-AD452C69BB9D}" dt="2023-01-13T15:25:33.197" v="15272" actId="13926"/>
          <ac:spMkLst>
            <pc:docMk/>
            <pc:sldMk cId="3606739673" sldId="1992"/>
            <ac:spMk id="22" creationId="{AC9C19F2-B6F3-419D-80F8-FF0DD1D06E4D}"/>
          </ac:spMkLst>
        </pc:spChg>
        <pc:spChg chg="add mod">
          <ac:chgData name="Sophie Bayer" userId="ede9276c-710b-4378-937b-bdc2eba6c543" providerId="ADAL" clId="{E3EDA246-60EA-465A-9C7B-AD452C69BB9D}" dt="2023-01-13T15:25:17.473" v="15248" actId="1076"/>
          <ac:spMkLst>
            <pc:docMk/>
            <pc:sldMk cId="3606739673" sldId="1992"/>
            <ac:spMk id="23" creationId="{78A4AB52-5A29-4C4E-9DAF-9283A22F6409}"/>
          </ac:spMkLst>
        </pc:spChg>
        <pc:spChg chg="add mod">
          <ac:chgData name="Sophie Bayer" userId="ede9276c-710b-4378-937b-bdc2eba6c543" providerId="ADAL" clId="{E3EDA246-60EA-465A-9C7B-AD452C69BB9D}" dt="2023-01-13T15:26:04.117" v="15314" actId="20577"/>
          <ac:spMkLst>
            <pc:docMk/>
            <pc:sldMk cId="3606739673" sldId="1992"/>
            <ac:spMk id="24" creationId="{65ACF726-27D2-4278-8E96-7B105C601347}"/>
          </ac:spMkLst>
        </pc:spChg>
        <pc:grpChg chg="mod">
          <ac:chgData name="Sophie Bayer" userId="ede9276c-710b-4378-937b-bdc2eba6c543" providerId="ADAL" clId="{E3EDA246-60EA-465A-9C7B-AD452C69BB9D}" dt="2023-01-13T15:05:00.069" v="13637"/>
          <ac:grpSpMkLst>
            <pc:docMk/>
            <pc:sldMk cId="3606739673" sldId="1992"/>
            <ac:grpSpMk id="1" creationId="{00000000-0000-0000-0000-000000000000}"/>
          </ac:grpSpMkLst>
        </pc:grpChg>
        <pc:graphicFrameChg chg="mod">
          <ac:chgData name="Sophie Bayer" userId="ede9276c-710b-4378-937b-bdc2eba6c543" providerId="ADAL" clId="{E3EDA246-60EA-465A-9C7B-AD452C69BB9D}" dt="2023-01-13T15:05:00.069" v="13637"/>
          <ac:graphicFrameMkLst>
            <pc:docMk/>
            <pc:sldMk cId="3606739673" sldId="1992"/>
            <ac:graphicFrameMk id="5" creationId="{4217B5F2-F4F7-44E7-9DD7-8E58C4E9F58C}"/>
          </ac:graphicFrameMkLst>
        </pc:graphicFrameChg>
        <pc:picChg chg="mod">
          <ac:chgData name="Sophie Bayer" userId="ede9276c-710b-4378-937b-bdc2eba6c543" providerId="ADAL" clId="{E3EDA246-60EA-465A-9C7B-AD452C69BB9D}" dt="2023-01-13T15:05:00.069" v="13637"/>
          <ac:picMkLst>
            <pc:docMk/>
            <pc:sldMk cId="3606739673" sldId="1992"/>
            <ac:picMk id="16" creationId="{8824E3B1-8472-4AC6-A345-4129D4124971}"/>
          </ac:picMkLst>
        </pc:picChg>
      </pc:sldChg>
      <pc:sldMasterChg chg="addSp delSp modSp del mod delSldLayout">
        <pc:chgData name="Sophie Bayer" userId="ede9276c-710b-4378-937b-bdc2eba6c543" providerId="ADAL" clId="{E3EDA246-60EA-465A-9C7B-AD452C69BB9D}" dt="2023-01-13T15:36:42.116" v="15640" actId="2696"/>
        <pc:sldMasterMkLst>
          <pc:docMk/>
          <pc:sldMasterMk cId="752498020" sldId="2147483760"/>
        </pc:sldMasterMkLst>
        <pc:spChg chg="mod">
          <ac:chgData name="Sophie Bayer" userId="ede9276c-710b-4378-937b-bdc2eba6c543" providerId="ADAL" clId="{E3EDA246-60EA-465A-9C7B-AD452C69BB9D}" dt="2023-01-13T14:58:47.070" v="13401" actId="948"/>
          <ac:spMkLst>
            <pc:docMk/>
            <pc:sldMasterMk cId="752498020" sldId="2147483760"/>
            <ac:spMk id="2" creationId="{7CC9D6DB-AAB2-8B4A-AD6F-49FA5348F6EB}"/>
          </ac:spMkLst>
        </pc:spChg>
        <pc:spChg chg="add del mod modVis">
          <ac:chgData name="Sophie Bayer" userId="ede9276c-710b-4378-937b-bdc2eba6c543" providerId="ADAL" clId="{E3EDA246-60EA-465A-9C7B-AD452C69BB9D}" dt="2023-01-13T14:58:47.115" v="13455"/>
          <ac:spMkLst>
            <pc:docMk/>
            <pc:sldMasterMk cId="752498020" sldId="2147483760"/>
            <ac:spMk id="4" creationId="{D979475D-F04C-46C5-A45C-06A87B7A792C}"/>
          </ac:spMkLst>
        </pc:spChg>
        <pc:graphicFrameChg chg="add mod ord modVis replST">
          <ac:chgData name="Sophie Bayer" userId="ede9276c-710b-4378-937b-bdc2eba6c543" providerId="ADAL" clId="{E3EDA246-60EA-465A-9C7B-AD452C69BB9D}" dt="2023-01-13T14:58:47.147" v="13471"/>
          <ac:graphicFrameMkLst>
            <pc:docMk/>
            <pc:sldMasterMk cId="752498020" sldId="2147483760"/>
            <ac:graphicFrameMk id="5" creationId="{A683FA76-2167-409E-947A-7E603CF7B242}"/>
          </ac:graphicFrameMkLst>
        </pc:graphicFrameChg>
        <pc:sldLayoutChg chg="del">
          <pc:chgData name="Sophie Bayer" userId="ede9276c-710b-4378-937b-bdc2eba6c543" providerId="ADAL" clId="{E3EDA246-60EA-465A-9C7B-AD452C69BB9D}" dt="2023-01-13T15:36:42.116" v="15640" actId="2696"/>
          <pc:sldLayoutMkLst>
            <pc:docMk/>
            <pc:sldMasterMk cId="752498020" sldId="2147483760"/>
            <pc:sldLayoutMk cId="1327730526" sldId="2147483761"/>
          </pc:sldLayoutMkLst>
        </pc:sldLayoutChg>
        <pc:sldLayoutChg chg="del">
          <pc:chgData name="Sophie Bayer" userId="ede9276c-710b-4378-937b-bdc2eba6c543" providerId="ADAL" clId="{E3EDA246-60EA-465A-9C7B-AD452C69BB9D}" dt="2023-01-13T15:36:42.116" v="15640" actId="2696"/>
          <pc:sldLayoutMkLst>
            <pc:docMk/>
            <pc:sldMasterMk cId="752498020" sldId="2147483760"/>
            <pc:sldLayoutMk cId="3461871057" sldId="2147483762"/>
          </pc:sldLayoutMkLst>
        </pc:sldLayoutChg>
        <pc:sldLayoutChg chg="del">
          <pc:chgData name="Sophie Bayer" userId="ede9276c-710b-4378-937b-bdc2eba6c543" providerId="ADAL" clId="{E3EDA246-60EA-465A-9C7B-AD452C69BB9D}" dt="2023-01-13T15:36:42.116" v="15640" actId="2696"/>
          <pc:sldLayoutMkLst>
            <pc:docMk/>
            <pc:sldMasterMk cId="752498020" sldId="2147483760"/>
            <pc:sldLayoutMk cId="1633690848" sldId="2147483763"/>
          </pc:sldLayoutMkLst>
        </pc:sldLayoutChg>
        <pc:sldLayoutChg chg="del">
          <pc:chgData name="Sophie Bayer" userId="ede9276c-710b-4378-937b-bdc2eba6c543" providerId="ADAL" clId="{E3EDA246-60EA-465A-9C7B-AD452C69BB9D}" dt="2023-01-13T15:36:42.116" v="15640" actId="2696"/>
          <pc:sldLayoutMkLst>
            <pc:docMk/>
            <pc:sldMasterMk cId="752498020" sldId="2147483760"/>
            <pc:sldLayoutMk cId="2798632359" sldId="2147483764"/>
          </pc:sldLayoutMkLst>
        </pc:sldLayoutChg>
        <pc:sldLayoutChg chg="del">
          <pc:chgData name="Sophie Bayer" userId="ede9276c-710b-4378-937b-bdc2eba6c543" providerId="ADAL" clId="{E3EDA246-60EA-465A-9C7B-AD452C69BB9D}" dt="2023-01-13T15:36:42.116" v="15640" actId="2696"/>
          <pc:sldLayoutMkLst>
            <pc:docMk/>
            <pc:sldMasterMk cId="752498020" sldId="2147483760"/>
            <pc:sldLayoutMk cId="3700946556" sldId="2147483765"/>
          </pc:sldLayoutMkLst>
        </pc:sldLayoutChg>
        <pc:sldLayoutChg chg="del">
          <pc:chgData name="Sophie Bayer" userId="ede9276c-710b-4378-937b-bdc2eba6c543" providerId="ADAL" clId="{E3EDA246-60EA-465A-9C7B-AD452C69BB9D}" dt="2023-01-13T15:36:42.116" v="15640" actId="2696"/>
          <pc:sldLayoutMkLst>
            <pc:docMk/>
            <pc:sldMasterMk cId="752498020" sldId="2147483760"/>
            <pc:sldLayoutMk cId="738080088" sldId="2147483766"/>
          </pc:sldLayoutMkLst>
        </pc:sldLayoutChg>
        <pc:sldLayoutChg chg="del">
          <pc:chgData name="Sophie Bayer" userId="ede9276c-710b-4378-937b-bdc2eba6c543" providerId="ADAL" clId="{E3EDA246-60EA-465A-9C7B-AD452C69BB9D}" dt="2023-01-13T15:36:42.116" v="15640" actId="2696"/>
          <pc:sldLayoutMkLst>
            <pc:docMk/>
            <pc:sldMasterMk cId="752498020" sldId="2147483760"/>
            <pc:sldLayoutMk cId="407560252" sldId="2147483767"/>
          </pc:sldLayoutMkLst>
        </pc:sldLayoutChg>
        <pc:sldLayoutChg chg="del">
          <pc:chgData name="Sophie Bayer" userId="ede9276c-710b-4378-937b-bdc2eba6c543" providerId="ADAL" clId="{E3EDA246-60EA-465A-9C7B-AD452C69BB9D}" dt="2023-01-13T15:36:42.116" v="15640" actId="2696"/>
          <pc:sldLayoutMkLst>
            <pc:docMk/>
            <pc:sldMasterMk cId="752498020" sldId="2147483760"/>
            <pc:sldLayoutMk cId="3323129411" sldId="2147483768"/>
          </pc:sldLayoutMkLst>
        </pc:sldLayoutChg>
        <pc:sldLayoutChg chg="del">
          <pc:chgData name="Sophie Bayer" userId="ede9276c-710b-4378-937b-bdc2eba6c543" providerId="ADAL" clId="{E3EDA246-60EA-465A-9C7B-AD452C69BB9D}" dt="2023-01-13T15:36:42.116" v="15640" actId="2696"/>
          <pc:sldLayoutMkLst>
            <pc:docMk/>
            <pc:sldMasterMk cId="752498020" sldId="2147483760"/>
            <pc:sldLayoutMk cId="3549246916" sldId="2147483769"/>
          </pc:sldLayoutMkLst>
        </pc:sldLayoutChg>
        <pc:sldLayoutChg chg="del">
          <pc:chgData name="Sophie Bayer" userId="ede9276c-710b-4378-937b-bdc2eba6c543" providerId="ADAL" clId="{E3EDA246-60EA-465A-9C7B-AD452C69BB9D}" dt="2023-01-13T15:36:42.116" v="15640" actId="2696"/>
          <pc:sldLayoutMkLst>
            <pc:docMk/>
            <pc:sldMasterMk cId="752498020" sldId="2147483760"/>
            <pc:sldLayoutMk cId="1685674091" sldId="2147483770"/>
          </pc:sldLayoutMkLst>
        </pc:sldLayoutChg>
        <pc:sldLayoutChg chg="del">
          <pc:chgData name="Sophie Bayer" userId="ede9276c-710b-4378-937b-bdc2eba6c543" providerId="ADAL" clId="{E3EDA246-60EA-465A-9C7B-AD452C69BB9D}" dt="2023-01-13T15:36:42.116" v="15640" actId="2696"/>
          <pc:sldLayoutMkLst>
            <pc:docMk/>
            <pc:sldMasterMk cId="752498020" sldId="2147483760"/>
            <pc:sldLayoutMk cId="3762727811" sldId="2147483771"/>
          </pc:sldLayoutMkLst>
        </pc:sldLayoutChg>
        <pc:sldLayoutChg chg="del">
          <pc:chgData name="Sophie Bayer" userId="ede9276c-710b-4378-937b-bdc2eba6c543" providerId="ADAL" clId="{E3EDA246-60EA-465A-9C7B-AD452C69BB9D}" dt="2023-01-13T15:36:42.116" v="15640" actId="2696"/>
          <pc:sldLayoutMkLst>
            <pc:docMk/>
            <pc:sldMasterMk cId="752498020" sldId="2147483760"/>
            <pc:sldLayoutMk cId="4124824805" sldId="2147483772"/>
          </pc:sldLayoutMkLst>
        </pc:sldLayoutChg>
        <pc:sldLayoutChg chg="del">
          <pc:chgData name="Sophie Bayer" userId="ede9276c-710b-4378-937b-bdc2eba6c543" providerId="ADAL" clId="{E3EDA246-60EA-465A-9C7B-AD452C69BB9D}" dt="2023-01-13T15:36:42.116" v="15640" actId="2696"/>
          <pc:sldLayoutMkLst>
            <pc:docMk/>
            <pc:sldMasterMk cId="752498020" sldId="2147483760"/>
            <pc:sldLayoutMk cId="4044379381" sldId="2147483773"/>
          </pc:sldLayoutMkLst>
        </pc:sldLayoutChg>
        <pc:sldLayoutChg chg="del">
          <pc:chgData name="Sophie Bayer" userId="ede9276c-710b-4378-937b-bdc2eba6c543" providerId="ADAL" clId="{E3EDA246-60EA-465A-9C7B-AD452C69BB9D}" dt="2023-01-13T15:36:42.116" v="15640" actId="2696"/>
          <pc:sldLayoutMkLst>
            <pc:docMk/>
            <pc:sldMasterMk cId="752498020" sldId="2147483760"/>
            <pc:sldLayoutMk cId="4251061143" sldId="2147483774"/>
          </pc:sldLayoutMkLst>
        </pc:sldLayoutChg>
        <pc:sldLayoutChg chg="del">
          <pc:chgData name="Sophie Bayer" userId="ede9276c-710b-4378-937b-bdc2eba6c543" providerId="ADAL" clId="{E3EDA246-60EA-465A-9C7B-AD452C69BB9D}" dt="2023-01-13T15:36:42.116" v="15640" actId="2696"/>
          <pc:sldLayoutMkLst>
            <pc:docMk/>
            <pc:sldMasterMk cId="752498020" sldId="2147483760"/>
            <pc:sldLayoutMk cId="2420390398" sldId="2147483775"/>
          </pc:sldLayoutMkLst>
        </pc:sldLayoutChg>
        <pc:sldLayoutChg chg="del">
          <pc:chgData name="Sophie Bayer" userId="ede9276c-710b-4378-937b-bdc2eba6c543" providerId="ADAL" clId="{E3EDA246-60EA-465A-9C7B-AD452C69BB9D}" dt="2023-01-13T15:36:42.116" v="15640" actId="2696"/>
          <pc:sldLayoutMkLst>
            <pc:docMk/>
            <pc:sldMasterMk cId="752498020" sldId="2147483760"/>
            <pc:sldLayoutMk cId="208391831" sldId="2147483776"/>
          </pc:sldLayoutMkLst>
        </pc:sldLayoutChg>
        <pc:sldLayoutChg chg="del">
          <pc:chgData name="Sophie Bayer" userId="ede9276c-710b-4378-937b-bdc2eba6c543" providerId="ADAL" clId="{E3EDA246-60EA-465A-9C7B-AD452C69BB9D}" dt="2023-01-13T15:36:42.116" v="15640" actId="2696"/>
          <pc:sldLayoutMkLst>
            <pc:docMk/>
            <pc:sldMasterMk cId="752498020" sldId="2147483760"/>
            <pc:sldLayoutMk cId="3682423942" sldId="2147483777"/>
          </pc:sldLayoutMkLst>
        </pc:sldLayoutChg>
        <pc:sldLayoutChg chg="del">
          <pc:chgData name="Sophie Bayer" userId="ede9276c-710b-4378-937b-bdc2eba6c543" providerId="ADAL" clId="{E3EDA246-60EA-465A-9C7B-AD452C69BB9D}" dt="2023-01-13T15:36:42.116" v="15640" actId="2696"/>
          <pc:sldLayoutMkLst>
            <pc:docMk/>
            <pc:sldMasterMk cId="752498020" sldId="2147483760"/>
            <pc:sldLayoutMk cId="611442937" sldId="2147483778"/>
          </pc:sldLayoutMkLst>
        </pc:sldLayoutChg>
        <pc:sldLayoutChg chg="del">
          <pc:chgData name="Sophie Bayer" userId="ede9276c-710b-4378-937b-bdc2eba6c543" providerId="ADAL" clId="{E3EDA246-60EA-465A-9C7B-AD452C69BB9D}" dt="2023-01-13T15:36:42.116" v="15640" actId="2696"/>
          <pc:sldLayoutMkLst>
            <pc:docMk/>
            <pc:sldMasterMk cId="752498020" sldId="2147483760"/>
            <pc:sldLayoutMk cId="2971177250" sldId="2147483779"/>
          </pc:sldLayoutMkLst>
        </pc:sldLayoutChg>
        <pc:sldLayoutChg chg="del">
          <pc:chgData name="Sophie Bayer" userId="ede9276c-710b-4378-937b-bdc2eba6c543" providerId="ADAL" clId="{E3EDA246-60EA-465A-9C7B-AD452C69BB9D}" dt="2023-01-13T15:36:42.116" v="15640" actId="2696"/>
          <pc:sldLayoutMkLst>
            <pc:docMk/>
            <pc:sldMasterMk cId="752498020" sldId="2147483760"/>
            <pc:sldLayoutMk cId="2773908774" sldId="2147483780"/>
          </pc:sldLayoutMkLst>
        </pc:sldLayoutChg>
        <pc:sldLayoutChg chg="del">
          <pc:chgData name="Sophie Bayer" userId="ede9276c-710b-4378-937b-bdc2eba6c543" providerId="ADAL" clId="{E3EDA246-60EA-465A-9C7B-AD452C69BB9D}" dt="2023-01-13T15:36:42.116" v="15640" actId="2696"/>
          <pc:sldLayoutMkLst>
            <pc:docMk/>
            <pc:sldMasterMk cId="752498020" sldId="2147483760"/>
            <pc:sldLayoutMk cId="2172418106" sldId="2147483781"/>
          </pc:sldLayoutMkLst>
        </pc:sldLayoutChg>
        <pc:sldLayoutChg chg="del">
          <pc:chgData name="Sophie Bayer" userId="ede9276c-710b-4378-937b-bdc2eba6c543" providerId="ADAL" clId="{E3EDA246-60EA-465A-9C7B-AD452C69BB9D}" dt="2023-01-13T15:36:42.116" v="15640" actId="2696"/>
          <pc:sldLayoutMkLst>
            <pc:docMk/>
            <pc:sldMasterMk cId="752498020" sldId="2147483760"/>
            <pc:sldLayoutMk cId="3508569850" sldId="2147483782"/>
          </pc:sldLayoutMkLst>
        </pc:sldLayoutChg>
        <pc:sldLayoutChg chg="del">
          <pc:chgData name="Sophie Bayer" userId="ede9276c-710b-4378-937b-bdc2eba6c543" providerId="ADAL" clId="{E3EDA246-60EA-465A-9C7B-AD452C69BB9D}" dt="2023-01-13T15:36:42.116" v="15640" actId="2696"/>
          <pc:sldLayoutMkLst>
            <pc:docMk/>
            <pc:sldMasterMk cId="752498020" sldId="2147483760"/>
            <pc:sldLayoutMk cId="1644174323" sldId="2147483783"/>
          </pc:sldLayoutMkLst>
        </pc:sldLayoutChg>
      </pc:sldMasterChg>
    </pc:docChg>
  </pc:docChgLst>
  <pc:docChgLst>
    <pc:chgData name="Mia Rytter Lund" userId="fd5a37df-57b5-4ab7-b42f-f051b0300ae8" providerId="ADAL" clId="{D5CC60B3-6559-4277-B90A-2DCEC4D2080F}"/>
    <pc:docChg chg="undo custSel addSld delSld modSld">
      <pc:chgData name="Mia Rytter Lund" userId="fd5a37df-57b5-4ab7-b42f-f051b0300ae8" providerId="ADAL" clId="{D5CC60B3-6559-4277-B90A-2DCEC4D2080F}" dt="2023-01-23T13:18:21.999" v="1580" actId="47"/>
      <pc:docMkLst>
        <pc:docMk/>
      </pc:docMkLst>
      <pc:sldChg chg="modCm">
        <pc:chgData name="Mia Rytter Lund" userId="fd5a37df-57b5-4ab7-b42f-f051b0300ae8" providerId="ADAL" clId="{D5CC60B3-6559-4277-B90A-2DCEC4D2080F}" dt="2023-01-12T11:53:04.886" v="158"/>
        <pc:sldMkLst>
          <pc:docMk/>
          <pc:sldMk cId="1609526417" sldId="257"/>
        </pc:sldMkLst>
      </pc:sldChg>
      <pc:sldChg chg="add">
        <pc:chgData name="Mia Rytter Lund" userId="fd5a37df-57b5-4ab7-b42f-f051b0300ae8" providerId="ADAL" clId="{D5CC60B3-6559-4277-B90A-2DCEC4D2080F}" dt="2023-01-23T12:58:39.597" v="865"/>
        <pc:sldMkLst>
          <pc:docMk/>
          <pc:sldMk cId="641849619" sldId="383"/>
        </pc:sldMkLst>
      </pc:sldChg>
      <pc:sldChg chg="modSp mod addCm">
        <pc:chgData name="Mia Rytter Lund" userId="fd5a37df-57b5-4ab7-b42f-f051b0300ae8" providerId="ADAL" clId="{D5CC60B3-6559-4277-B90A-2DCEC4D2080F}" dt="2023-01-12T12:19:39.831" v="310"/>
        <pc:sldMkLst>
          <pc:docMk/>
          <pc:sldMk cId="216788736" sldId="1980"/>
        </pc:sldMkLst>
        <pc:spChg chg="mod">
          <ac:chgData name="Mia Rytter Lund" userId="fd5a37df-57b5-4ab7-b42f-f051b0300ae8" providerId="ADAL" clId="{D5CC60B3-6559-4277-B90A-2DCEC4D2080F}" dt="2023-01-12T11:50:48.228" v="40" actId="20577"/>
          <ac:spMkLst>
            <pc:docMk/>
            <pc:sldMk cId="216788736" sldId="1980"/>
            <ac:spMk id="35" creationId="{93122527-33C3-4B7B-8284-7B11953F1FA9}"/>
          </ac:spMkLst>
        </pc:spChg>
      </pc:sldChg>
      <pc:sldChg chg="modSp mod addCm">
        <pc:chgData name="Mia Rytter Lund" userId="fd5a37df-57b5-4ab7-b42f-f051b0300ae8" providerId="ADAL" clId="{D5CC60B3-6559-4277-B90A-2DCEC4D2080F}" dt="2023-01-23T13:06:55.079" v="1414" actId="20577"/>
        <pc:sldMkLst>
          <pc:docMk/>
          <pc:sldMk cId="8440676" sldId="1981"/>
        </pc:sldMkLst>
        <pc:spChg chg="mod">
          <ac:chgData name="Mia Rytter Lund" userId="fd5a37df-57b5-4ab7-b42f-f051b0300ae8" providerId="ADAL" clId="{D5CC60B3-6559-4277-B90A-2DCEC4D2080F}" dt="2023-01-23T13:04:52.778" v="1022" actId="20577"/>
          <ac:spMkLst>
            <pc:docMk/>
            <pc:sldMk cId="8440676" sldId="1981"/>
            <ac:spMk id="19" creationId="{5D72530B-A363-4545-8632-1FFB3C39526F}"/>
          </ac:spMkLst>
        </pc:spChg>
        <pc:spChg chg="mod">
          <ac:chgData name="Mia Rytter Lund" userId="fd5a37df-57b5-4ab7-b42f-f051b0300ae8" providerId="ADAL" clId="{D5CC60B3-6559-4277-B90A-2DCEC4D2080F}" dt="2023-01-23T13:06:55.079" v="1414" actId="20577"/>
          <ac:spMkLst>
            <pc:docMk/>
            <pc:sldMk cId="8440676" sldId="1981"/>
            <ac:spMk id="20" creationId="{C7D25A4A-01FC-446C-8AF8-DFD4F741B818}"/>
          </ac:spMkLst>
        </pc:spChg>
      </pc:sldChg>
      <pc:sldChg chg="addSp delSp modSp mod addCm">
        <pc:chgData name="Mia Rytter Lund" userId="fd5a37df-57b5-4ab7-b42f-f051b0300ae8" providerId="ADAL" clId="{D5CC60B3-6559-4277-B90A-2DCEC4D2080F}" dt="2023-01-23T12:52:04.838" v="382" actId="1038"/>
        <pc:sldMkLst>
          <pc:docMk/>
          <pc:sldMk cId="2455952374" sldId="1982"/>
        </pc:sldMkLst>
        <pc:spChg chg="add mod">
          <ac:chgData name="Mia Rytter Lund" userId="fd5a37df-57b5-4ab7-b42f-f051b0300ae8" providerId="ADAL" clId="{D5CC60B3-6559-4277-B90A-2DCEC4D2080F}" dt="2023-01-23T12:51:06.150" v="328" actId="1076"/>
          <ac:spMkLst>
            <pc:docMk/>
            <pc:sldMk cId="2455952374" sldId="1982"/>
            <ac:spMk id="28" creationId="{44AF79D9-BF45-4220-9CEE-6C59C4B39873}"/>
          </ac:spMkLst>
        </pc:spChg>
        <pc:spChg chg="add mod">
          <ac:chgData name="Mia Rytter Lund" userId="fd5a37df-57b5-4ab7-b42f-f051b0300ae8" providerId="ADAL" clId="{D5CC60B3-6559-4277-B90A-2DCEC4D2080F}" dt="2023-01-23T12:51:11.917" v="330" actId="1076"/>
          <ac:spMkLst>
            <pc:docMk/>
            <pc:sldMk cId="2455952374" sldId="1982"/>
            <ac:spMk id="29" creationId="{7F01E3F5-73D8-465A-9DB2-D946E7B5B618}"/>
          </ac:spMkLst>
        </pc:spChg>
        <pc:spChg chg="add mod">
          <ac:chgData name="Mia Rytter Lund" userId="fd5a37df-57b5-4ab7-b42f-f051b0300ae8" providerId="ADAL" clId="{D5CC60B3-6559-4277-B90A-2DCEC4D2080F}" dt="2023-01-23T12:52:04.838" v="382" actId="1038"/>
          <ac:spMkLst>
            <pc:docMk/>
            <pc:sldMk cId="2455952374" sldId="1982"/>
            <ac:spMk id="30" creationId="{93D8B084-3B98-4B8D-A1AB-383223AB0206}"/>
          </ac:spMkLst>
        </pc:spChg>
        <pc:spChg chg="add mod">
          <ac:chgData name="Mia Rytter Lund" userId="fd5a37df-57b5-4ab7-b42f-f051b0300ae8" providerId="ADAL" clId="{D5CC60B3-6559-4277-B90A-2DCEC4D2080F}" dt="2023-01-23T12:52:04.838" v="382" actId="1038"/>
          <ac:spMkLst>
            <pc:docMk/>
            <pc:sldMk cId="2455952374" sldId="1982"/>
            <ac:spMk id="31" creationId="{33539908-0180-4F56-AE0B-39F17F971644}"/>
          </ac:spMkLst>
        </pc:spChg>
        <pc:spChg chg="add mod">
          <ac:chgData name="Mia Rytter Lund" userId="fd5a37df-57b5-4ab7-b42f-f051b0300ae8" providerId="ADAL" clId="{D5CC60B3-6559-4277-B90A-2DCEC4D2080F}" dt="2023-01-23T12:51:58.285" v="358" actId="14100"/>
          <ac:spMkLst>
            <pc:docMk/>
            <pc:sldMk cId="2455952374" sldId="1982"/>
            <ac:spMk id="32" creationId="{5735C4A8-4846-49B9-BA3F-B78C3C39085E}"/>
          </ac:spMkLst>
        </pc:spChg>
        <pc:spChg chg="mod">
          <ac:chgData name="Mia Rytter Lund" userId="fd5a37df-57b5-4ab7-b42f-f051b0300ae8" providerId="ADAL" clId="{D5CC60B3-6559-4277-B90A-2DCEC4D2080F}" dt="2023-01-23T12:50:57.277" v="325" actId="1076"/>
          <ac:spMkLst>
            <pc:docMk/>
            <pc:sldMk cId="2455952374" sldId="1982"/>
            <ac:spMk id="50" creationId="{01F87743-07CE-42D4-BBA8-2A302CC08C66}"/>
          </ac:spMkLst>
        </pc:spChg>
        <pc:spChg chg="mod">
          <ac:chgData name="Mia Rytter Lund" userId="fd5a37df-57b5-4ab7-b42f-f051b0300ae8" providerId="ADAL" clId="{D5CC60B3-6559-4277-B90A-2DCEC4D2080F}" dt="2023-01-23T12:50:24.772" v="316" actId="6549"/>
          <ac:spMkLst>
            <pc:docMk/>
            <pc:sldMk cId="2455952374" sldId="1982"/>
            <ac:spMk id="51" creationId="{4B28BB84-85F0-4759-9F38-3299802DD9AD}"/>
          </ac:spMkLst>
        </pc:spChg>
        <pc:spChg chg="mod">
          <ac:chgData name="Mia Rytter Lund" userId="fd5a37df-57b5-4ab7-b42f-f051b0300ae8" providerId="ADAL" clId="{D5CC60B3-6559-4277-B90A-2DCEC4D2080F}" dt="2023-01-23T12:50:51.373" v="324" actId="1076"/>
          <ac:spMkLst>
            <pc:docMk/>
            <pc:sldMk cId="2455952374" sldId="1982"/>
            <ac:spMk id="58" creationId="{CF8077A2-04E5-4E36-8440-4E1D9CE71015}"/>
          </ac:spMkLst>
        </pc:spChg>
        <pc:spChg chg="mod">
          <ac:chgData name="Mia Rytter Lund" userId="fd5a37df-57b5-4ab7-b42f-f051b0300ae8" providerId="ADAL" clId="{D5CC60B3-6559-4277-B90A-2DCEC4D2080F}" dt="2023-01-23T12:51:36.238" v="347" actId="20577"/>
          <ac:spMkLst>
            <pc:docMk/>
            <pc:sldMk cId="2455952374" sldId="1982"/>
            <ac:spMk id="59" creationId="{31AA4063-3F0E-44C3-8766-677CC0C5B946}"/>
          </ac:spMkLst>
        </pc:spChg>
        <pc:spChg chg="del mod">
          <ac:chgData name="Mia Rytter Lund" userId="fd5a37df-57b5-4ab7-b42f-f051b0300ae8" providerId="ADAL" clId="{D5CC60B3-6559-4277-B90A-2DCEC4D2080F}" dt="2023-01-23T12:51:32.120" v="345" actId="478"/>
          <ac:spMkLst>
            <pc:docMk/>
            <pc:sldMk cId="2455952374" sldId="1982"/>
            <ac:spMk id="61" creationId="{470A0146-5740-4DF3-801F-E0FEDDC558DF}"/>
          </ac:spMkLst>
        </pc:spChg>
        <pc:spChg chg="del mod">
          <ac:chgData name="Mia Rytter Lund" userId="fd5a37df-57b5-4ab7-b42f-f051b0300ae8" providerId="ADAL" clId="{D5CC60B3-6559-4277-B90A-2DCEC4D2080F}" dt="2023-01-23T12:50:59.996" v="326" actId="478"/>
          <ac:spMkLst>
            <pc:docMk/>
            <pc:sldMk cId="2455952374" sldId="1982"/>
            <ac:spMk id="62" creationId="{5F10E090-4B9F-4C91-A81C-E9FA77FAA9BE}"/>
          </ac:spMkLst>
        </pc:spChg>
        <pc:spChg chg="mod">
          <ac:chgData name="Mia Rytter Lund" userId="fd5a37df-57b5-4ab7-b42f-f051b0300ae8" providerId="ADAL" clId="{D5CC60B3-6559-4277-B90A-2DCEC4D2080F}" dt="2023-01-23T12:52:04.838" v="382" actId="1038"/>
          <ac:spMkLst>
            <pc:docMk/>
            <pc:sldMk cId="2455952374" sldId="1982"/>
            <ac:spMk id="63" creationId="{1A3657CF-36BF-45B6-89B6-D8F7A5071DFD}"/>
          </ac:spMkLst>
        </pc:spChg>
        <pc:spChg chg="mod">
          <ac:chgData name="Mia Rytter Lund" userId="fd5a37df-57b5-4ab7-b42f-f051b0300ae8" providerId="ADAL" clId="{D5CC60B3-6559-4277-B90A-2DCEC4D2080F}" dt="2023-01-23T12:52:04.838" v="382" actId="1038"/>
          <ac:spMkLst>
            <pc:docMk/>
            <pc:sldMk cId="2455952374" sldId="1982"/>
            <ac:spMk id="64" creationId="{8C7FD7EA-5081-46A8-B085-2DD3EBA6430B}"/>
          </ac:spMkLst>
        </pc:spChg>
        <pc:spChg chg="del mod">
          <ac:chgData name="Mia Rytter Lund" userId="fd5a37df-57b5-4ab7-b42f-f051b0300ae8" providerId="ADAL" clId="{D5CC60B3-6559-4277-B90A-2DCEC4D2080F}" dt="2023-01-23T12:51:33.329" v="346" actId="478"/>
          <ac:spMkLst>
            <pc:docMk/>
            <pc:sldMk cId="2455952374" sldId="1982"/>
            <ac:spMk id="65" creationId="{96524ADD-8F03-4F4C-B982-B317EA00770F}"/>
          </ac:spMkLst>
        </pc:spChg>
        <pc:spChg chg="mod">
          <ac:chgData name="Mia Rytter Lund" userId="fd5a37df-57b5-4ab7-b42f-f051b0300ae8" providerId="ADAL" clId="{D5CC60B3-6559-4277-B90A-2DCEC4D2080F}" dt="2023-01-12T11:49:37.346" v="14" actId="20578"/>
          <ac:spMkLst>
            <pc:docMk/>
            <pc:sldMk cId="2455952374" sldId="1982"/>
            <ac:spMk id="175" creationId="{104B5F6A-FAF1-4592-9956-CA18F548E13F}"/>
          </ac:spMkLst>
        </pc:spChg>
        <pc:picChg chg="mod">
          <ac:chgData name="Mia Rytter Lund" userId="fd5a37df-57b5-4ab7-b42f-f051b0300ae8" providerId="ADAL" clId="{D5CC60B3-6559-4277-B90A-2DCEC4D2080F}" dt="2023-01-23T12:50:57.277" v="325" actId="1076"/>
          <ac:picMkLst>
            <pc:docMk/>
            <pc:sldMk cId="2455952374" sldId="1982"/>
            <ac:picMk id="4" creationId="{31CCCF25-7D36-48BD-BBFC-4362D8980826}"/>
          </ac:picMkLst>
        </pc:picChg>
        <pc:picChg chg="mod">
          <ac:chgData name="Mia Rytter Lund" userId="fd5a37df-57b5-4ab7-b42f-f051b0300ae8" providerId="ADAL" clId="{D5CC60B3-6559-4277-B90A-2DCEC4D2080F}" dt="2023-01-12T11:49:09.322" v="13" actId="207"/>
          <ac:picMkLst>
            <pc:docMk/>
            <pc:sldMk cId="2455952374" sldId="1982"/>
            <ac:picMk id="18" creationId="{AC193279-C673-425D-BF01-1E49FA20B59D}"/>
          </ac:picMkLst>
        </pc:picChg>
        <pc:picChg chg="mod">
          <ac:chgData name="Mia Rytter Lund" userId="fd5a37df-57b5-4ab7-b42f-f051b0300ae8" providerId="ADAL" clId="{D5CC60B3-6559-4277-B90A-2DCEC4D2080F}" dt="2023-01-23T12:50:51.373" v="324" actId="1076"/>
          <ac:picMkLst>
            <pc:docMk/>
            <pc:sldMk cId="2455952374" sldId="1982"/>
            <ac:picMk id="49" creationId="{F661F3B2-DD4B-4B84-A31C-5F7E664F119C}"/>
          </ac:picMkLst>
        </pc:picChg>
      </pc:sldChg>
      <pc:sldChg chg="modSp mod addCm">
        <pc:chgData name="Mia Rytter Lund" userId="fd5a37df-57b5-4ab7-b42f-f051b0300ae8" providerId="ADAL" clId="{D5CC60B3-6559-4277-B90A-2DCEC4D2080F}" dt="2023-01-23T12:59:32.387" v="903" actId="20577"/>
        <pc:sldMkLst>
          <pc:docMk/>
          <pc:sldMk cId="3446406459" sldId="1983"/>
        </pc:sldMkLst>
        <pc:spChg chg="mod">
          <ac:chgData name="Mia Rytter Lund" userId="fd5a37df-57b5-4ab7-b42f-f051b0300ae8" providerId="ADAL" clId="{D5CC60B3-6559-4277-B90A-2DCEC4D2080F}" dt="2023-01-12T11:53:26.300" v="170" actId="20577"/>
          <ac:spMkLst>
            <pc:docMk/>
            <pc:sldMk cId="3446406459" sldId="1983"/>
            <ac:spMk id="18" creationId="{CE39AA97-4D19-424A-B2C7-FF4C20C02189}"/>
          </ac:spMkLst>
        </pc:spChg>
        <pc:spChg chg="mod">
          <ac:chgData name="Mia Rytter Lund" userId="fd5a37df-57b5-4ab7-b42f-f051b0300ae8" providerId="ADAL" clId="{D5CC60B3-6559-4277-B90A-2DCEC4D2080F}" dt="2023-01-23T12:59:07.577" v="868" actId="20577"/>
          <ac:spMkLst>
            <pc:docMk/>
            <pc:sldMk cId="3446406459" sldId="1983"/>
            <ac:spMk id="20" creationId="{1923FD27-E9DC-40D5-A4B1-EE2E259978AF}"/>
          </ac:spMkLst>
        </pc:spChg>
        <pc:spChg chg="mod">
          <ac:chgData name="Mia Rytter Lund" userId="fd5a37df-57b5-4ab7-b42f-f051b0300ae8" providerId="ADAL" clId="{D5CC60B3-6559-4277-B90A-2DCEC4D2080F}" dt="2023-01-23T12:59:32.387" v="903" actId="20577"/>
          <ac:spMkLst>
            <pc:docMk/>
            <pc:sldMk cId="3446406459" sldId="1983"/>
            <ac:spMk id="21" creationId="{E7E73127-719C-481B-B67B-CCA16425E42B}"/>
          </ac:spMkLst>
        </pc:spChg>
      </pc:sldChg>
      <pc:sldChg chg="modSp mod">
        <pc:chgData name="Mia Rytter Lund" userId="fd5a37df-57b5-4ab7-b42f-f051b0300ae8" providerId="ADAL" clId="{D5CC60B3-6559-4277-B90A-2DCEC4D2080F}" dt="2023-01-12T12:06:48.881" v="308" actId="20577"/>
        <pc:sldMkLst>
          <pc:docMk/>
          <pc:sldMk cId="3441729892" sldId="1984"/>
        </pc:sldMkLst>
        <pc:spChg chg="mod">
          <ac:chgData name="Mia Rytter Lund" userId="fd5a37df-57b5-4ab7-b42f-f051b0300ae8" providerId="ADAL" clId="{D5CC60B3-6559-4277-B90A-2DCEC4D2080F}" dt="2023-01-12T12:06:48.881" v="308" actId="20577"/>
          <ac:spMkLst>
            <pc:docMk/>
            <pc:sldMk cId="3441729892" sldId="1984"/>
            <ac:spMk id="15" creationId="{95BED6D4-B599-483B-817D-87AD7138B9D8}"/>
          </ac:spMkLst>
        </pc:spChg>
      </pc:sldChg>
      <pc:sldChg chg="add del">
        <pc:chgData name="Mia Rytter Lund" userId="fd5a37df-57b5-4ab7-b42f-f051b0300ae8" providerId="ADAL" clId="{D5CC60B3-6559-4277-B90A-2DCEC4D2080F}" dt="2023-01-23T13:18:21.999" v="1580" actId="47"/>
        <pc:sldMkLst>
          <pc:docMk/>
          <pc:sldMk cId="3395906277" sldId="1987"/>
        </pc:sldMkLst>
      </pc:sldChg>
      <pc:sldChg chg="modSp mod addCm delCm">
        <pc:chgData name="Mia Rytter Lund" userId="fd5a37df-57b5-4ab7-b42f-f051b0300ae8" providerId="ADAL" clId="{D5CC60B3-6559-4277-B90A-2DCEC4D2080F}" dt="2023-01-23T12:53:16.429" v="450" actId="20577"/>
        <pc:sldMkLst>
          <pc:docMk/>
          <pc:sldMk cId="2676015612" sldId="1988"/>
        </pc:sldMkLst>
        <pc:spChg chg="mod">
          <ac:chgData name="Mia Rytter Lund" userId="fd5a37df-57b5-4ab7-b42f-f051b0300ae8" providerId="ADAL" clId="{D5CC60B3-6559-4277-B90A-2DCEC4D2080F}" dt="2023-01-23T12:53:16.429" v="450" actId="20577"/>
          <ac:spMkLst>
            <pc:docMk/>
            <pc:sldMk cId="2676015612" sldId="1988"/>
            <ac:spMk id="34" creationId="{4DA16978-08B8-44DE-AE66-A99A848C6160}"/>
          </ac:spMkLst>
        </pc:spChg>
      </pc:sldChg>
      <pc:sldChg chg="modSp mod">
        <pc:chgData name="Mia Rytter Lund" userId="fd5a37df-57b5-4ab7-b42f-f051b0300ae8" providerId="ADAL" clId="{D5CC60B3-6559-4277-B90A-2DCEC4D2080F}" dt="2023-01-23T13:01:51.020" v="959" actId="20577"/>
        <pc:sldMkLst>
          <pc:docMk/>
          <pc:sldMk cId="4271052140" sldId="1989"/>
        </pc:sldMkLst>
        <pc:spChg chg="mod">
          <ac:chgData name="Mia Rytter Lund" userId="fd5a37df-57b5-4ab7-b42f-f051b0300ae8" providerId="ADAL" clId="{D5CC60B3-6559-4277-B90A-2DCEC4D2080F}" dt="2023-01-12T11:58:36.427" v="225" actId="404"/>
          <ac:spMkLst>
            <pc:docMk/>
            <pc:sldMk cId="4271052140" sldId="1989"/>
            <ac:spMk id="13" creationId="{3350969E-2532-4C4A-A918-EB6B1BCEFFA6}"/>
          </ac:spMkLst>
        </pc:spChg>
        <pc:spChg chg="mod">
          <ac:chgData name="Mia Rytter Lund" userId="fd5a37df-57b5-4ab7-b42f-f051b0300ae8" providerId="ADAL" clId="{D5CC60B3-6559-4277-B90A-2DCEC4D2080F}" dt="2023-01-12T11:58:33.607" v="223" actId="404"/>
          <ac:spMkLst>
            <pc:docMk/>
            <pc:sldMk cId="4271052140" sldId="1989"/>
            <ac:spMk id="18" creationId="{CE39AA97-4D19-424A-B2C7-FF4C20C02189}"/>
          </ac:spMkLst>
        </pc:spChg>
        <pc:spChg chg="mod">
          <ac:chgData name="Mia Rytter Lund" userId="fd5a37df-57b5-4ab7-b42f-f051b0300ae8" providerId="ADAL" clId="{D5CC60B3-6559-4277-B90A-2DCEC4D2080F}" dt="2023-01-23T13:01:35.763" v="954" actId="20577"/>
          <ac:spMkLst>
            <pc:docMk/>
            <pc:sldMk cId="4271052140" sldId="1989"/>
            <ac:spMk id="20" creationId="{1923FD27-E9DC-40D5-A4B1-EE2E259978AF}"/>
          </ac:spMkLst>
        </pc:spChg>
        <pc:spChg chg="mod">
          <ac:chgData name="Mia Rytter Lund" userId="fd5a37df-57b5-4ab7-b42f-f051b0300ae8" providerId="ADAL" clId="{D5CC60B3-6559-4277-B90A-2DCEC4D2080F}" dt="2023-01-23T13:01:51.020" v="959" actId="20577"/>
          <ac:spMkLst>
            <pc:docMk/>
            <pc:sldMk cId="4271052140" sldId="1989"/>
            <ac:spMk id="22" creationId="{EF106EA0-5B80-4410-87D5-4B85EE6FCBD8}"/>
          </ac:spMkLst>
        </pc:spChg>
        <pc:spChg chg="mod">
          <ac:chgData name="Mia Rytter Lund" userId="fd5a37df-57b5-4ab7-b42f-f051b0300ae8" providerId="ADAL" clId="{D5CC60B3-6559-4277-B90A-2DCEC4D2080F}" dt="2023-01-12T11:58:42.782" v="227" actId="404"/>
          <ac:spMkLst>
            <pc:docMk/>
            <pc:sldMk cId="4271052140" sldId="1989"/>
            <ac:spMk id="23" creationId="{92660346-9379-4E5E-A504-88A46E8336B1}"/>
          </ac:spMkLst>
        </pc:spChg>
        <pc:spChg chg="mod">
          <ac:chgData name="Mia Rytter Lund" userId="fd5a37df-57b5-4ab7-b42f-f051b0300ae8" providerId="ADAL" clId="{D5CC60B3-6559-4277-B90A-2DCEC4D2080F}" dt="2023-01-12T11:58:16.523" v="208" actId="20577"/>
          <ac:spMkLst>
            <pc:docMk/>
            <pc:sldMk cId="4271052140" sldId="1989"/>
            <ac:spMk id="25" creationId="{0A5239A4-21D4-4585-86F0-5205BDA57DA2}"/>
          </ac:spMkLst>
        </pc:spChg>
      </pc:sldChg>
      <pc:sldChg chg="modSp mod delCm modCm">
        <pc:chgData name="Mia Rytter Lund" userId="fd5a37df-57b5-4ab7-b42f-f051b0300ae8" providerId="ADAL" clId="{D5CC60B3-6559-4277-B90A-2DCEC4D2080F}" dt="2023-01-23T13:04:39.701" v="1001"/>
        <pc:sldMkLst>
          <pc:docMk/>
          <pc:sldMk cId="15753831" sldId="1990"/>
        </pc:sldMkLst>
        <pc:spChg chg="mod">
          <ac:chgData name="Mia Rytter Lund" userId="fd5a37df-57b5-4ab7-b42f-f051b0300ae8" providerId="ADAL" clId="{D5CC60B3-6559-4277-B90A-2DCEC4D2080F}" dt="2023-01-23T13:02:14.100" v="962" actId="20577"/>
          <ac:spMkLst>
            <pc:docMk/>
            <pc:sldMk cId="15753831" sldId="1990"/>
            <ac:spMk id="18" creationId="{CE39AA97-4D19-424A-B2C7-FF4C20C02189}"/>
          </ac:spMkLst>
        </pc:spChg>
        <pc:spChg chg="mod">
          <ac:chgData name="Mia Rytter Lund" userId="fd5a37df-57b5-4ab7-b42f-f051b0300ae8" providerId="ADAL" clId="{D5CC60B3-6559-4277-B90A-2DCEC4D2080F}" dt="2023-01-23T13:04:15.926" v="1000" actId="20577"/>
          <ac:spMkLst>
            <pc:docMk/>
            <pc:sldMk cId="15753831" sldId="1990"/>
            <ac:spMk id="20" creationId="{1923FD27-E9DC-40D5-A4B1-EE2E259978AF}"/>
          </ac:spMkLst>
        </pc:spChg>
      </pc:sldChg>
      <pc:sldChg chg="modSp mod delCm modCm">
        <pc:chgData name="Mia Rytter Lund" userId="fd5a37df-57b5-4ab7-b42f-f051b0300ae8" providerId="ADAL" clId="{D5CC60B3-6559-4277-B90A-2DCEC4D2080F}" dt="2023-01-23T12:57:27.775" v="864"/>
        <pc:sldMkLst>
          <pc:docMk/>
          <pc:sldMk cId="1053166324" sldId="1991"/>
        </pc:sldMkLst>
        <pc:spChg chg="mod">
          <ac:chgData name="Mia Rytter Lund" userId="fd5a37df-57b5-4ab7-b42f-f051b0300ae8" providerId="ADAL" clId="{D5CC60B3-6559-4277-B90A-2DCEC4D2080F}" dt="2023-01-23T12:57:08.419" v="857" actId="113"/>
          <ac:spMkLst>
            <pc:docMk/>
            <pc:sldMk cId="1053166324" sldId="1991"/>
            <ac:spMk id="13" creationId="{D2F201AB-E8A3-43D5-AD56-0BC3AF8A3B9A}"/>
          </ac:spMkLst>
        </pc:spChg>
        <pc:spChg chg="mod">
          <ac:chgData name="Mia Rytter Lund" userId="fd5a37df-57b5-4ab7-b42f-f051b0300ae8" providerId="ADAL" clId="{D5CC60B3-6559-4277-B90A-2DCEC4D2080F}" dt="2023-01-23T12:57:12.710" v="858" actId="14100"/>
          <ac:spMkLst>
            <pc:docMk/>
            <pc:sldMk cId="1053166324" sldId="1991"/>
            <ac:spMk id="14" creationId="{A547D884-A5D7-4E6A-93EB-BD3A96A22DD5}"/>
          </ac:spMkLst>
        </pc:spChg>
        <pc:spChg chg="mod">
          <ac:chgData name="Mia Rytter Lund" userId="fd5a37df-57b5-4ab7-b42f-f051b0300ae8" providerId="ADAL" clId="{D5CC60B3-6559-4277-B90A-2DCEC4D2080F}" dt="2023-01-23T12:57:26.087" v="863" actId="1076"/>
          <ac:spMkLst>
            <pc:docMk/>
            <pc:sldMk cId="1053166324" sldId="1991"/>
            <ac:spMk id="34" creationId="{4DA16978-08B8-44DE-AE66-A99A848C6160}"/>
          </ac:spMkLst>
        </pc:spChg>
      </pc:sldChg>
      <pc:sldChg chg="modSp mod">
        <pc:chgData name="Mia Rytter Lund" userId="fd5a37df-57b5-4ab7-b42f-f051b0300ae8" providerId="ADAL" clId="{D5CC60B3-6559-4277-B90A-2DCEC4D2080F}" dt="2023-01-23T13:17:01.551" v="1577" actId="13926"/>
        <pc:sldMkLst>
          <pc:docMk/>
          <pc:sldMk cId="3606739673" sldId="1992"/>
        </pc:sldMkLst>
        <pc:spChg chg="mod">
          <ac:chgData name="Mia Rytter Lund" userId="fd5a37df-57b5-4ab7-b42f-f051b0300ae8" providerId="ADAL" clId="{D5CC60B3-6559-4277-B90A-2DCEC4D2080F}" dt="2023-01-23T13:08:35.807" v="1537" actId="20577"/>
          <ac:spMkLst>
            <pc:docMk/>
            <pc:sldMk cId="3606739673" sldId="1992"/>
            <ac:spMk id="19" creationId="{5D72530B-A363-4545-8632-1FFB3C39526F}"/>
          </ac:spMkLst>
        </pc:spChg>
        <pc:spChg chg="mod">
          <ac:chgData name="Mia Rytter Lund" userId="fd5a37df-57b5-4ab7-b42f-f051b0300ae8" providerId="ADAL" clId="{D5CC60B3-6559-4277-B90A-2DCEC4D2080F}" dt="2023-01-23T13:07:05.821" v="1420" actId="13926"/>
          <ac:spMkLst>
            <pc:docMk/>
            <pc:sldMk cId="3606739673" sldId="1992"/>
            <ac:spMk id="22" creationId="{AC9C19F2-B6F3-419D-80F8-FF0DD1D06E4D}"/>
          </ac:spMkLst>
        </pc:spChg>
        <pc:spChg chg="mod">
          <ac:chgData name="Mia Rytter Lund" userId="fd5a37df-57b5-4ab7-b42f-f051b0300ae8" providerId="ADAL" clId="{D5CC60B3-6559-4277-B90A-2DCEC4D2080F}" dt="2023-01-23T13:17:01.551" v="1577" actId="13926"/>
          <ac:spMkLst>
            <pc:docMk/>
            <pc:sldMk cId="3606739673" sldId="1992"/>
            <ac:spMk id="24" creationId="{65ACF726-27D2-4278-8E96-7B105C601347}"/>
          </ac:spMkLst>
        </pc:spChg>
      </pc:sldChg>
    </pc:docChg>
  </pc:docChgLst>
  <pc:docChgLst>
    <pc:chgData name="Mia Rytter Lund" userId="fd5a37df-57b5-4ab7-b42f-f051b0300ae8" providerId="ADAL" clId="{4D3A50B1-14EC-4FDE-9F9F-917314861403}"/>
    <pc:docChg chg="undo custSel addSld delSld modSld">
      <pc:chgData name="Mia Rytter Lund" userId="fd5a37df-57b5-4ab7-b42f-f051b0300ae8" providerId="ADAL" clId="{4D3A50B1-14EC-4FDE-9F9F-917314861403}" dt="2023-02-03T11:33:42.249" v="7409" actId="20577"/>
      <pc:docMkLst>
        <pc:docMk/>
      </pc:docMkLst>
      <pc:sldChg chg="addSp modSp mod addCm delCm modCm">
        <pc:chgData name="Mia Rytter Lund" userId="fd5a37df-57b5-4ab7-b42f-f051b0300ae8" providerId="ADAL" clId="{4D3A50B1-14EC-4FDE-9F9F-917314861403}" dt="2023-02-01T16:06:17.922" v="7038" actId="20577"/>
        <pc:sldMkLst>
          <pc:docMk/>
          <pc:sldMk cId="1609526417" sldId="257"/>
        </pc:sldMkLst>
        <pc:spChg chg="mod">
          <ac:chgData name="Mia Rytter Lund" userId="fd5a37df-57b5-4ab7-b42f-f051b0300ae8" providerId="ADAL" clId="{4D3A50B1-14EC-4FDE-9F9F-917314861403}" dt="2023-01-26T13:36:15.938" v="2507" actId="20577"/>
          <ac:spMkLst>
            <pc:docMk/>
            <pc:sldMk cId="1609526417" sldId="257"/>
            <ac:spMk id="8" creationId="{BB7B4406-EAA5-4923-909F-72273477B054}"/>
          </ac:spMkLst>
        </pc:spChg>
        <pc:spChg chg="mod">
          <ac:chgData name="Mia Rytter Lund" userId="fd5a37df-57b5-4ab7-b42f-f051b0300ae8" providerId="ADAL" clId="{4D3A50B1-14EC-4FDE-9F9F-917314861403}" dt="2023-01-30T13:42:53.908" v="5087" actId="20577"/>
          <ac:spMkLst>
            <pc:docMk/>
            <pc:sldMk cId="1609526417" sldId="257"/>
            <ac:spMk id="10" creationId="{516EE21D-C4B9-4731-B349-1072BB4E5D41}"/>
          </ac:spMkLst>
        </pc:spChg>
        <pc:spChg chg="mod">
          <ac:chgData name="Mia Rytter Lund" userId="fd5a37df-57b5-4ab7-b42f-f051b0300ae8" providerId="ADAL" clId="{4D3A50B1-14EC-4FDE-9F9F-917314861403}" dt="2023-01-26T13:36:11.283" v="2491" actId="20577"/>
          <ac:spMkLst>
            <pc:docMk/>
            <pc:sldMk cId="1609526417" sldId="257"/>
            <ac:spMk id="14" creationId="{9AE75675-4EDA-43B6-86A4-DBB09B62D73E}"/>
          </ac:spMkLst>
        </pc:spChg>
        <pc:spChg chg="mod">
          <ac:chgData name="Mia Rytter Lund" userId="fd5a37df-57b5-4ab7-b42f-f051b0300ae8" providerId="ADAL" clId="{4D3A50B1-14EC-4FDE-9F9F-917314861403}" dt="2023-02-01T16:06:17.922" v="7038" actId="20577"/>
          <ac:spMkLst>
            <pc:docMk/>
            <pc:sldMk cId="1609526417" sldId="257"/>
            <ac:spMk id="16" creationId="{D5063B78-CC00-4A91-A0E5-9BBCBB369EA2}"/>
          </ac:spMkLst>
        </pc:spChg>
        <pc:spChg chg="mod">
          <ac:chgData name="Mia Rytter Lund" userId="fd5a37df-57b5-4ab7-b42f-f051b0300ae8" providerId="ADAL" clId="{4D3A50B1-14EC-4FDE-9F9F-917314861403}" dt="2023-01-30T13:42:38.047" v="5032" actId="20577"/>
          <ac:spMkLst>
            <pc:docMk/>
            <pc:sldMk cId="1609526417" sldId="257"/>
            <ac:spMk id="20" creationId="{BAA2CB1E-5013-4A37-9C3F-E7232D95426F}"/>
          </ac:spMkLst>
        </pc:spChg>
        <pc:picChg chg="add mod modCrop">
          <ac:chgData name="Mia Rytter Lund" userId="fd5a37df-57b5-4ab7-b42f-f051b0300ae8" providerId="ADAL" clId="{4D3A50B1-14EC-4FDE-9F9F-917314861403}" dt="2023-01-30T13:47:53.145" v="5197" actId="1076"/>
          <ac:picMkLst>
            <pc:docMk/>
            <pc:sldMk cId="1609526417" sldId="257"/>
            <ac:picMk id="6" creationId="{E18C37BC-06D5-B95B-9898-E7DFD74CF217}"/>
          </ac:picMkLst>
        </pc:picChg>
      </pc:sldChg>
      <pc:sldChg chg="modSp mod addCm delCm">
        <pc:chgData name="Mia Rytter Lund" userId="fd5a37df-57b5-4ab7-b42f-f051b0300ae8" providerId="ADAL" clId="{4D3A50B1-14EC-4FDE-9F9F-917314861403}" dt="2023-01-26T12:55:46.138" v="226"/>
        <pc:sldMkLst>
          <pc:docMk/>
          <pc:sldMk cId="3669439568" sldId="259"/>
        </pc:sldMkLst>
        <pc:spChg chg="mod">
          <ac:chgData name="Mia Rytter Lund" userId="fd5a37df-57b5-4ab7-b42f-f051b0300ae8" providerId="ADAL" clId="{4D3A50B1-14EC-4FDE-9F9F-917314861403}" dt="2023-01-26T12:54:23.184" v="112" actId="20577"/>
          <ac:spMkLst>
            <pc:docMk/>
            <pc:sldMk cId="3669439568" sldId="259"/>
            <ac:spMk id="85" creationId="{7C5ED0F2-D282-4EFE-A173-370A6822C1FB}"/>
          </ac:spMkLst>
        </pc:spChg>
        <pc:spChg chg="mod">
          <ac:chgData name="Mia Rytter Lund" userId="fd5a37df-57b5-4ab7-b42f-f051b0300ae8" providerId="ADAL" clId="{4D3A50B1-14EC-4FDE-9F9F-917314861403}" dt="2023-01-26T12:54:49.452" v="113" actId="20577"/>
          <ac:spMkLst>
            <pc:docMk/>
            <pc:sldMk cId="3669439568" sldId="259"/>
            <ac:spMk id="86" creationId="{13CDAC51-C63A-4448-A3C2-210A3F84137F}"/>
          </ac:spMkLst>
        </pc:spChg>
        <pc:spChg chg="mod">
          <ac:chgData name="Mia Rytter Lund" userId="fd5a37df-57b5-4ab7-b42f-f051b0300ae8" providerId="ADAL" clId="{4D3A50B1-14EC-4FDE-9F9F-917314861403}" dt="2023-01-26T12:55:16.392" v="156" actId="20577"/>
          <ac:spMkLst>
            <pc:docMk/>
            <pc:sldMk cId="3669439568" sldId="259"/>
            <ac:spMk id="87" creationId="{9E1DA7F9-5606-48EB-BF88-E256288C6546}"/>
          </ac:spMkLst>
        </pc:spChg>
        <pc:spChg chg="mod">
          <ac:chgData name="Mia Rytter Lund" userId="fd5a37df-57b5-4ab7-b42f-f051b0300ae8" providerId="ADAL" clId="{4D3A50B1-14EC-4FDE-9F9F-917314861403}" dt="2023-01-26T12:55:44.169" v="225" actId="20577"/>
          <ac:spMkLst>
            <pc:docMk/>
            <pc:sldMk cId="3669439568" sldId="259"/>
            <ac:spMk id="88" creationId="{13F261A7-5E0D-46BA-9456-20CDA5C1C974}"/>
          </ac:spMkLst>
        </pc:spChg>
      </pc:sldChg>
      <pc:sldChg chg="add del">
        <pc:chgData name="Mia Rytter Lund" userId="fd5a37df-57b5-4ab7-b42f-f051b0300ae8" providerId="ADAL" clId="{4D3A50B1-14EC-4FDE-9F9F-917314861403}" dt="2023-02-02T11:12:52.675" v="7247"/>
        <pc:sldMkLst>
          <pc:docMk/>
          <pc:sldMk cId="641849619" sldId="383"/>
        </pc:sldMkLst>
      </pc:sldChg>
      <pc:sldChg chg="modSp mod addCm delCm">
        <pc:chgData name="Mia Rytter Lund" userId="fd5a37df-57b5-4ab7-b42f-f051b0300ae8" providerId="ADAL" clId="{4D3A50B1-14EC-4FDE-9F9F-917314861403}" dt="2023-01-26T12:53:17.375" v="69"/>
        <pc:sldMkLst>
          <pc:docMk/>
          <pc:sldMk cId="2397171875" sldId="1978"/>
        </pc:sldMkLst>
        <pc:spChg chg="mod">
          <ac:chgData name="Mia Rytter Lund" userId="fd5a37df-57b5-4ab7-b42f-f051b0300ae8" providerId="ADAL" clId="{4D3A50B1-14EC-4FDE-9F9F-917314861403}" dt="2023-01-26T12:53:13.903" v="68" actId="20577"/>
          <ac:spMkLst>
            <pc:docMk/>
            <pc:sldMk cId="2397171875" sldId="1978"/>
            <ac:spMk id="9" creationId="{53EEA5E1-87DC-4386-846F-97C024B4B09C}"/>
          </ac:spMkLst>
        </pc:spChg>
      </pc:sldChg>
      <pc:sldChg chg="modSp add del mod">
        <pc:chgData name="Mia Rytter Lund" userId="fd5a37df-57b5-4ab7-b42f-f051b0300ae8" providerId="ADAL" clId="{4D3A50B1-14EC-4FDE-9F9F-917314861403}" dt="2023-02-03T11:33:42.249" v="7409" actId="20577"/>
        <pc:sldMkLst>
          <pc:docMk/>
          <pc:sldMk cId="216788736" sldId="1980"/>
        </pc:sldMkLst>
        <pc:spChg chg="mod">
          <ac:chgData name="Mia Rytter Lund" userId="fd5a37df-57b5-4ab7-b42f-f051b0300ae8" providerId="ADAL" clId="{4D3A50B1-14EC-4FDE-9F9F-917314861403}" dt="2023-02-02T11:19:41.304" v="7256" actId="6549"/>
          <ac:spMkLst>
            <pc:docMk/>
            <pc:sldMk cId="216788736" sldId="1980"/>
            <ac:spMk id="32" creationId="{6FADC90D-C63E-4995-A315-394AAA3E1D8D}"/>
          </ac:spMkLst>
        </pc:spChg>
        <pc:spChg chg="mod">
          <ac:chgData name="Mia Rytter Lund" userId="fd5a37df-57b5-4ab7-b42f-f051b0300ae8" providerId="ADAL" clId="{4D3A50B1-14EC-4FDE-9F9F-917314861403}" dt="2023-02-02T11:19:46.781" v="7269" actId="20577"/>
          <ac:spMkLst>
            <pc:docMk/>
            <pc:sldMk cId="216788736" sldId="1980"/>
            <ac:spMk id="34" creationId="{4DA16978-08B8-44DE-AE66-A99A848C6160}"/>
          </ac:spMkLst>
        </pc:spChg>
        <pc:spChg chg="mod">
          <ac:chgData name="Mia Rytter Lund" userId="fd5a37df-57b5-4ab7-b42f-f051b0300ae8" providerId="ADAL" clId="{4D3A50B1-14EC-4FDE-9F9F-917314861403}" dt="2023-02-03T11:33:42.249" v="7409" actId="20577"/>
          <ac:spMkLst>
            <pc:docMk/>
            <pc:sldMk cId="216788736" sldId="1980"/>
            <ac:spMk id="35" creationId="{93122527-33C3-4B7B-8284-7B11953F1FA9}"/>
          </ac:spMkLst>
        </pc:spChg>
      </pc:sldChg>
      <pc:sldChg chg="delSp modSp del mod addCm delCm">
        <pc:chgData name="Mia Rytter Lund" userId="fd5a37df-57b5-4ab7-b42f-f051b0300ae8" providerId="ADAL" clId="{4D3A50B1-14EC-4FDE-9F9F-917314861403}" dt="2023-02-01T08:22:09.250" v="6925" actId="47"/>
        <pc:sldMkLst>
          <pc:docMk/>
          <pc:sldMk cId="8440676" sldId="1981"/>
        </pc:sldMkLst>
        <pc:spChg chg="mod">
          <ac:chgData name="Mia Rytter Lund" userId="fd5a37df-57b5-4ab7-b42f-f051b0300ae8" providerId="ADAL" clId="{4D3A50B1-14EC-4FDE-9F9F-917314861403}" dt="2023-01-26T13:30:43.747" v="2098" actId="6549"/>
          <ac:spMkLst>
            <pc:docMk/>
            <pc:sldMk cId="8440676" sldId="1981"/>
            <ac:spMk id="19" creationId="{5D72530B-A363-4545-8632-1FFB3C39526F}"/>
          </ac:spMkLst>
        </pc:spChg>
        <pc:spChg chg="mod">
          <ac:chgData name="Mia Rytter Lund" userId="fd5a37df-57b5-4ab7-b42f-f051b0300ae8" providerId="ADAL" clId="{4D3A50B1-14EC-4FDE-9F9F-917314861403}" dt="2023-01-26T13:31:54.708" v="2228" actId="20577"/>
          <ac:spMkLst>
            <pc:docMk/>
            <pc:sldMk cId="8440676" sldId="1981"/>
            <ac:spMk id="20" creationId="{C7D25A4A-01FC-446C-8AF8-DFD4F741B818}"/>
          </ac:spMkLst>
        </pc:spChg>
        <pc:picChg chg="del">
          <ac:chgData name="Mia Rytter Lund" userId="fd5a37df-57b5-4ab7-b42f-f051b0300ae8" providerId="ADAL" clId="{4D3A50B1-14EC-4FDE-9F9F-917314861403}" dt="2023-02-01T08:22:07.296" v="6924" actId="478"/>
          <ac:picMkLst>
            <pc:docMk/>
            <pc:sldMk cId="8440676" sldId="1981"/>
            <ac:picMk id="3" creationId="{F3EC6D24-7B01-4ED8-A9F8-DF0BED03AB07}"/>
          </ac:picMkLst>
        </pc:picChg>
        <pc:picChg chg="del">
          <ac:chgData name="Mia Rytter Lund" userId="fd5a37df-57b5-4ab7-b42f-f051b0300ae8" providerId="ADAL" clId="{4D3A50B1-14EC-4FDE-9F9F-917314861403}" dt="2023-02-01T08:22:07.296" v="6924" actId="478"/>
          <ac:picMkLst>
            <pc:docMk/>
            <pc:sldMk cId="8440676" sldId="1981"/>
            <ac:picMk id="22" creationId="{257C2FFC-23C6-45D6-8011-61F5F74A401A}"/>
          </ac:picMkLst>
        </pc:picChg>
      </pc:sldChg>
      <pc:sldChg chg="modSp mod addCm delCm modCm">
        <pc:chgData name="Mia Rytter Lund" userId="fd5a37df-57b5-4ab7-b42f-f051b0300ae8" providerId="ADAL" clId="{4D3A50B1-14EC-4FDE-9F9F-917314861403}" dt="2023-01-26T12:56:44.811" v="260"/>
        <pc:sldMkLst>
          <pc:docMk/>
          <pc:sldMk cId="2455952374" sldId="1982"/>
        </pc:sldMkLst>
        <pc:spChg chg="mod">
          <ac:chgData name="Mia Rytter Lund" userId="fd5a37df-57b5-4ab7-b42f-f051b0300ae8" providerId="ADAL" clId="{4D3A50B1-14EC-4FDE-9F9F-917314861403}" dt="2023-01-26T12:56:11.114" v="256" actId="20577"/>
          <ac:spMkLst>
            <pc:docMk/>
            <pc:sldMk cId="2455952374" sldId="1982"/>
            <ac:spMk id="56" creationId="{B730520B-02EE-4526-AACF-783EC6EB42DE}"/>
          </ac:spMkLst>
        </pc:spChg>
      </pc:sldChg>
      <pc:sldChg chg="addSp modSp del mod addCm delCm modCm">
        <pc:chgData name="Mia Rytter Lund" userId="fd5a37df-57b5-4ab7-b42f-f051b0300ae8" providerId="ADAL" clId="{4D3A50B1-14EC-4FDE-9F9F-917314861403}" dt="2023-01-30T14:09:55.716" v="6765" actId="47"/>
        <pc:sldMkLst>
          <pc:docMk/>
          <pc:sldMk cId="3446406459" sldId="1983"/>
        </pc:sldMkLst>
        <pc:spChg chg="add mod">
          <ac:chgData name="Mia Rytter Lund" userId="fd5a37df-57b5-4ab7-b42f-f051b0300ae8" providerId="ADAL" clId="{4D3A50B1-14EC-4FDE-9F9F-917314861403}" dt="2023-01-30T13:36:19.189" v="4396" actId="14100"/>
          <ac:spMkLst>
            <pc:docMk/>
            <pc:sldMk cId="3446406459" sldId="1983"/>
            <ac:spMk id="2" creationId="{160246C5-0568-2E16-7455-20C819143FF8}"/>
          </ac:spMkLst>
        </pc:spChg>
        <pc:spChg chg="mod">
          <ac:chgData name="Mia Rytter Lund" userId="fd5a37df-57b5-4ab7-b42f-f051b0300ae8" providerId="ADAL" clId="{4D3A50B1-14EC-4FDE-9F9F-917314861403}" dt="2023-01-30T13:38:46.756" v="4453" actId="6549"/>
          <ac:spMkLst>
            <pc:docMk/>
            <pc:sldMk cId="3446406459" sldId="1983"/>
            <ac:spMk id="21" creationId="{E7E73127-719C-481B-B67B-CCA16425E42B}"/>
          </ac:spMkLst>
        </pc:spChg>
      </pc:sldChg>
      <pc:sldChg chg="modSp mod addCm delCm modCm">
        <pc:chgData name="Mia Rytter Lund" userId="fd5a37df-57b5-4ab7-b42f-f051b0300ae8" providerId="ADAL" clId="{4D3A50B1-14EC-4FDE-9F9F-917314861403}" dt="2023-01-30T13:42:32.402" v="5030"/>
        <pc:sldMkLst>
          <pc:docMk/>
          <pc:sldMk cId="3441729892" sldId="1984"/>
        </pc:sldMkLst>
        <pc:spChg chg="mod">
          <ac:chgData name="Mia Rytter Lund" userId="fd5a37df-57b5-4ab7-b42f-f051b0300ae8" providerId="ADAL" clId="{4D3A50B1-14EC-4FDE-9F9F-917314861403}" dt="2023-01-30T13:41:13.991" v="4830" actId="14100"/>
          <ac:spMkLst>
            <pc:docMk/>
            <pc:sldMk cId="3441729892" sldId="1984"/>
            <ac:spMk id="13" creationId="{6D457B4F-2914-4833-84A1-5A5D2F84CA7D}"/>
          </ac:spMkLst>
        </pc:spChg>
        <pc:spChg chg="mod">
          <ac:chgData name="Mia Rytter Lund" userId="fd5a37df-57b5-4ab7-b42f-f051b0300ae8" providerId="ADAL" clId="{4D3A50B1-14EC-4FDE-9F9F-917314861403}" dt="2023-01-30T13:41:10.512" v="4829" actId="20577"/>
          <ac:spMkLst>
            <pc:docMk/>
            <pc:sldMk cId="3441729892" sldId="1984"/>
            <ac:spMk id="14" creationId="{8A84B69B-B9F9-4F80-8651-F050BAF5CFBC}"/>
          </ac:spMkLst>
        </pc:spChg>
        <pc:spChg chg="mod">
          <ac:chgData name="Mia Rytter Lund" userId="fd5a37df-57b5-4ab7-b42f-f051b0300ae8" providerId="ADAL" clId="{4D3A50B1-14EC-4FDE-9F9F-917314861403}" dt="2023-01-30T13:42:29.926" v="5029" actId="20577"/>
          <ac:spMkLst>
            <pc:docMk/>
            <pc:sldMk cId="3441729892" sldId="1984"/>
            <ac:spMk id="15" creationId="{95BED6D4-B599-483B-817D-87AD7138B9D8}"/>
          </ac:spMkLst>
        </pc:spChg>
      </pc:sldChg>
      <pc:sldChg chg="addSp delSp modSp mod addCm delCm">
        <pc:chgData name="Mia Rytter Lund" userId="fd5a37df-57b5-4ab7-b42f-f051b0300ae8" providerId="ADAL" clId="{4D3A50B1-14EC-4FDE-9F9F-917314861403}" dt="2023-02-01T08:12:07.016" v="6920" actId="113"/>
        <pc:sldMkLst>
          <pc:docMk/>
          <pc:sldMk cId="2676015612" sldId="1988"/>
        </pc:sldMkLst>
        <pc:spChg chg="add del mod">
          <ac:chgData name="Mia Rytter Lund" userId="fd5a37df-57b5-4ab7-b42f-f051b0300ae8" providerId="ADAL" clId="{4D3A50B1-14EC-4FDE-9F9F-917314861403}" dt="2023-02-01T08:10:47.396" v="6875" actId="478"/>
          <ac:spMkLst>
            <pc:docMk/>
            <pc:sldMk cId="2676015612" sldId="1988"/>
            <ac:spMk id="3" creationId="{1C5AF470-516F-C462-D271-6316D81F1C4E}"/>
          </ac:spMkLst>
        </pc:spChg>
        <pc:spChg chg="add del mod">
          <ac:chgData name="Mia Rytter Lund" userId="fd5a37df-57b5-4ab7-b42f-f051b0300ae8" providerId="ADAL" clId="{4D3A50B1-14EC-4FDE-9F9F-917314861403}" dt="2023-02-01T08:11:08.984" v="6881" actId="478"/>
          <ac:spMkLst>
            <pc:docMk/>
            <pc:sldMk cId="2676015612" sldId="1988"/>
            <ac:spMk id="4" creationId="{E499A5CB-0011-8AAC-E148-F5240DB93F61}"/>
          </ac:spMkLst>
        </pc:spChg>
        <pc:spChg chg="add del mod">
          <ac:chgData name="Mia Rytter Lund" userId="fd5a37df-57b5-4ab7-b42f-f051b0300ae8" providerId="ADAL" clId="{4D3A50B1-14EC-4FDE-9F9F-917314861403}" dt="2023-02-01T08:10:48.647" v="6876" actId="478"/>
          <ac:spMkLst>
            <pc:docMk/>
            <pc:sldMk cId="2676015612" sldId="1988"/>
            <ac:spMk id="6" creationId="{E6778059-8578-2D66-F22B-F4930F82712B}"/>
          </ac:spMkLst>
        </pc:spChg>
        <pc:spChg chg="mod">
          <ac:chgData name="Mia Rytter Lund" userId="fd5a37df-57b5-4ab7-b42f-f051b0300ae8" providerId="ADAL" clId="{4D3A50B1-14EC-4FDE-9F9F-917314861403}" dt="2023-02-01T08:11:48.003" v="6895" actId="14100"/>
          <ac:spMkLst>
            <pc:docMk/>
            <pc:sldMk cId="2676015612" sldId="1988"/>
            <ac:spMk id="32" creationId="{6FADC90D-C63E-4995-A315-394AAA3E1D8D}"/>
          </ac:spMkLst>
        </pc:spChg>
        <pc:spChg chg="mod">
          <ac:chgData name="Mia Rytter Lund" userId="fd5a37df-57b5-4ab7-b42f-f051b0300ae8" providerId="ADAL" clId="{4D3A50B1-14EC-4FDE-9F9F-917314861403}" dt="2023-02-01T08:11:40.585" v="6893" actId="14100"/>
          <ac:spMkLst>
            <pc:docMk/>
            <pc:sldMk cId="2676015612" sldId="1988"/>
            <ac:spMk id="33" creationId="{1797CD25-E47B-462D-9CDE-FDA73CBB813E}"/>
          </ac:spMkLst>
        </pc:spChg>
        <pc:spChg chg="mod">
          <ac:chgData name="Mia Rytter Lund" userId="fd5a37df-57b5-4ab7-b42f-f051b0300ae8" providerId="ADAL" clId="{4D3A50B1-14EC-4FDE-9F9F-917314861403}" dt="2023-02-01T08:12:07.016" v="6920" actId="113"/>
          <ac:spMkLst>
            <pc:docMk/>
            <pc:sldMk cId="2676015612" sldId="1988"/>
            <ac:spMk id="34" creationId="{4DA16978-08B8-44DE-AE66-A99A848C6160}"/>
          </ac:spMkLst>
        </pc:spChg>
      </pc:sldChg>
      <pc:sldChg chg="modSp del mod">
        <pc:chgData name="Mia Rytter Lund" userId="fd5a37df-57b5-4ab7-b42f-f051b0300ae8" providerId="ADAL" clId="{4D3A50B1-14EC-4FDE-9F9F-917314861403}" dt="2023-01-30T14:09:57.063" v="6767" actId="47"/>
        <pc:sldMkLst>
          <pc:docMk/>
          <pc:sldMk cId="15753831" sldId="1990"/>
        </pc:sldMkLst>
        <pc:spChg chg="mod">
          <ac:chgData name="Mia Rytter Lund" userId="fd5a37df-57b5-4ab7-b42f-f051b0300ae8" providerId="ADAL" clId="{4D3A50B1-14EC-4FDE-9F9F-917314861403}" dt="2023-01-26T13:20:44.013" v="1771" actId="20577"/>
          <ac:spMkLst>
            <pc:docMk/>
            <pc:sldMk cId="15753831" sldId="1990"/>
            <ac:spMk id="20" creationId="{1923FD27-E9DC-40D5-A4B1-EE2E259978AF}"/>
          </ac:spMkLst>
        </pc:spChg>
        <pc:spChg chg="mod">
          <ac:chgData name="Mia Rytter Lund" userId="fd5a37df-57b5-4ab7-b42f-f051b0300ae8" providerId="ADAL" clId="{4D3A50B1-14EC-4FDE-9F9F-917314861403}" dt="2023-01-26T13:22:54.344" v="1910" actId="20577"/>
          <ac:spMkLst>
            <pc:docMk/>
            <pc:sldMk cId="15753831" sldId="1990"/>
            <ac:spMk id="23" creationId="{DC8D841A-07A7-4C6A-94C2-39243F2EB8BA}"/>
          </ac:spMkLst>
        </pc:spChg>
      </pc:sldChg>
      <pc:sldChg chg="modSp del mod addCm delCm modCm">
        <pc:chgData name="Mia Rytter Lund" userId="fd5a37df-57b5-4ab7-b42f-f051b0300ae8" providerId="ADAL" clId="{4D3A50B1-14EC-4FDE-9F9F-917314861403}" dt="2023-02-01T08:10:42.388" v="6874" actId="47"/>
        <pc:sldMkLst>
          <pc:docMk/>
          <pc:sldMk cId="1053166324" sldId="1991"/>
        </pc:sldMkLst>
        <pc:spChg chg="mod">
          <ac:chgData name="Mia Rytter Lund" userId="fd5a37df-57b5-4ab7-b42f-f051b0300ae8" providerId="ADAL" clId="{4D3A50B1-14EC-4FDE-9F9F-917314861403}" dt="2023-01-26T13:03:11.112" v="775" actId="20577"/>
          <ac:spMkLst>
            <pc:docMk/>
            <pc:sldMk cId="1053166324" sldId="1991"/>
            <ac:spMk id="13" creationId="{D2F201AB-E8A3-43D5-AD56-0BC3AF8A3B9A}"/>
          </ac:spMkLst>
        </pc:spChg>
        <pc:spChg chg="mod">
          <ac:chgData name="Mia Rytter Lund" userId="fd5a37df-57b5-4ab7-b42f-f051b0300ae8" providerId="ADAL" clId="{4D3A50B1-14EC-4FDE-9F9F-917314861403}" dt="2023-02-01T08:10:18.539" v="6869" actId="21"/>
          <ac:spMkLst>
            <pc:docMk/>
            <pc:sldMk cId="1053166324" sldId="1991"/>
            <ac:spMk id="34" creationId="{4DA16978-08B8-44DE-AE66-A99A848C6160}"/>
          </ac:spMkLst>
        </pc:spChg>
        <pc:grpChg chg="mod">
          <ac:chgData name="Mia Rytter Lund" userId="fd5a37df-57b5-4ab7-b42f-f051b0300ae8" providerId="ADAL" clId="{4D3A50B1-14EC-4FDE-9F9F-917314861403}" dt="2023-02-01T08:09:57.903" v="6866" actId="1076"/>
          <ac:grpSpMkLst>
            <pc:docMk/>
            <pc:sldMk cId="1053166324" sldId="1991"/>
            <ac:grpSpMk id="3" creationId="{4A9A6A59-AEE4-4D27-B03B-5680BABCC315}"/>
          </ac:grpSpMkLst>
        </pc:grpChg>
      </pc:sldChg>
      <pc:sldChg chg="addSp modSp mod">
        <pc:chgData name="Mia Rytter Lund" userId="fd5a37df-57b5-4ab7-b42f-f051b0300ae8" providerId="ADAL" clId="{4D3A50B1-14EC-4FDE-9F9F-917314861403}" dt="2023-02-01T08:25:25.685" v="6965" actId="14100"/>
        <pc:sldMkLst>
          <pc:docMk/>
          <pc:sldMk cId="3606739673" sldId="1992"/>
        </pc:sldMkLst>
        <pc:spChg chg="add mod">
          <ac:chgData name="Mia Rytter Lund" userId="fd5a37df-57b5-4ab7-b42f-f051b0300ae8" providerId="ADAL" clId="{4D3A50B1-14EC-4FDE-9F9F-917314861403}" dt="2023-02-01T08:23:54.606" v="6946" actId="404"/>
          <ac:spMkLst>
            <pc:docMk/>
            <pc:sldMk cId="3606739673" sldId="1992"/>
            <ac:spMk id="12" creationId="{2BB846B8-9FCD-E68F-2A2F-9E71B9C787B4}"/>
          </ac:spMkLst>
        </pc:spChg>
        <pc:spChg chg="add mod">
          <ac:chgData name="Mia Rytter Lund" userId="fd5a37df-57b5-4ab7-b42f-f051b0300ae8" providerId="ADAL" clId="{4D3A50B1-14EC-4FDE-9F9F-917314861403}" dt="2023-02-01T08:24:34.605" v="6958" actId="404"/>
          <ac:spMkLst>
            <pc:docMk/>
            <pc:sldMk cId="3606739673" sldId="1992"/>
            <ac:spMk id="15" creationId="{EBDE746E-9C4A-CBE3-878E-22E2834474CA}"/>
          </ac:spMkLst>
        </pc:spChg>
        <pc:spChg chg="mod">
          <ac:chgData name="Mia Rytter Lund" userId="fd5a37df-57b5-4ab7-b42f-f051b0300ae8" providerId="ADAL" clId="{4D3A50B1-14EC-4FDE-9F9F-917314861403}" dt="2023-02-01T08:23:40.628" v="6941" actId="21"/>
          <ac:spMkLst>
            <pc:docMk/>
            <pc:sldMk cId="3606739673" sldId="1992"/>
            <ac:spMk id="19" creationId="{5D72530B-A363-4545-8632-1FFB3C39526F}"/>
          </ac:spMkLst>
        </pc:spChg>
        <pc:spChg chg="mod">
          <ac:chgData name="Mia Rytter Lund" userId="fd5a37df-57b5-4ab7-b42f-f051b0300ae8" providerId="ADAL" clId="{4D3A50B1-14EC-4FDE-9F9F-917314861403}" dt="2023-02-01T08:24:19.918" v="6954" actId="21"/>
          <ac:spMkLst>
            <pc:docMk/>
            <pc:sldMk cId="3606739673" sldId="1992"/>
            <ac:spMk id="24" creationId="{65ACF726-27D2-4278-8E96-7B105C601347}"/>
          </ac:spMkLst>
        </pc:spChg>
        <pc:grpChg chg="mod">
          <ac:chgData name="Mia Rytter Lund" userId="fd5a37df-57b5-4ab7-b42f-f051b0300ae8" providerId="ADAL" clId="{4D3A50B1-14EC-4FDE-9F9F-917314861403}" dt="2023-02-01T08:25:22.372" v="6964" actId="14100"/>
          <ac:grpSpMkLst>
            <pc:docMk/>
            <pc:sldMk cId="3606739673" sldId="1992"/>
            <ac:grpSpMk id="2" creationId="{59694333-A1DD-4056-8B71-797BBA8662DF}"/>
          </ac:grpSpMkLst>
        </pc:grpChg>
        <pc:grpChg chg="mod">
          <ac:chgData name="Mia Rytter Lund" userId="fd5a37df-57b5-4ab7-b42f-f051b0300ae8" providerId="ADAL" clId="{4D3A50B1-14EC-4FDE-9F9F-917314861403}" dt="2023-02-01T08:25:25.685" v="6965" actId="14100"/>
          <ac:grpSpMkLst>
            <pc:docMk/>
            <pc:sldMk cId="3606739673" sldId="1992"/>
            <ac:grpSpMk id="3" creationId="{4F399B1D-4CC0-4467-8609-AB2D591854F3}"/>
          </ac:grpSpMkLst>
        </pc:grpChg>
        <pc:picChg chg="add mod">
          <ac:chgData name="Mia Rytter Lund" userId="fd5a37df-57b5-4ab7-b42f-f051b0300ae8" providerId="ADAL" clId="{4D3A50B1-14EC-4FDE-9F9F-917314861403}" dt="2023-02-01T08:24:10.536" v="6952" actId="1076"/>
          <ac:picMkLst>
            <pc:docMk/>
            <pc:sldMk cId="3606739673" sldId="1992"/>
            <ac:picMk id="4" creationId="{62BE5849-991D-AC75-96DF-66F014F78B76}"/>
          </ac:picMkLst>
        </pc:picChg>
        <pc:picChg chg="add mod">
          <ac:chgData name="Mia Rytter Lund" userId="fd5a37df-57b5-4ab7-b42f-f051b0300ae8" providerId="ADAL" clId="{4D3A50B1-14EC-4FDE-9F9F-917314861403}" dt="2023-02-01T08:25:17.782" v="6963" actId="1076"/>
          <ac:picMkLst>
            <pc:docMk/>
            <pc:sldMk cId="3606739673" sldId="1992"/>
            <ac:picMk id="20" creationId="{4DFAF2A5-99C6-9813-4285-7B41FC18DEC3}"/>
          </ac:picMkLst>
        </pc:picChg>
      </pc:sldChg>
      <pc:sldChg chg="modSp del mod delCm modCm">
        <pc:chgData name="Mia Rytter Lund" userId="fd5a37df-57b5-4ab7-b42f-f051b0300ae8" providerId="ADAL" clId="{4D3A50B1-14EC-4FDE-9F9F-917314861403}" dt="2023-01-30T14:09:56.256" v="6766" actId="47"/>
        <pc:sldMkLst>
          <pc:docMk/>
          <pc:sldMk cId="1118208253" sldId="1993"/>
        </pc:sldMkLst>
        <pc:spChg chg="mod">
          <ac:chgData name="Mia Rytter Lund" userId="fd5a37df-57b5-4ab7-b42f-f051b0300ae8" providerId="ADAL" clId="{4D3A50B1-14EC-4FDE-9F9F-917314861403}" dt="2023-01-26T13:16:45.462" v="1580" actId="20577"/>
          <ac:spMkLst>
            <pc:docMk/>
            <pc:sldMk cId="1118208253" sldId="1993"/>
            <ac:spMk id="20" creationId="{1923FD27-E9DC-40D5-A4B1-EE2E259978AF}"/>
          </ac:spMkLst>
        </pc:spChg>
        <pc:spChg chg="mod">
          <ac:chgData name="Mia Rytter Lund" userId="fd5a37df-57b5-4ab7-b42f-f051b0300ae8" providerId="ADAL" clId="{4D3A50B1-14EC-4FDE-9F9F-917314861403}" dt="2023-01-26T13:07:51.715" v="999" actId="20577"/>
          <ac:spMkLst>
            <pc:docMk/>
            <pc:sldMk cId="1118208253" sldId="1993"/>
            <ac:spMk id="23" creationId="{92660346-9379-4E5E-A504-88A46E8336B1}"/>
          </ac:spMkLst>
        </pc:spChg>
        <pc:spChg chg="mod">
          <ac:chgData name="Mia Rytter Lund" userId="fd5a37df-57b5-4ab7-b42f-f051b0300ae8" providerId="ADAL" clId="{4D3A50B1-14EC-4FDE-9F9F-917314861403}" dt="2023-01-26T13:15:37.914" v="1523" actId="20577"/>
          <ac:spMkLst>
            <pc:docMk/>
            <pc:sldMk cId="1118208253" sldId="1993"/>
            <ac:spMk id="25" creationId="{0A5239A4-21D4-4585-86F0-5205BDA57DA2}"/>
          </ac:spMkLst>
        </pc:spChg>
        <pc:grpChg chg="mod">
          <ac:chgData name="Mia Rytter Lund" userId="fd5a37df-57b5-4ab7-b42f-f051b0300ae8" providerId="ADAL" clId="{4D3A50B1-14EC-4FDE-9F9F-917314861403}" dt="2023-01-26T13:16:54.020" v="1582" actId="14100"/>
          <ac:grpSpMkLst>
            <pc:docMk/>
            <pc:sldMk cId="1118208253" sldId="1993"/>
            <ac:grpSpMk id="2" creationId="{53491543-F078-4100-94E4-AEDB0DF75B8C}"/>
          </ac:grpSpMkLst>
        </pc:grpChg>
        <pc:grpChg chg="mod">
          <ac:chgData name="Mia Rytter Lund" userId="fd5a37df-57b5-4ab7-b42f-f051b0300ae8" providerId="ADAL" clId="{4D3A50B1-14EC-4FDE-9F9F-917314861403}" dt="2023-01-26T13:16:49.946" v="1581" actId="14100"/>
          <ac:grpSpMkLst>
            <pc:docMk/>
            <pc:sldMk cId="1118208253" sldId="1993"/>
            <ac:grpSpMk id="3" creationId="{0819B87C-64E7-4384-B380-6002AC9F657E}"/>
          </ac:grpSpMkLst>
        </pc:grpChg>
      </pc:sldChg>
      <pc:sldChg chg="addSp delSp modSp add mod delCm">
        <pc:chgData name="Mia Rytter Lund" userId="fd5a37df-57b5-4ab7-b42f-f051b0300ae8" providerId="ADAL" clId="{4D3A50B1-14EC-4FDE-9F9F-917314861403}" dt="2023-02-02T10:23:51.641" v="7241" actId="113"/>
        <pc:sldMkLst>
          <pc:docMk/>
          <pc:sldMk cId="2312194197" sldId="1994"/>
        </pc:sldMkLst>
        <pc:spChg chg="add del mod">
          <ac:chgData name="Mia Rytter Lund" userId="fd5a37df-57b5-4ab7-b42f-f051b0300ae8" providerId="ADAL" clId="{4D3A50B1-14EC-4FDE-9F9F-917314861403}" dt="2023-01-30T12:38:45.108" v="3280" actId="478"/>
          <ac:spMkLst>
            <pc:docMk/>
            <pc:sldMk cId="2312194197" sldId="1994"/>
            <ac:spMk id="3" creationId="{CEDAAEDF-E59F-D57F-69B7-15A8BBC440E8}"/>
          </ac:spMkLst>
        </pc:spChg>
        <pc:spChg chg="add del mod ord">
          <ac:chgData name="Mia Rytter Lund" userId="fd5a37df-57b5-4ab7-b42f-f051b0300ae8" providerId="ADAL" clId="{4D3A50B1-14EC-4FDE-9F9F-917314861403}" dt="2023-01-30T12:39:10.926" v="3295"/>
          <ac:spMkLst>
            <pc:docMk/>
            <pc:sldMk cId="2312194197" sldId="1994"/>
            <ac:spMk id="4" creationId="{2BFCED09-EF26-BE6F-53FE-1F6A3E6EA76C}"/>
          </ac:spMkLst>
        </pc:spChg>
        <pc:spChg chg="add del mod">
          <ac:chgData name="Mia Rytter Lund" userId="fd5a37df-57b5-4ab7-b42f-f051b0300ae8" providerId="ADAL" clId="{4D3A50B1-14EC-4FDE-9F9F-917314861403}" dt="2023-01-30T12:45:54.214" v="3755" actId="478"/>
          <ac:spMkLst>
            <pc:docMk/>
            <pc:sldMk cId="2312194197" sldId="1994"/>
            <ac:spMk id="8" creationId="{F3B70284-9AFA-F1B6-CF7C-DDA6518F1D04}"/>
          </ac:spMkLst>
        </pc:spChg>
        <pc:spChg chg="add del mod">
          <ac:chgData name="Mia Rytter Lund" userId="fd5a37df-57b5-4ab7-b42f-f051b0300ae8" providerId="ADAL" clId="{4D3A50B1-14EC-4FDE-9F9F-917314861403}" dt="2023-01-30T12:41:18.314" v="3389" actId="478"/>
          <ac:spMkLst>
            <pc:docMk/>
            <pc:sldMk cId="2312194197" sldId="1994"/>
            <ac:spMk id="9" creationId="{F6CC0D8E-C511-CD32-292D-5AC26D5585C3}"/>
          </ac:spMkLst>
        </pc:spChg>
        <pc:spChg chg="add del mod">
          <ac:chgData name="Mia Rytter Lund" userId="fd5a37df-57b5-4ab7-b42f-f051b0300ae8" providerId="ADAL" clId="{4D3A50B1-14EC-4FDE-9F9F-917314861403}" dt="2023-01-30T12:38:46.591" v="3281" actId="478"/>
          <ac:spMkLst>
            <pc:docMk/>
            <pc:sldMk cId="2312194197" sldId="1994"/>
            <ac:spMk id="11" creationId="{5A46E3DF-718D-62EE-23B6-D15FBB4507AE}"/>
          </ac:spMkLst>
        </pc:spChg>
        <pc:spChg chg="add del mod">
          <ac:chgData name="Mia Rytter Lund" userId="fd5a37df-57b5-4ab7-b42f-f051b0300ae8" providerId="ADAL" clId="{4D3A50B1-14EC-4FDE-9F9F-917314861403}" dt="2023-01-30T12:38:48.458" v="3282" actId="478"/>
          <ac:spMkLst>
            <pc:docMk/>
            <pc:sldMk cId="2312194197" sldId="1994"/>
            <ac:spMk id="12" creationId="{06810CAB-6A25-E9A4-3F9D-D63103CEFE2F}"/>
          </ac:spMkLst>
        </pc:spChg>
        <pc:spChg chg="add del mod">
          <ac:chgData name="Mia Rytter Lund" userId="fd5a37df-57b5-4ab7-b42f-f051b0300ae8" providerId="ADAL" clId="{4D3A50B1-14EC-4FDE-9F9F-917314861403}" dt="2023-01-30T12:39:06.996" v="3292" actId="478"/>
          <ac:spMkLst>
            <pc:docMk/>
            <pc:sldMk cId="2312194197" sldId="1994"/>
            <ac:spMk id="13" creationId="{DDE18D2B-C57C-A01C-8E9C-BE3055E13239}"/>
          </ac:spMkLst>
        </pc:spChg>
        <pc:spChg chg="add mod">
          <ac:chgData name="Mia Rytter Lund" userId="fd5a37df-57b5-4ab7-b42f-f051b0300ae8" providerId="ADAL" clId="{4D3A50B1-14EC-4FDE-9F9F-917314861403}" dt="2023-01-30T12:45:50.693" v="3754" actId="1076"/>
          <ac:spMkLst>
            <pc:docMk/>
            <pc:sldMk cId="2312194197" sldId="1994"/>
            <ac:spMk id="14" creationId="{B4262C07-23D3-318A-75C2-834BB994B8B0}"/>
          </ac:spMkLst>
        </pc:spChg>
        <pc:spChg chg="add mod">
          <ac:chgData name="Mia Rytter Lund" userId="fd5a37df-57b5-4ab7-b42f-f051b0300ae8" providerId="ADAL" clId="{4D3A50B1-14EC-4FDE-9F9F-917314861403}" dt="2023-02-02T10:23:45.010" v="7240" actId="14100"/>
          <ac:spMkLst>
            <pc:docMk/>
            <pc:sldMk cId="2312194197" sldId="1994"/>
            <ac:spMk id="15" creationId="{6D0FD959-F44F-CBFF-59E4-1BF239AB7D1C}"/>
          </ac:spMkLst>
        </pc:spChg>
        <pc:spChg chg="add mod">
          <ac:chgData name="Mia Rytter Lund" userId="fd5a37df-57b5-4ab7-b42f-f051b0300ae8" providerId="ADAL" clId="{4D3A50B1-14EC-4FDE-9F9F-917314861403}" dt="2023-01-30T12:46:32.494" v="3766" actId="408"/>
          <ac:spMkLst>
            <pc:docMk/>
            <pc:sldMk cId="2312194197" sldId="1994"/>
            <ac:spMk id="16" creationId="{05630D6E-15B4-E9DA-8A34-EA528D156E01}"/>
          </ac:spMkLst>
        </pc:spChg>
        <pc:spChg chg="add mod">
          <ac:chgData name="Mia Rytter Lund" userId="fd5a37df-57b5-4ab7-b42f-f051b0300ae8" providerId="ADAL" clId="{4D3A50B1-14EC-4FDE-9F9F-917314861403}" dt="2023-02-02T10:23:40.259" v="7239" actId="14100"/>
          <ac:spMkLst>
            <pc:docMk/>
            <pc:sldMk cId="2312194197" sldId="1994"/>
            <ac:spMk id="17" creationId="{6340166A-1013-5C5E-5E37-C3928CF86E30}"/>
          </ac:spMkLst>
        </pc:spChg>
        <pc:spChg chg="add mod">
          <ac:chgData name="Mia Rytter Lund" userId="fd5a37df-57b5-4ab7-b42f-f051b0300ae8" providerId="ADAL" clId="{4D3A50B1-14EC-4FDE-9F9F-917314861403}" dt="2023-01-30T12:46:32.494" v="3766" actId="408"/>
          <ac:spMkLst>
            <pc:docMk/>
            <pc:sldMk cId="2312194197" sldId="1994"/>
            <ac:spMk id="19" creationId="{C3A14AB5-D01C-D1BA-85E5-2017970E3987}"/>
          </ac:spMkLst>
        </pc:spChg>
        <pc:spChg chg="add mod">
          <ac:chgData name="Mia Rytter Lund" userId="fd5a37df-57b5-4ab7-b42f-f051b0300ae8" providerId="ADAL" clId="{4D3A50B1-14EC-4FDE-9F9F-917314861403}" dt="2023-02-02T10:23:36.915" v="7238" actId="14100"/>
          <ac:spMkLst>
            <pc:docMk/>
            <pc:sldMk cId="2312194197" sldId="1994"/>
            <ac:spMk id="20" creationId="{9E0C8E88-9E3E-68E3-D8EA-CE5AAE989270}"/>
          </ac:spMkLst>
        </pc:spChg>
        <pc:spChg chg="add mod">
          <ac:chgData name="Mia Rytter Lund" userId="fd5a37df-57b5-4ab7-b42f-f051b0300ae8" providerId="ADAL" clId="{4D3A50B1-14EC-4FDE-9F9F-917314861403}" dt="2023-01-30T12:45:50.693" v="3754" actId="1076"/>
          <ac:spMkLst>
            <pc:docMk/>
            <pc:sldMk cId="2312194197" sldId="1994"/>
            <ac:spMk id="25" creationId="{199D6B9B-378F-E7B0-19A1-3AF02278A5BA}"/>
          </ac:spMkLst>
        </pc:spChg>
        <pc:spChg chg="add mod">
          <ac:chgData name="Mia Rytter Lund" userId="fd5a37df-57b5-4ab7-b42f-f051b0300ae8" providerId="ADAL" clId="{4D3A50B1-14EC-4FDE-9F9F-917314861403}" dt="2023-02-02T10:23:51.641" v="7241" actId="113"/>
          <ac:spMkLst>
            <pc:docMk/>
            <pc:sldMk cId="2312194197" sldId="1994"/>
            <ac:spMk id="26" creationId="{6E2784A3-426C-53C3-CF39-3C560B4E5090}"/>
          </ac:spMkLst>
        </pc:spChg>
        <pc:spChg chg="mod">
          <ac:chgData name="Mia Rytter Lund" userId="fd5a37df-57b5-4ab7-b42f-f051b0300ae8" providerId="ADAL" clId="{4D3A50B1-14EC-4FDE-9F9F-917314861403}" dt="2023-01-30T13:32:48.262" v="3934" actId="2085"/>
          <ac:spMkLst>
            <pc:docMk/>
            <pc:sldMk cId="2312194197" sldId="1994"/>
            <ac:spMk id="32" creationId="{6FADC90D-C63E-4995-A315-394AAA3E1D8D}"/>
          </ac:spMkLst>
        </pc:spChg>
        <pc:spChg chg="del">
          <ac:chgData name="Mia Rytter Lund" userId="fd5a37df-57b5-4ab7-b42f-f051b0300ae8" providerId="ADAL" clId="{4D3A50B1-14EC-4FDE-9F9F-917314861403}" dt="2023-01-30T12:30:47.057" v="2523" actId="478"/>
          <ac:spMkLst>
            <pc:docMk/>
            <pc:sldMk cId="2312194197" sldId="1994"/>
            <ac:spMk id="33" creationId="{1797CD25-E47B-462D-9CDE-FDA73CBB813E}"/>
          </ac:spMkLst>
        </pc:spChg>
        <pc:spChg chg="del">
          <ac:chgData name="Mia Rytter Lund" userId="fd5a37df-57b5-4ab7-b42f-f051b0300ae8" providerId="ADAL" clId="{4D3A50B1-14EC-4FDE-9F9F-917314861403}" dt="2023-01-30T12:30:49.091" v="2524" actId="478"/>
          <ac:spMkLst>
            <pc:docMk/>
            <pc:sldMk cId="2312194197" sldId="1994"/>
            <ac:spMk id="34" creationId="{4DA16978-08B8-44DE-AE66-A99A848C6160}"/>
          </ac:spMkLst>
        </pc:spChg>
        <pc:spChg chg="add del mod">
          <ac:chgData name="Mia Rytter Lund" userId="fd5a37df-57b5-4ab7-b42f-f051b0300ae8" providerId="ADAL" clId="{4D3A50B1-14EC-4FDE-9F9F-917314861403}" dt="2023-01-30T13:32:33.962" v="3932" actId="478"/>
          <ac:spMkLst>
            <pc:docMk/>
            <pc:sldMk cId="2312194197" sldId="1994"/>
            <ac:spMk id="38" creationId="{56849C99-8450-6A00-B423-A2B443E81587}"/>
          </ac:spMkLst>
        </pc:spChg>
        <pc:cxnChg chg="add del mod">
          <ac:chgData name="Mia Rytter Lund" userId="fd5a37df-57b5-4ab7-b42f-f051b0300ae8" providerId="ADAL" clId="{4D3A50B1-14EC-4FDE-9F9F-917314861403}" dt="2023-01-30T12:45:03.596" v="3743" actId="478"/>
          <ac:cxnSpMkLst>
            <pc:docMk/>
            <pc:sldMk cId="2312194197" sldId="1994"/>
            <ac:cxnSpMk id="7" creationId="{A2FA14F7-28B2-262B-1B6F-14D5D0D5BD70}"/>
          </ac:cxnSpMkLst>
        </pc:cxnChg>
        <pc:cxnChg chg="add del mod">
          <ac:chgData name="Mia Rytter Lund" userId="fd5a37df-57b5-4ab7-b42f-f051b0300ae8" providerId="ADAL" clId="{4D3A50B1-14EC-4FDE-9F9F-917314861403}" dt="2023-01-30T12:45:05.090" v="3744" actId="478"/>
          <ac:cxnSpMkLst>
            <pc:docMk/>
            <pc:sldMk cId="2312194197" sldId="1994"/>
            <ac:cxnSpMk id="10" creationId="{19EC5714-2804-33BF-7A6E-DDDCE4DF4323}"/>
          </ac:cxnSpMkLst>
        </pc:cxnChg>
        <pc:cxnChg chg="add mod">
          <ac:chgData name="Mia Rytter Lund" userId="fd5a37df-57b5-4ab7-b42f-f051b0300ae8" providerId="ADAL" clId="{4D3A50B1-14EC-4FDE-9F9F-917314861403}" dt="2023-02-02T10:23:45.010" v="7240" actId="14100"/>
          <ac:cxnSpMkLst>
            <pc:docMk/>
            <pc:sldMk cId="2312194197" sldId="1994"/>
            <ac:cxnSpMk id="28" creationId="{BDE52B0B-4924-7F41-D102-78C33FD0F61F}"/>
          </ac:cxnSpMkLst>
        </pc:cxnChg>
        <pc:cxnChg chg="add mod">
          <ac:chgData name="Mia Rytter Lund" userId="fd5a37df-57b5-4ab7-b42f-f051b0300ae8" providerId="ADAL" clId="{4D3A50B1-14EC-4FDE-9F9F-917314861403}" dt="2023-02-02T10:23:40.259" v="7239" actId="14100"/>
          <ac:cxnSpMkLst>
            <pc:docMk/>
            <pc:sldMk cId="2312194197" sldId="1994"/>
            <ac:cxnSpMk id="29" creationId="{FB0090B4-1973-F269-7374-7B8A288C254B}"/>
          </ac:cxnSpMkLst>
        </pc:cxnChg>
        <pc:cxnChg chg="add mod">
          <ac:chgData name="Mia Rytter Lund" userId="fd5a37df-57b5-4ab7-b42f-f051b0300ae8" providerId="ADAL" clId="{4D3A50B1-14EC-4FDE-9F9F-917314861403}" dt="2023-02-02T10:23:36.915" v="7238" actId="14100"/>
          <ac:cxnSpMkLst>
            <pc:docMk/>
            <pc:sldMk cId="2312194197" sldId="1994"/>
            <ac:cxnSpMk id="35" creationId="{076A1603-1E77-707B-DAFF-30B17798A430}"/>
          </ac:cxnSpMkLst>
        </pc:cxnChg>
      </pc:sldChg>
      <pc:sldChg chg="addSp delSp modSp add mod delCm">
        <pc:chgData name="Mia Rytter Lund" userId="fd5a37df-57b5-4ab7-b42f-f051b0300ae8" providerId="ADAL" clId="{4D3A50B1-14EC-4FDE-9F9F-917314861403}" dt="2023-02-01T08:21:53.555" v="6922"/>
        <pc:sldMkLst>
          <pc:docMk/>
          <pc:sldMk cId="485284965" sldId="1995"/>
        </pc:sldMkLst>
        <pc:spChg chg="add del mod">
          <ac:chgData name="Mia Rytter Lund" userId="fd5a37df-57b5-4ab7-b42f-f051b0300ae8" providerId="ADAL" clId="{4D3A50B1-14EC-4FDE-9F9F-917314861403}" dt="2023-02-01T08:21:53.555" v="6922"/>
          <ac:spMkLst>
            <pc:docMk/>
            <pc:sldMk cId="485284965" sldId="1995"/>
            <ac:spMk id="3" creationId="{CFC871BC-4313-5582-A9D4-207FAECA6308}"/>
          </ac:spMkLst>
        </pc:spChg>
        <pc:spChg chg="add del mod">
          <ac:chgData name="Mia Rytter Lund" userId="fd5a37df-57b5-4ab7-b42f-f051b0300ae8" providerId="ADAL" clId="{4D3A50B1-14EC-4FDE-9F9F-917314861403}" dt="2023-02-01T08:21:53.555" v="6922"/>
          <ac:spMkLst>
            <pc:docMk/>
            <pc:sldMk cId="485284965" sldId="1995"/>
            <ac:spMk id="4" creationId="{8060822E-5B20-3D9A-65A1-45AD98000070}"/>
          </ac:spMkLst>
        </pc:spChg>
        <pc:spChg chg="add del mod">
          <ac:chgData name="Mia Rytter Lund" userId="fd5a37df-57b5-4ab7-b42f-f051b0300ae8" providerId="ADAL" clId="{4D3A50B1-14EC-4FDE-9F9F-917314861403}" dt="2023-02-01T08:21:53.555" v="6922"/>
          <ac:spMkLst>
            <pc:docMk/>
            <pc:sldMk cId="485284965" sldId="1995"/>
            <ac:spMk id="6" creationId="{09C4DAE2-751F-F218-746A-FD7016C12B58}"/>
          </ac:spMkLst>
        </pc:spChg>
        <pc:spChg chg="mod">
          <ac:chgData name="Mia Rytter Lund" userId="fd5a37df-57b5-4ab7-b42f-f051b0300ae8" providerId="ADAL" clId="{4D3A50B1-14EC-4FDE-9F9F-917314861403}" dt="2023-01-30T14:07:00.902" v="6764" actId="1036"/>
          <ac:spMkLst>
            <pc:docMk/>
            <pc:sldMk cId="485284965" sldId="1995"/>
            <ac:spMk id="18" creationId="{CE39AA97-4D19-424A-B2C7-FF4C20C02189}"/>
          </ac:spMkLst>
        </pc:spChg>
        <pc:spChg chg="mod">
          <ac:chgData name="Mia Rytter Lund" userId="fd5a37df-57b5-4ab7-b42f-f051b0300ae8" providerId="ADAL" clId="{4D3A50B1-14EC-4FDE-9F9F-917314861403}" dt="2023-01-30T13:40:15.232" v="4772" actId="20577"/>
          <ac:spMkLst>
            <pc:docMk/>
            <pc:sldMk cId="485284965" sldId="1995"/>
            <ac:spMk id="21" creationId="{E7E73127-719C-481B-B67B-CCA16425E42B}"/>
          </ac:spMkLst>
        </pc:spChg>
      </pc:sldChg>
      <pc:sldChg chg="addSp delSp modSp add del mod">
        <pc:chgData name="Mia Rytter Lund" userId="fd5a37df-57b5-4ab7-b42f-f051b0300ae8" providerId="ADAL" clId="{4D3A50B1-14EC-4FDE-9F9F-917314861403}" dt="2023-01-30T14:10:47.963" v="6769" actId="47"/>
        <pc:sldMkLst>
          <pc:docMk/>
          <pc:sldMk cId="892881996" sldId="1996"/>
        </pc:sldMkLst>
        <pc:spChg chg="add mod">
          <ac:chgData name="Mia Rytter Lund" userId="fd5a37df-57b5-4ab7-b42f-f051b0300ae8" providerId="ADAL" clId="{4D3A50B1-14EC-4FDE-9F9F-917314861403}" dt="2023-01-30T14:03:31.161" v="6339" actId="1076"/>
          <ac:spMkLst>
            <pc:docMk/>
            <pc:sldMk cId="892881996" sldId="1996"/>
            <ac:spMk id="5" creationId="{7209F47D-4E71-438A-2C97-66833DA770EB}"/>
          </ac:spMkLst>
        </pc:spChg>
        <pc:spChg chg="add mod">
          <ac:chgData name="Mia Rytter Lund" userId="fd5a37df-57b5-4ab7-b42f-f051b0300ae8" providerId="ADAL" clId="{4D3A50B1-14EC-4FDE-9F9F-917314861403}" dt="2023-01-30T14:03:31.161" v="6339" actId="1076"/>
          <ac:spMkLst>
            <pc:docMk/>
            <pc:sldMk cId="892881996" sldId="1996"/>
            <ac:spMk id="6" creationId="{0674D6DA-6C15-716C-21C4-1CC9CD5FC34D}"/>
          </ac:spMkLst>
        </pc:spChg>
        <pc:spChg chg="add mod">
          <ac:chgData name="Mia Rytter Lund" userId="fd5a37df-57b5-4ab7-b42f-f051b0300ae8" providerId="ADAL" clId="{4D3A50B1-14EC-4FDE-9F9F-917314861403}" dt="2023-01-30T14:10:32.753" v="6768" actId="20577"/>
          <ac:spMkLst>
            <pc:docMk/>
            <pc:sldMk cId="892881996" sldId="1996"/>
            <ac:spMk id="7" creationId="{5DECA3F6-8B5B-A93A-00F2-1A318C9B4777}"/>
          </ac:spMkLst>
        </pc:spChg>
        <pc:spChg chg="add mod">
          <ac:chgData name="Mia Rytter Lund" userId="fd5a37df-57b5-4ab7-b42f-f051b0300ae8" providerId="ADAL" clId="{4D3A50B1-14EC-4FDE-9F9F-917314861403}" dt="2023-01-30T14:03:40.745" v="6371" actId="20577"/>
          <ac:spMkLst>
            <pc:docMk/>
            <pc:sldMk cId="892881996" sldId="1996"/>
            <ac:spMk id="8" creationId="{F3A092CB-8A44-D63A-D3B5-019D7C239EAA}"/>
          </ac:spMkLst>
        </pc:spChg>
        <pc:spChg chg="mod">
          <ac:chgData name="Mia Rytter Lund" userId="fd5a37df-57b5-4ab7-b42f-f051b0300ae8" providerId="ADAL" clId="{4D3A50B1-14EC-4FDE-9F9F-917314861403}" dt="2023-01-30T13:44:08.066" v="5093" actId="207"/>
          <ac:spMkLst>
            <pc:docMk/>
            <pc:sldMk cId="892881996" sldId="1996"/>
            <ac:spMk id="9" creationId="{0925DE32-781D-4EBA-80CF-DAC45B0811BF}"/>
          </ac:spMkLst>
        </pc:spChg>
        <pc:spChg chg="mod">
          <ac:chgData name="Mia Rytter Lund" userId="fd5a37df-57b5-4ab7-b42f-f051b0300ae8" providerId="ADAL" clId="{4D3A50B1-14EC-4FDE-9F9F-917314861403}" dt="2023-01-30T13:44:39.213" v="5162" actId="14100"/>
          <ac:spMkLst>
            <pc:docMk/>
            <pc:sldMk cId="892881996" sldId="1996"/>
            <ac:spMk id="10" creationId="{E4303472-D4C8-453D-8ED7-7F327BB3014C}"/>
          </ac:spMkLst>
        </pc:spChg>
        <pc:spChg chg="mod">
          <ac:chgData name="Mia Rytter Lund" userId="fd5a37df-57b5-4ab7-b42f-f051b0300ae8" providerId="ADAL" clId="{4D3A50B1-14EC-4FDE-9F9F-917314861403}" dt="2023-01-30T13:44:10.046" v="5094" actId="207"/>
          <ac:spMkLst>
            <pc:docMk/>
            <pc:sldMk cId="892881996" sldId="1996"/>
            <ac:spMk id="11" creationId="{04DE7178-295E-4CF7-B6E8-11E8E8FC43B0}"/>
          </ac:spMkLst>
        </pc:spChg>
        <pc:spChg chg="mod">
          <ac:chgData name="Mia Rytter Lund" userId="fd5a37df-57b5-4ab7-b42f-f051b0300ae8" providerId="ADAL" clId="{4D3A50B1-14EC-4FDE-9F9F-917314861403}" dt="2023-01-30T14:03:31.161" v="6339" actId="1076"/>
          <ac:spMkLst>
            <pc:docMk/>
            <pc:sldMk cId="892881996" sldId="1996"/>
            <ac:spMk id="12" creationId="{95D71F0E-3B40-4B0C-B6BA-9BA692EB3253}"/>
          </ac:spMkLst>
        </pc:spChg>
        <pc:spChg chg="mod">
          <ac:chgData name="Mia Rytter Lund" userId="fd5a37df-57b5-4ab7-b42f-f051b0300ae8" providerId="ADAL" clId="{4D3A50B1-14EC-4FDE-9F9F-917314861403}" dt="2023-01-30T14:03:31.161" v="6339" actId="1076"/>
          <ac:spMkLst>
            <pc:docMk/>
            <pc:sldMk cId="892881996" sldId="1996"/>
            <ac:spMk id="13" creationId="{6D457B4F-2914-4833-84A1-5A5D2F84CA7D}"/>
          </ac:spMkLst>
        </pc:spChg>
        <pc:spChg chg="mod">
          <ac:chgData name="Mia Rytter Lund" userId="fd5a37df-57b5-4ab7-b42f-f051b0300ae8" providerId="ADAL" clId="{4D3A50B1-14EC-4FDE-9F9F-917314861403}" dt="2023-01-30T14:03:31.161" v="6339" actId="1076"/>
          <ac:spMkLst>
            <pc:docMk/>
            <pc:sldMk cId="892881996" sldId="1996"/>
            <ac:spMk id="14" creationId="{8A84B69B-B9F9-4F80-8651-F050BAF5CFBC}"/>
          </ac:spMkLst>
        </pc:spChg>
        <pc:spChg chg="mod">
          <ac:chgData name="Mia Rytter Lund" userId="fd5a37df-57b5-4ab7-b42f-f051b0300ae8" providerId="ADAL" clId="{4D3A50B1-14EC-4FDE-9F9F-917314861403}" dt="2023-01-30T14:03:31.161" v="6339" actId="1076"/>
          <ac:spMkLst>
            <pc:docMk/>
            <pc:sldMk cId="892881996" sldId="1996"/>
            <ac:spMk id="15" creationId="{95BED6D4-B599-483B-817D-87AD7138B9D8}"/>
          </ac:spMkLst>
        </pc:spChg>
        <pc:spChg chg="add mod">
          <ac:chgData name="Mia Rytter Lund" userId="fd5a37df-57b5-4ab7-b42f-f051b0300ae8" providerId="ADAL" clId="{4D3A50B1-14EC-4FDE-9F9F-917314861403}" dt="2023-01-30T14:03:31.161" v="6339" actId="1076"/>
          <ac:spMkLst>
            <pc:docMk/>
            <pc:sldMk cId="892881996" sldId="1996"/>
            <ac:spMk id="16" creationId="{7C9EDF5C-E3B6-2F17-C5AF-A60317AD3878}"/>
          </ac:spMkLst>
        </pc:spChg>
        <pc:spChg chg="add mod">
          <ac:chgData name="Mia Rytter Lund" userId="fd5a37df-57b5-4ab7-b42f-f051b0300ae8" providerId="ADAL" clId="{4D3A50B1-14EC-4FDE-9F9F-917314861403}" dt="2023-01-30T14:06:31.994" v="6762" actId="20577"/>
          <ac:spMkLst>
            <pc:docMk/>
            <pc:sldMk cId="892881996" sldId="1996"/>
            <ac:spMk id="17" creationId="{FC7C39EB-3D8E-5251-DA82-638B73018002}"/>
          </ac:spMkLst>
        </pc:spChg>
        <pc:picChg chg="add del mod">
          <ac:chgData name="Mia Rytter Lund" userId="fd5a37df-57b5-4ab7-b42f-f051b0300ae8" providerId="ADAL" clId="{4D3A50B1-14EC-4FDE-9F9F-917314861403}" dt="2023-01-30T13:46:51.588" v="5177" actId="21"/>
          <ac:picMkLst>
            <pc:docMk/>
            <pc:sldMk cId="892881996" sldId="1996"/>
            <ac:picMk id="3" creationId="{78ED44EB-8755-9CBC-4D67-6AA2637A0175}"/>
          </ac:picMkLst>
        </pc:picChg>
      </pc:sldChg>
      <pc:sldChg chg="modSp add mod">
        <pc:chgData name="Mia Rytter Lund" userId="fd5a37df-57b5-4ab7-b42f-f051b0300ae8" providerId="ADAL" clId="{4D3A50B1-14EC-4FDE-9F9F-917314861403}" dt="2023-02-01T08:28:46.721" v="7021" actId="6549"/>
        <pc:sldMkLst>
          <pc:docMk/>
          <pc:sldMk cId="3680644293" sldId="1996"/>
        </pc:sldMkLst>
        <pc:spChg chg="mod">
          <ac:chgData name="Mia Rytter Lund" userId="fd5a37df-57b5-4ab7-b42f-f051b0300ae8" providerId="ADAL" clId="{4D3A50B1-14EC-4FDE-9F9F-917314861403}" dt="2023-02-01T08:28:46.721" v="7021" actId="6549"/>
          <ac:spMkLst>
            <pc:docMk/>
            <pc:sldMk cId="3680644293" sldId="1996"/>
            <ac:spMk id="11" creationId="{6C1F7A01-B272-EADE-9B1B-979DF63ED2C1}"/>
          </ac:spMkLst>
        </pc:spChg>
      </pc:sldChg>
      <pc:sldChg chg="add del">
        <pc:chgData name="Mia Rytter Lund" userId="fd5a37df-57b5-4ab7-b42f-f051b0300ae8" providerId="ADAL" clId="{4D3A50B1-14EC-4FDE-9F9F-917314861403}" dt="2023-02-02T11:12:45.570" v="7246" actId="47"/>
        <pc:sldMkLst>
          <pc:docMk/>
          <pc:sldMk cId="2045732665" sldId="1997"/>
        </pc:sldMkLst>
      </pc:sldChg>
      <pc:sldChg chg="modSp add del mod">
        <pc:chgData name="Mia Rytter Lund" userId="fd5a37df-57b5-4ab7-b42f-f051b0300ae8" providerId="ADAL" clId="{4D3A50B1-14EC-4FDE-9F9F-917314861403}" dt="2023-02-02T11:12:30.943" v="7243" actId="47"/>
        <pc:sldMkLst>
          <pc:docMk/>
          <pc:sldMk cId="2499065888" sldId="1997"/>
        </pc:sldMkLst>
        <pc:spChg chg="mod">
          <ac:chgData name="Mia Rytter Lund" userId="fd5a37df-57b5-4ab7-b42f-f051b0300ae8" providerId="ADAL" clId="{4D3A50B1-14EC-4FDE-9F9F-917314861403}" dt="2023-02-02T10:22:04.521" v="7041" actId="14100"/>
          <ac:spMkLst>
            <pc:docMk/>
            <pc:sldMk cId="2499065888" sldId="1997"/>
            <ac:spMk id="33" creationId="{1797CD25-E47B-462D-9CDE-FDA73CBB813E}"/>
          </ac:spMkLst>
        </pc:spChg>
      </pc:sldChg>
      <pc:sldChg chg="add del">
        <pc:chgData name="Mia Rytter Lund" userId="fd5a37df-57b5-4ab7-b42f-f051b0300ae8" providerId="ADAL" clId="{4D3A50B1-14EC-4FDE-9F9F-917314861403}" dt="2023-01-30T13:46:47.476" v="5175"/>
        <pc:sldMkLst>
          <pc:docMk/>
          <pc:sldMk cId="4242613559" sldId="1997"/>
        </pc:sldMkLst>
      </pc:sldChg>
    </pc:docChg>
  </pc:docChgLst>
  <pc:docChgLst>
    <pc:chgData name="Mia Rytter Lund" userId="S::mryl@ramboll.com::fd5a37df-57b5-4ab7-b42f-f051b0300ae8" providerId="AD" clId="Web-{ABE5D21D-FE94-A6FB-3C57-C4527BFA1E43}"/>
    <pc:docChg chg="mod">
      <pc:chgData name="Mia Rytter Lund" userId="S::mryl@ramboll.com::fd5a37df-57b5-4ab7-b42f-f051b0300ae8" providerId="AD" clId="Web-{ABE5D21D-FE94-A6FB-3C57-C4527BFA1E43}" dt="2023-01-12T11:21:15.613" v="2"/>
      <pc:docMkLst>
        <pc:docMk/>
      </pc:docMkLst>
      <pc:sldChg chg="modCm">
        <pc:chgData name="Mia Rytter Lund" userId="S::mryl@ramboll.com::fd5a37df-57b5-4ab7-b42f-f051b0300ae8" providerId="AD" clId="Web-{ABE5D21D-FE94-A6FB-3C57-C4527BFA1E43}" dt="2023-01-12T11:21:15.613" v="2"/>
        <pc:sldMkLst>
          <pc:docMk/>
          <pc:sldMk cId="3669439568" sldId="259"/>
        </pc:sldMkLst>
      </pc:sldChg>
    </pc:docChg>
  </pc:docChgLst>
  <pc:docChgLst>
    <pc:chgData name="Hanne Marie Holst Harboe" userId="3744b3b0-e9bd-4e9c-bac2-809ff365716f" providerId="ADAL" clId="{F956BD7C-643C-4C5C-9691-1F9BDD8CC6C5}"/>
    <pc:docChg chg="undo redo custSel addSld delSld modSld">
      <pc:chgData name="Hanne Marie Holst Harboe" userId="3744b3b0-e9bd-4e9c-bac2-809ff365716f" providerId="ADAL" clId="{F956BD7C-643C-4C5C-9691-1F9BDD8CC6C5}" dt="2023-01-25T20:46:26.810" v="4466" actId="20577"/>
      <pc:docMkLst>
        <pc:docMk/>
      </pc:docMkLst>
      <pc:sldChg chg="addSp delSp modSp mod modCm">
        <pc:chgData name="Hanne Marie Holst Harboe" userId="3744b3b0-e9bd-4e9c-bac2-809ff365716f" providerId="ADAL" clId="{F956BD7C-643C-4C5C-9691-1F9BDD8CC6C5}" dt="2023-01-25T12:27:18.261" v="909"/>
        <pc:sldMkLst>
          <pc:docMk/>
          <pc:sldMk cId="1609526417" sldId="257"/>
        </pc:sldMkLst>
        <pc:spChg chg="mod">
          <ac:chgData name="Hanne Marie Holst Harboe" userId="3744b3b0-e9bd-4e9c-bac2-809ff365716f" providerId="ADAL" clId="{F956BD7C-643C-4C5C-9691-1F9BDD8CC6C5}" dt="2023-01-25T10:01:24.646" v="224" actId="478"/>
          <ac:spMkLst>
            <pc:docMk/>
            <pc:sldMk cId="1609526417" sldId="257"/>
            <ac:spMk id="8" creationId="{BB7B4406-EAA5-4923-909F-72273477B054}"/>
          </ac:spMkLst>
        </pc:spChg>
        <pc:spChg chg="mod">
          <ac:chgData name="Hanne Marie Holst Harboe" userId="3744b3b0-e9bd-4e9c-bac2-809ff365716f" providerId="ADAL" clId="{F956BD7C-643C-4C5C-9691-1F9BDD8CC6C5}" dt="2023-01-25T10:01:24.646" v="224" actId="478"/>
          <ac:spMkLst>
            <pc:docMk/>
            <pc:sldMk cId="1609526417" sldId="257"/>
            <ac:spMk id="9" creationId="{8BE3E950-D517-4499-9386-B814892F0A53}"/>
          </ac:spMkLst>
        </pc:spChg>
        <pc:spChg chg="mod">
          <ac:chgData name="Hanne Marie Holst Harboe" userId="3744b3b0-e9bd-4e9c-bac2-809ff365716f" providerId="ADAL" clId="{F956BD7C-643C-4C5C-9691-1F9BDD8CC6C5}" dt="2023-01-25T10:18:35.609" v="251" actId="20577"/>
          <ac:spMkLst>
            <pc:docMk/>
            <pc:sldMk cId="1609526417" sldId="257"/>
            <ac:spMk id="10" creationId="{516EE21D-C4B9-4731-B349-1072BB4E5D41}"/>
          </ac:spMkLst>
        </pc:spChg>
        <pc:spChg chg="del">
          <ac:chgData name="Hanne Marie Holst Harboe" userId="3744b3b0-e9bd-4e9c-bac2-809ff365716f" providerId="ADAL" clId="{F956BD7C-643C-4C5C-9691-1F9BDD8CC6C5}" dt="2023-01-25T09:54:37.495" v="117" actId="478"/>
          <ac:spMkLst>
            <pc:docMk/>
            <pc:sldMk cId="1609526417" sldId="257"/>
            <ac:spMk id="11" creationId="{13817271-D5C1-4BE7-87D7-014E0020CF81}"/>
          </ac:spMkLst>
        </pc:spChg>
        <pc:spChg chg="del">
          <ac:chgData name="Hanne Marie Holst Harboe" userId="3744b3b0-e9bd-4e9c-bac2-809ff365716f" providerId="ADAL" clId="{F956BD7C-643C-4C5C-9691-1F9BDD8CC6C5}" dt="2023-01-25T09:54:44.630" v="121" actId="478"/>
          <ac:spMkLst>
            <pc:docMk/>
            <pc:sldMk cId="1609526417" sldId="257"/>
            <ac:spMk id="13" creationId="{251BD1F5-E593-4318-AFAE-FBF1FE2237D1}"/>
          </ac:spMkLst>
        </pc:spChg>
        <pc:spChg chg="mod">
          <ac:chgData name="Hanne Marie Holst Harboe" userId="3744b3b0-e9bd-4e9c-bac2-809ff365716f" providerId="ADAL" clId="{F956BD7C-643C-4C5C-9691-1F9BDD8CC6C5}" dt="2023-01-25T10:18:03.323" v="238" actId="478"/>
          <ac:spMkLst>
            <pc:docMk/>
            <pc:sldMk cId="1609526417" sldId="257"/>
            <ac:spMk id="14" creationId="{9AE75675-4EDA-43B6-86A4-DBB09B62D73E}"/>
          </ac:spMkLst>
        </pc:spChg>
        <pc:spChg chg="del">
          <ac:chgData name="Hanne Marie Holst Harboe" userId="3744b3b0-e9bd-4e9c-bac2-809ff365716f" providerId="ADAL" clId="{F956BD7C-643C-4C5C-9691-1F9BDD8CC6C5}" dt="2023-01-25T09:54:38.688" v="118" actId="478"/>
          <ac:spMkLst>
            <pc:docMk/>
            <pc:sldMk cId="1609526417" sldId="257"/>
            <ac:spMk id="15" creationId="{FC4037F0-2B53-401C-84D1-D3DC83A8B3E6}"/>
          </ac:spMkLst>
        </pc:spChg>
        <pc:spChg chg="mod">
          <ac:chgData name="Hanne Marie Holst Harboe" userId="3744b3b0-e9bd-4e9c-bac2-809ff365716f" providerId="ADAL" clId="{F956BD7C-643C-4C5C-9691-1F9BDD8CC6C5}" dt="2023-01-25T10:19:32.235" v="252"/>
          <ac:spMkLst>
            <pc:docMk/>
            <pc:sldMk cId="1609526417" sldId="257"/>
            <ac:spMk id="16" creationId="{D5063B78-CC00-4A91-A0E5-9BBCBB369EA2}"/>
          </ac:spMkLst>
        </pc:spChg>
        <pc:spChg chg="del">
          <ac:chgData name="Hanne Marie Holst Harboe" userId="3744b3b0-e9bd-4e9c-bac2-809ff365716f" providerId="ADAL" clId="{F956BD7C-643C-4C5C-9691-1F9BDD8CC6C5}" dt="2023-01-25T09:54:43.442" v="120" actId="478"/>
          <ac:spMkLst>
            <pc:docMk/>
            <pc:sldMk cId="1609526417" sldId="257"/>
            <ac:spMk id="17" creationId="{F716FE58-94D2-470D-AE67-4C325FDD6347}"/>
          </ac:spMkLst>
        </pc:spChg>
        <pc:spChg chg="mod">
          <ac:chgData name="Hanne Marie Holst Harboe" userId="3744b3b0-e9bd-4e9c-bac2-809ff365716f" providerId="ADAL" clId="{F956BD7C-643C-4C5C-9691-1F9BDD8CC6C5}" dt="2023-01-25T10:18:03.323" v="238" actId="478"/>
          <ac:spMkLst>
            <pc:docMk/>
            <pc:sldMk cId="1609526417" sldId="257"/>
            <ac:spMk id="20" creationId="{BAA2CB1E-5013-4A37-9C3F-E7232D95426F}"/>
          </ac:spMkLst>
        </pc:spChg>
        <pc:grpChg chg="add mod topLvl">
          <ac:chgData name="Hanne Marie Holst Harboe" userId="3744b3b0-e9bd-4e9c-bac2-809ff365716f" providerId="ADAL" clId="{F956BD7C-643C-4C5C-9691-1F9BDD8CC6C5}" dt="2023-01-25T10:01:24.646" v="224" actId="478"/>
          <ac:grpSpMkLst>
            <pc:docMk/>
            <pc:sldMk cId="1609526417" sldId="257"/>
            <ac:grpSpMk id="2" creationId="{72E24315-9E79-41B0-B779-15A26416EBBF}"/>
          </ac:grpSpMkLst>
        </pc:grpChg>
        <pc:grpChg chg="add mod topLvl">
          <ac:chgData name="Hanne Marie Holst Harboe" userId="3744b3b0-e9bd-4e9c-bac2-809ff365716f" providerId="ADAL" clId="{F956BD7C-643C-4C5C-9691-1F9BDD8CC6C5}" dt="2023-01-25T10:18:03.323" v="238" actId="478"/>
          <ac:grpSpMkLst>
            <pc:docMk/>
            <pc:sldMk cId="1609526417" sldId="257"/>
            <ac:grpSpMk id="3" creationId="{61B36425-B2AC-4072-A64E-C1865272712A}"/>
          </ac:grpSpMkLst>
        </pc:grpChg>
        <pc:grpChg chg="add del mod">
          <ac:chgData name="Hanne Marie Holst Harboe" userId="3744b3b0-e9bd-4e9c-bac2-809ff365716f" providerId="ADAL" clId="{F956BD7C-643C-4C5C-9691-1F9BDD8CC6C5}" dt="2023-01-25T09:55:48.726" v="130" actId="165"/>
          <ac:grpSpMkLst>
            <pc:docMk/>
            <pc:sldMk cId="1609526417" sldId="257"/>
            <ac:grpSpMk id="6" creationId="{E9CC1B03-68C2-4968-9E1E-EF2FB4AE7A42}"/>
          </ac:grpSpMkLst>
        </pc:grpChg>
        <pc:picChg chg="add mod">
          <ac:chgData name="Hanne Marie Holst Harboe" userId="3744b3b0-e9bd-4e9c-bac2-809ff365716f" providerId="ADAL" clId="{F956BD7C-643C-4C5C-9691-1F9BDD8CC6C5}" dt="2023-01-25T10:01:32.658" v="225" actId="1076"/>
          <ac:picMkLst>
            <pc:docMk/>
            <pc:sldMk cId="1609526417" sldId="257"/>
            <ac:picMk id="7" creationId="{D4907D79-CA67-4EB9-A845-2EBFD1CB9B03}"/>
          </ac:picMkLst>
        </pc:picChg>
        <pc:picChg chg="del mod">
          <ac:chgData name="Hanne Marie Holst Harboe" userId="3744b3b0-e9bd-4e9c-bac2-809ff365716f" providerId="ADAL" clId="{F956BD7C-643C-4C5C-9691-1F9BDD8CC6C5}" dt="2023-01-25T10:18:03.323" v="238" actId="478"/>
          <ac:picMkLst>
            <pc:docMk/>
            <pc:sldMk cId="1609526417" sldId="257"/>
            <ac:picMk id="2050" creationId="{70C87380-115B-42AD-AA1C-BE08F94C52F3}"/>
          </ac:picMkLst>
        </pc:picChg>
        <pc:picChg chg="del">
          <ac:chgData name="Hanne Marie Holst Harboe" userId="3744b3b0-e9bd-4e9c-bac2-809ff365716f" providerId="ADAL" clId="{F956BD7C-643C-4C5C-9691-1F9BDD8CC6C5}" dt="2023-01-25T09:54:45.543" v="122" actId="478"/>
          <ac:picMkLst>
            <pc:docMk/>
            <pc:sldMk cId="1609526417" sldId="257"/>
            <ac:picMk id="2052" creationId="{D8747BFA-B80A-40E3-B353-FCDB3CD2AA29}"/>
          </ac:picMkLst>
        </pc:picChg>
        <pc:picChg chg="del">
          <ac:chgData name="Hanne Marie Holst Harboe" userId="3744b3b0-e9bd-4e9c-bac2-809ff365716f" providerId="ADAL" clId="{F956BD7C-643C-4C5C-9691-1F9BDD8CC6C5}" dt="2023-01-25T09:54:39.840" v="119" actId="478"/>
          <ac:picMkLst>
            <pc:docMk/>
            <pc:sldMk cId="1609526417" sldId="257"/>
            <ac:picMk id="173058" creationId="{39BA8A40-E519-4647-9C6F-0A8BE0F7EE59}"/>
          </ac:picMkLst>
        </pc:picChg>
        <pc:picChg chg="del mod">
          <ac:chgData name="Hanne Marie Holst Harboe" userId="3744b3b0-e9bd-4e9c-bac2-809ff365716f" providerId="ADAL" clId="{F956BD7C-643C-4C5C-9691-1F9BDD8CC6C5}" dt="2023-01-25T10:01:24.646" v="224" actId="478"/>
          <ac:picMkLst>
            <pc:docMk/>
            <pc:sldMk cId="1609526417" sldId="257"/>
            <ac:picMk id="173060" creationId="{F34DB448-1355-4F52-9C2E-8E5616110700}"/>
          </ac:picMkLst>
        </pc:picChg>
      </pc:sldChg>
      <pc:sldChg chg="modSp mod modCm">
        <pc:chgData name="Hanne Marie Holst Harboe" userId="3744b3b0-e9bd-4e9c-bac2-809ff365716f" providerId="ADAL" clId="{F956BD7C-643C-4C5C-9691-1F9BDD8CC6C5}" dt="2023-01-25T20:46:26.810" v="4466" actId="20577"/>
        <pc:sldMkLst>
          <pc:docMk/>
          <pc:sldMk cId="3669439568" sldId="259"/>
        </pc:sldMkLst>
        <pc:spChg chg="mod">
          <ac:chgData name="Hanne Marie Holst Harboe" userId="3744b3b0-e9bd-4e9c-bac2-809ff365716f" providerId="ADAL" clId="{F956BD7C-643C-4C5C-9691-1F9BDD8CC6C5}" dt="2023-01-25T20:41:48.005" v="4413" actId="20577"/>
          <ac:spMkLst>
            <pc:docMk/>
            <pc:sldMk cId="3669439568" sldId="259"/>
            <ac:spMk id="85" creationId="{7C5ED0F2-D282-4EFE-A173-370A6822C1FB}"/>
          </ac:spMkLst>
        </pc:spChg>
        <pc:spChg chg="mod">
          <ac:chgData name="Hanne Marie Holst Harboe" userId="3744b3b0-e9bd-4e9c-bac2-809ff365716f" providerId="ADAL" clId="{F956BD7C-643C-4C5C-9691-1F9BDD8CC6C5}" dt="2023-01-25T20:42:27.874" v="4465" actId="20577"/>
          <ac:spMkLst>
            <pc:docMk/>
            <pc:sldMk cId="3669439568" sldId="259"/>
            <ac:spMk id="86" creationId="{13CDAC51-C63A-4448-A3C2-210A3F84137F}"/>
          </ac:spMkLst>
        </pc:spChg>
        <pc:spChg chg="mod">
          <ac:chgData name="Hanne Marie Holst Harboe" userId="3744b3b0-e9bd-4e9c-bac2-809ff365716f" providerId="ADAL" clId="{F956BD7C-643C-4C5C-9691-1F9BDD8CC6C5}" dt="2023-01-25T20:01:30.696" v="3705" actId="20577"/>
          <ac:spMkLst>
            <pc:docMk/>
            <pc:sldMk cId="3669439568" sldId="259"/>
            <ac:spMk id="87" creationId="{9E1DA7F9-5606-48EB-BF88-E256288C6546}"/>
          </ac:spMkLst>
        </pc:spChg>
        <pc:spChg chg="mod">
          <ac:chgData name="Hanne Marie Holst Harboe" userId="3744b3b0-e9bd-4e9c-bac2-809ff365716f" providerId="ADAL" clId="{F956BD7C-643C-4C5C-9691-1F9BDD8CC6C5}" dt="2023-01-25T20:46:26.810" v="4466" actId="20577"/>
          <ac:spMkLst>
            <pc:docMk/>
            <pc:sldMk cId="3669439568" sldId="259"/>
            <ac:spMk id="88" creationId="{13F261A7-5E0D-46BA-9456-20CDA5C1C974}"/>
          </ac:spMkLst>
        </pc:spChg>
      </pc:sldChg>
      <pc:sldChg chg="modSp mod">
        <pc:chgData name="Hanne Marie Holst Harboe" userId="3744b3b0-e9bd-4e9c-bac2-809ff365716f" providerId="ADAL" clId="{F956BD7C-643C-4C5C-9691-1F9BDD8CC6C5}" dt="2023-01-25T12:31:36.273" v="939" actId="20577"/>
        <pc:sldMkLst>
          <pc:docMk/>
          <pc:sldMk cId="641849619" sldId="383"/>
        </pc:sldMkLst>
        <pc:spChg chg="mod">
          <ac:chgData name="Hanne Marie Holst Harboe" userId="3744b3b0-e9bd-4e9c-bac2-809ff365716f" providerId="ADAL" clId="{F956BD7C-643C-4C5C-9691-1F9BDD8CC6C5}" dt="2023-01-25T12:31:36.273" v="939" actId="20577"/>
          <ac:spMkLst>
            <pc:docMk/>
            <pc:sldMk cId="641849619" sldId="383"/>
            <ac:spMk id="8" creationId="{04668915-09E4-41EE-82CA-960C056DB399}"/>
          </ac:spMkLst>
        </pc:spChg>
      </pc:sldChg>
      <pc:sldChg chg="modSp mod modCm">
        <pc:chgData name="Hanne Marie Holst Harboe" userId="3744b3b0-e9bd-4e9c-bac2-809ff365716f" providerId="ADAL" clId="{F956BD7C-643C-4C5C-9691-1F9BDD8CC6C5}" dt="2023-01-25T19:59:33.743" v="3622" actId="20577"/>
        <pc:sldMkLst>
          <pc:docMk/>
          <pc:sldMk cId="2397171875" sldId="1978"/>
        </pc:sldMkLst>
        <pc:spChg chg="mod">
          <ac:chgData name="Hanne Marie Holst Harboe" userId="3744b3b0-e9bd-4e9c-bac2-809ff365716f" providerId="ADAL" clId="{F956BD7C-643C-4C5C-9691-1F9BDD8CC6C5}" dt="2023-01-25T19:59:33.743" v="3622" actId="20577"/>
          <ac:spMkLst>
            <pc:docMk/>
            <pc:sldMk cId="2397171875" sldId="1978"/>
            <ac:spMk id="9" creationId="{53EEA5E1-87DC-4386-846F-97C024B4B09C}"/>
          </ac:spMkLst>
        </pc:spChg>
      </pc:sldChg>
      <pc:sldChg chg="modSp mod">
        <pc:chgData name="Hanne Marie Holst Harboe" userId="3744b3b0-e9bd-4e9c-bac2-809ff365716f" providerId="ADAL" clId="{F956BD7C-643C-4C5C-9691-1F9BDD8CC6C5}" dt="2023-01-25T20:04:41.970" v="3794" actId="20577"/>
        <pc:sldMkLst>
          <pc:docMk/>
          <pc:sldMk cId="216788736" sldId="1980"/>
        </pc:sldMkLst>
        <pc:spChg chg="mod">
          <ac:chgData name="Hanne Marie Holst Harboe" userId="3744b3b0-e9bd-4e9c-bac2-809ff365716f" providerId="ADAL" clId="{F956BD7C-643C-4C5C-9691-1F9BDD8CC6C5}" dt="2023-01-25T09:51:11.944" v="116" actId="20577"/>
          <ac:spMkLst>
            <pc:docMk/>
            <pc:sldMk cId="216788736" sldId="1980"/>
            <ac:spMk id="34" creationId="{4DA16978-08B8-44DE-AE66-A99A848C6160}"/>
          </ac:spMkLst>
        </pc:spChg>
        <pc:spChg chg="mod">
          <ac:chgData name="Hanne Marie Holst Harboe" userId="3744b3b0-e9bd-4e9c-bac2-809ff365716f" providerId="ADAL" clId="{F956BD7C-643C-4C5C-9691-1F9BDD8CC6C5}" dt="2023-01-25T20:04:41.970" v="3794" actId="20577"/>
          <ac:spMkLst>
            <pc:docMk/>
            <pc:sldMk cId="216788736" sldId="1980"/>
            <ac:spMk id="35" creationId="{93122527-33C3-4B7B-8284-7B11953F1FA9}"/>
          </ac:spMkLst>
        </pc:spChg>
      </pc:sldChg>
      <pc:sldChg chg="addSp delSp modSp mod modCm">
        <pc:chgData name="Hanne Marie Holst Harboe" userId="3744b3b0-e9bd-4e9c-bac2-809ff365716f" providerId="ADAL" clId="{F956BD7C-643C-4C5C-9691-1F9BDD8CC6C5}" dt="2023-01-25T20:24:17.552" v="4129" actId="20577"/>
        <pc:sldMkLst>
          <pc:docMk/>
          <pc:sldMk cId="8440676" sldId="1981"/>
        </pc:sldMkLst>
        <pc:spChg chg="mod">
          <ac:chgData name="Hanne Marie Holst Harboe" userId="3744b3b0-e9bd-4e9c-bac2-809ff365716f" providerId="ADAL" clId="{F956BD7C-643C-4C5C-9691-1F9BDD8CC6C5}" dt="2023-01-25T12:01:24.624" v="848" actId="14100"/>
          <ac:spMkLst>
            <pc:docMk/>
            <pc:sldMk cId="8440676" sldId="1981"/>
            <ac:spMk id="18" creationId="{EA78468F-E258-48AA-9048-3CCC211CB935}"/>
          </ac:spMkLst>
        </pc:spChg>
        <pc:spChg chg="mod">
          <ac:chgData name="Hanne Marie Holst Harboe" userId="3744b3b0-e9bd-4e9c-bac2-809ff365716f" providerId="ADAL" clId="{F956BD7C-643C-4C5C-9691-1F9BDD8CC6C5}" dt="2023-01-25T20:23:25.742" v="4084" actId="20577"/>
          <ac:spMkLst>
            <pc:docMk/>
            <pc:sldMk cId="8440676" sldId="1981"/>
            <ac:spMk id="19" creationId="{5D72530B-A363-4545-8632-1FFB3C39526F}"/>
          </ac:spMkLst>
        </pc:spChg>
        <pc:spChg chg="mod">
          <ac:chgData name="Hanne Marie Holst Harboe" userId="3744b3b0-e9bd-4e9c-bac2-809ff365716f" providerId="ADAL" clId="{F956BD7C-643C-4C5C-9691-1F9BDD8CC6C5}" dt="2023-01-25T20:24:17.552" v="4129" actId="20577"/>
          <ac:spMkLst>
            <pc:docMk/>
            <pc:sldMk cId="8440676" sldId="1981"/>
            <ac:spMk id="20" creationId="{C7D25A4A-01FC-446C-8AF8-DFD4F741B818}"/>
          </ac:spMkLst>
        </pc:spChg>
        <pc:picChg chg="add mod">
          <ac:chgData name="Hanne Marie Holst Harboe" userId="3744b3b0-e9bd-4e9c-bac2-809ff365716f" providerId="ADAL" clId="{F956BD7C-643C-4C5C-9691-1F9BDD8CC6C5}" dt="2023-01-25T12:02:07.581" v="864" actId="14100"/>
          <ac:picMkLst>
            <pc:docMk/>
            <pc:sldMk cId="8440676" sldId="1981"/>
            <ac:picMk id="3" creationId="{F3EC6D24-7B01-4ED8-A9F8-DF0BED03AB07}"/>
          </ac:picMkLst>
        </pc:picChg>
        <pc:picChg chg="add del mod">
          <ac:chgData name="Hanne Marie Holst Harboe" userId="3744b3b0-e9bd-4e9c-bac2-809ff365716f" providerId="ADAL" clId="{F956BD7C-643C-4C5C-9691-1F9BDD8CC6C5}" dt="2023-01-25T11:51:40.248" v="813" actId="478"/>
          <ac:picMkLst>
            <pc:docMk/>
            <pc:sldMk cId="8440676" sldId="1981"/>
            <ac:picMk id="15" creationId="{8924CE2E-F57C-4D9B-A372-DF1C94F3E219}"/>
          </ac:picMkLst>
        </pc:picChg>
        <pc:picChg chg="add del mod">
          <ac:chgData name="Hanne Marie Holst Harboe" userId="3744b3b0-e9bd-4e9c-bac2-809ff365716f" providerId="ADAL" clId="{F956BD7C-643C-4C5C-9691-1F9BDD8CC6C5}" dt="2023-01-25T11:54:29.949" v="826" actId="478"/>
          <ac:picMkLst>
            <pc:docMk/>
            <pc:sldMk cId="8440676" sldId="1981"/>
            <ac:picMk id="21" creationId="{05873AA4-F65B-4BA1-913C-1BD6B65E2BAB}"/>
          </ac:picMkLst>
        </pc:picChg>
        <pc:picChg chg="add mod">
          <ac:chgData name="Hanne Marie Holst Harboe" userId="3744b3b0-e9bd-4e9c-bac2-809ff365716f" providerId="ADAL" clId="{F956BD7C-643C-4C5C-9691-1F9BDD8CC6C5}" dt="2023-01-25T12:02:18.807" v="865" actId="1076"/>
          <ac:picMkLst>
            <pc:docMk/>
            <pc:sldMk cId="8440676" sldId="1981"/>
            <ac:picMk id="22" creationId="{257C2FFC-23C6-45D6-8011-61F5F74A401A}"/>
          </ac:picMkLst>
        </pc:picChg>
      </pc:sldChg>
      <pc:sldChg chg="addSp delSp modSp mod modCm">
        <pc:chgData name="Hanne Marie Holst Harboe" userId="3744b3b0-e9bd-4e9c-bac2-809ff365716f" providerId="ADAL" clId="{F956BD7C-643C-4C5C-9691-1F9BDD8CC6C5}" dt="2023-01-25T20:38:10.874" v="4344" actId="1076"/>
        <pc:sldMkLst>
          <pc:docMk/>
          <pc:sldMk cId="2455952374" sldId="1982"/>
        </pc:sldMkLst>
        <pc:spChg chg="add mod ord">
          <ac:chgData name="Hanne Marie Holst Harboe" userId="3744b3b0-e9bd-4e9c-bac2-809ff365716f" providerId="ADAL" clId="{F956BD7C-643C-4C5C-9691-1F9BDD8CC6C5}" dt="2023-01-25T14:27:14.133" v="3583" actId="14100"/>
          <ac:spMkLst>
            <pc:docMk/>
            <pc:sldMk cId="2455952374" sldId="1982"/>
            <ac:spMk id="3" creationId="{A5F771F5-8D43-43E7-819E-C723475EB6D5}"/>
          </ac:spMkLst>
        </pc:spChg>
        <pc:spChg chg="add mod ord">
          <ac:chgData name="Hanne Marie Holst Harboe" userId="3744b3b0-e9bd-4e9c-bac2-809ff365716f" providerId="ADAL" clId="{F956BD7C-643C-4C5C-9691-1F9BDD8CC6C5}" dt="2023-01-25T14:27:21.990" v="3584" actId="14100"/>
          <ac:spMkLst>
            <pc:docMk/>
            <pc:sldMk cId="2455952374" sldId="1982"/>
            <ac:spMk id="6" creationId="{940D2031-D839-4ACD-B434-A16EEA774A26}"/>
          </ac:spMkLst>
        </pc:spChg>
        <pc:spChg chg="mod">
          <ac:chgData name="Hanne Marie Holst Harboe" userId="3744b3b0-e9bd-4e9c-bac2-809ff365716f" providerId="ADAL" clId="{F956BD7C-643C-4C5C-9691-1F9BDD8CC6C5}" dt="2023-01-25T12:43:11.938" v="990" actId="164"/>
          <ac:spMkLst>
            <pc:docMk/>
            <pc:sldMk cId="2455952374" sldId="1982"/>
            <ac:spMk id="28" creationId="{44AF79D9-BF45-4220-9CEE-6C59C4B39873}"/>
          </ac:spMkLst>
        </pc:spChg>
        <pc:spChg chg="mod">
          <ac:chgData name="Hanne Marie Holst Harboe" userId="3744b3b0-e9bd-4e9c-bac2-809ff365716f" providerId="ADAL" clId="{F956BD7C-643C-4C5C-9691-1F9BDD8CC6C5}" dt="2023-01-25T12:43:11.938" v="990" actId="164"/>
          <ac:spMkLst>
            <pc:docMk/>
            <pc:sldMk cId="2455952374" sldId="1982"/>
            <ac:spMk id="29" creationId="{7F01E3F5-73D8-465A-9DB2-D946E7B5B618}"/>
          </ac:spMkLst>
        </pc:spChg>
        <pc:spChg chg="del">
          <ac:chgData name="Hanne Marie Holst Harboe" userId="3744b3b0-e9bd-4e9c-bac2-809ff365716f" providerId="ADAL" clId="{F956BD7C-643C-4C5C-9691-1F9BDD8CC6C5}" dt="2023-01-25T12:43:00.332" v="987" actId="478"/>
          <ac:spMkLst>
            <pc:docMk/>
            <pc:sldMk cId="2455952374" sldId="1982"/>
            <ac:spMk id="30" creationId="{93D8B084-3B98-4B8D-A1AB-383223AB0206}"/>
          </ac:spMkLst>
        </pc:spChg>
        <pc:spChg chg="del">
          <ac:chgData name="Hanne Marie Holst Harboe" userId="3744b3b0-e9bd-4e9c-bac2-809ff365716f" providerId="ADAL" clId="{F956BD7C-643C-4C5C-9691-1F9BDD8CC6C5}" dt="2023-01-25T12:43:01.085" v="988" actId="478"/>
          <ac:spMkLst>
            <pc:docMk/>
            <pc:sldMk cId="2455952374" sldId="1982"/>
            <ac:spMk id="31" creationId="{33539908-0180-4F56-AE0B-39F17F971644}"/>
          </ac:spMkLst>
        </pc:spChg>
        <pc:spChg chg="del">
          <ac:chgData name="Hanne Marie Holst Harboe" userId="3744b3b0-e9bd-4e9c-bac2-809ff365716f" providerId="ADAL" clId="{F956BD7C-643C-4C5C-9691-1F9BDD8CC6C5}" dt="2023-01-25T12:43:01.862" v="989" actId="478"/>
          <ac:spMkLst>
            <pc:docMk/>
            <pc:sldMk cId="2455952374" sldId="1982"/>
            <ac:spMk id="32" creationId="{5735C4A8-4846-49B9-BA3F-B78C3C39085E}"/>
          </ac:spMkLst>
        </pc:spChg>
        <pc:spChg chg="add del mod">
          <ac:chgData name="Hanne Marie Holst Harboe" userId="3744b3b0-e9bd-4e9c-bac2-809ff365716f" providerId="ADAL" clId="{F956BD7C-643C-4C5C-9691-1F9BDD8CC6C5}" dt="2023-01-25T12:19:34.377" v="881" actId="478"/>
          <ac:spMkLst>
            <pc:docMk/>
            <pc:sldMk cId="2455952374" sldId="1982"/>
            <ac:spMk id="33" creationId="{F77E57D7-53BF-4860-A405-FE86A0232A31}"/>
          </ac:spMkLst>
        </pc:spChg>
        <pc:spChg chg="add mod ord">
          <ac:chgData name="Hanne Marie Holst Harboe" userId="3744b3b0-e9bd-4e9c-bac2-809ff365716f" providerId="ADAL" clId="{F956BD7C-643C-4C5C-9691-1F9BDD8CC6C5}" dt="2023-01-25T14:27:32.435" v="3585" actId="14100"/>
          <ac:spMkLst>
            <pc:docMk/>
            <pc:sldMk cId="2455952374" sldId="1982"/>
            <ac:spMk id="34" creationId="{B7BB2699-0713-46AF-9480-FB9435F6CF72}"/>
          </ac:spMkLst>
        </pc:spChg>
        <pc:spChg chg="add del mod">
          <ac:chgData name="Hanne Marie Holst Harboe" userId="3744b3b0-e9bd-4e9c-bac2-809ff365716f" providerId="ADAL" clId="{F956BD7C-643C-4C5C-9691-1F9BDD8CC6C5}" dt="2023-01-25T12:21:54.180" v="895" actId="478"/>
          <ac:spMkLst>
            <pc:docMk/>
            <pc:sldMk cId="2455952374" sldId="1982"/>
            <ac:spMk id="35" creationId="{86A39DCC-FF7F-4EAB-A1DC-F69426FC2E15}"/>
          </ac:spMkLst>
        </pc:spChg>
        <pc:spChg chg="add del mod">
          <ac:chgData name="Hanne Marie Holst Harboe" userId="3744b3b0-e9bd-4e9c-bac2-809ff365716f" providerId="ADAL" clId="{F956BD7C-643C-4C5C-9691-1F9BDD8CC6C5}" dt="2023-01-25T12:22:50.738" v="902" actId="478"/>
          <ac:spMkLst>
            <pc:docMk/>
            <pc:sldMk cId="2455952374" sldId="1982"/>
            <ac:spMk id="36" creationId="{2146D774-3434-4B46-A8BE-11D55C0A036C}"/>
          </ac:spMkLst>
        </pc:spChg>
        <pc:spChg chg="add mod ord">
          <ac:chgData name="Hanne Marie Holst Harboe" userId="3744b3b0-e9bd-4e9c-bac2-809ff365716f" providerId="ADAL" clId="{F956BD7C-643C-4C5C-9691-1F9BDD8CC6C5}" dt="2023-01-25T14:27:35.759" v="3586" actId="14100"/>
          <ac:spMkLst>
            <pc:docMk/>
            <pc:sldMk cId="2455952374" sldId="1982"/>
            <ac:spMk id="37" creationId="{EE76B155-601E-4E9E-A0EB-730F740C6A9A}"/>
          </ac:spMkLst>
        </pc:spChg>
        <pc:spChg chg="mod">
          <ac:chgData name="Hanne Marie Holst Harboe" userId="3744b3b0-e9bd-4e9c-bac2-809ff365716f" providerId="ADAL" clId="{F956BD7C-643C-4C5C-9691-1F9BDD8CC6C5}" dt="2023-01-25T12:43:31.824" v="994"/>
          <ac:spMkLst>
            <pc:docMk/>
            <pc:sldMk cId="2455952374" sldId="1982"/>
            <ac:spMk id="39" creationId="{575E2066-E887-4273-BE73-A0442E9E8C7C}"/>
          </ac:spMkLst>
        </pc:spChg>
        <pc:spChg chg="mod">
          <ac:chgData name="Hanne Marie Holst Harboe" userId="3744b3b0-e9bd-4e9c-bac2-809ff365716f" providerId="ADAL" clId="{F956BD7C-643C-4C5C-9691-1F9BDD8CC6C5}" dt="2023-01-25T12:45:59.304" v="1040" actId="1076"/>
          <ac:spMkLst>
            <pc:docMk/>
            <pc:sldMk cId="2455952374" sldId="1982"/>
            <ac:spMk id="40" creationId="{77C3D7E9-A904-407D-8861-5B17E1ADA86C}"/>
          </ac:spMkLst>
        </pc:spChg>
        <pc:spChg chg="mod">
          <ac:chgData name="Hanne Marie Holst Harboe" userId="3744b3b0-e9bd-4e9c-bac2-809ff365716f" providerId="ADAL" clId="{F956BD7C-643C-4C5C-9691-1F9BDD8CC6C5}" dt="2023-01-25T12:43:31.824" v="994"/>
          <ac:spMkLst>
            <pc:docMk/>
            <pc:sldMk cId="2455952374" sldId="1982"/>
            <ac:spMk id="41" creationId="{BB1D73D6-83D0-4633-A75A-2A406CBE6B7E}"/>
          </ac:spMkLst>
        </pc:spChg>
        <pc:spChg chg="mod">
          <ac:chgData name="Hanne Marie Holst Harboe" userId="3744b3b0-e9bd-4e9c-bac2-809ff365716f" providerId="ADAL" clId="{F956BD7C-643C-4C5C-9691-1F9BDD8CC6C5}" dt="2023-01-25T12:46:03.913" v="1041" actId="1076"/>
          <ac:spMkLst>
            <pc:docMk/>
            <pc:sldMk cId="2455952374" sldId="1982"/>
            <ac:spMk id="42" creationId="{A4997BF1-32C5-4DA7-B772-1ABD7D219F7E}"/>
          </ac:spMkLst>
        </pc:spChg>
        <pc:spChg chg="mod">
          <ac:chgData name="Hanne Marie Holst Harboe" userId="3744b3b0-e9bd-4e9c-bac2-809ff365716f" providerId="ADAL" clId="{F956BD7C-643C-4C5C-9691-1F9BDD8CC6C5}" dt="2023-01-25T12:43:31.824" v="994"/>
          <ac:spMkLst>
            <pc:docMk/>
            <pc:sldMk cId="2455952374" sldId="1982"/>
            <ac:spMk id="43" creationId="{7EDD870E-D163-4CA1-810B-059433508DC7}"/>
          </ac:spMkLst>
        </pc:spChg>
        <pc:spChg chg="mod">
          <ac:chgData name="Hanne Marie Holst Harboe" userId="3744b3b0-e9bd-4e9c-bac2-809ff365716f" providerId="ADAL" clId="{F956BD7C-643C-4C5C-9691-1F9BDD8CC6C5}" dt="2023-01-25T12:44:09.253" v="1025" actId="20577"/>
          <ac:spMkLst>
            <pc:docMk/>
            <pc:sldMk cId="2455952374" sldId="1982"/>
            <ac:spMk id="44" creationId="{057E6723-8CFE-4617-A79D-45293B2FC5C8}"/>
          </ac:spMkLst>
        </pc:spChg>
        <pc:spChg chg="mod">
          <ac:chgData name="Hanne Marie Holst Harboe" userId="3744b3b0-e9bd-4e9c-bac2-809ff365716f" providerId="ADAL" clId="{F956BD7C-643C-4C5C-9691-1F9BDD8CC6C5}" dt="2023-01-25T14:28:54.900" v="3596" actId="14100"/>
          <ac:spMkLst>
            <pc:docMk/>
            <pc:sldMk cId="2455952374" sldId="1982"/>
            <ac:spMk id="45" creationId="{6887C4A8-B97B-47EA-86DD-46ED4B712A13}"/>
          </ac:spMkLst>
        </pc:spChg>
        <pc:spChg chg="mod">
          <ac:chgData name="Hanne Marie Holst Harboe" userId="3744b3b0-e9bd-4e9c-bac2-809ff365716f" providerId="ADAL" clId="{F956BD7C-643C-4C5C-9691-1F9BDD8CC6C5}" dt="2023-01-25T14:28:29.979" v="3595" actId="553"/>
          <ac:spMkLst>
            <pc:docMk/>
            <pc:sldMk cId="2455952374" sldId="1982"/>
            <ac:spMk id="50" creationId="{01F87743-07CE-42D4-BBA8-2A302CC08C66}"/>
          </ac:spMkLst>
        </pc:spChg>
        <pc:spChg chg="mod">
          <ac:chgData name="Hanne Marie Holst Harboe" userId="3744b3b0-e9bd-4e9c-bac2-809ff365716f" providerId="ADAL" clId="{F956BD7C-643C-4C5C-9691-1F9BDD8CC6C5}" dt="2023-01-25T12:43:11.938" v="990" actId="164"/>
          <ac:spMkLst>
            <pc:docMk/>
            <pc:sldMk cId="2455952374" sldId="1982"/>
            <ac:spMk id="51" creationId="{4B28BB84-85F0-4759-9F38-3299802DD9AD}"/>
          </ac:spMkLst>
        </pc:spChg>
        <pc:spChg chg="mod">
          <ac:chgData name="Hanne Marie Holst Harboe" userId="3744b3b0-e9bd-4e9c-bac2-809ff365716f" providerId="ADAL" clId="{F956BD7C-643C-4C5C-9691-1F9BDD8CC6C5}" dt="2023-01-25T12:47:51.336" v="1060" actId="403"/>
          <ac:spMkLst>
            <pc:docMk/>
            <pc:sldMk cId="2455952374" sldId="1982"/>
            <ac:spMk id="52" creationId="{87A4272B-1BCC-4450-A6C8-26C5D3B3D0EF}"/>
          </ac:spMkLst>
        </pc:spChg>
        <pc:spChg chg="mod">
          <ac:chgData name="Hanne Marie Holst Harboe" userId="3744b3b0-e9bd-4e9c-bac2-809ff365716f" providerId="ADAL" clId="{F956BD7C-643C-4C5C-9691-1F9BDD8CC6C5}" dt="2023-01-25T12:47:50.865" v="1059" actId="403"/>
          <ac:spMkLst>
            <pc:docMk/>
            <pc:sldMk cId="2455952374" sldId="1982"/>
            <ac:spMk id="53" creationId="{DFC881D0-CC1D-4757-ABC4-01BA78116D2E}"/>
          </ac:spMkLst>
        </pc:spChg>
        <pc:spChg chg="mod">
          <ac:chgData name="Hanne Marie Holst Harboe" userId="3744b3b0-e9bd-4e9c-bac2-809ff365716f" providerId="ADAL" clId="{F956BD7C-643C-4C5C-9691-1F9BDD8CC6C5}" dt="2023-01-25T12:46:30.910" v="1046" actId="1076"/>
          <ac:spMkLst>
            <pc:docMk/>
            <pc:sldMk cId="2455952374" sldId="1982"/>
            <ac:spMk id="54" creationId="{E1BA0466-BCC0-489B-85A4-A0689CD06DD7}"/>
          </ac:spMkLst>
        </pc:spChg>
        <pc:spChg chg="mod">
          <ac:chgData name="Hanne Marie Holst Harboe" userId="3744b3b0-e9bd-4e9c-bac2-809ff365716f" providerId="ADAL" clId="{F956BD7C-643C-4C5C-9691-1F9BDD8CC6C5}" dt="2023-01-25T12:43:11.938" v="990" actId="164"/>
          <ac:spMkLst>
            <pc:docMk/>
            <pc:sldMk cId="2455952374" sldId="1982"/>
            <ac:spMk id="55" creationId="{419717BE-CB32-4E3F-8CFD-4B1CD1CB9EEE}"/>
          </ac:spMkLst>
        </pc:spChg>
        <pc:spChg chg="mod">
          <ac:chgData name="Hanne Marie Holst Harboe" userId="3744b3b0-e9bd-4e9c-bac2-809ff365716f" providerId="ADAL" clId="{F956BD7C-643C-4C5C-9691-1F9BDD8CC6C5}" dt="2023-01-25T14:28:29.979" v="3595" actId="553"/>
          <ac:spMkLst>
            <pc:docMk/>
            <pc:sldMk cId="2455952374" sldId="1982"/>
            <ac:spMk id="56" creationId="{B730520B-02EE-4526-AACF-783EC6EB42DE}"/>
          </ac:spMkLst>
        </pc:spChg>
        <pc:spChg chg="mod">
          <ac:chgData name="Hanne Marie Holst Harboe" userId="3744b3b0-e9bd-4e9c-bac2-809ff365716f" providerId="ADAL" clId="{F956BD7C-643C-4C5C-9691-1F9BDD8CC6C5}" dt="2023-01-25T14:28:29.979" v="3595" actId="553"/>
          <ac:spMkLst>
            <pc:docMk/>
            <pc:sldMk cId="2455952374" sldId="1982"/>
            <ac:spMk id="57" creationId="{1B199786-69D0-4AB2-8127-A2165BFB321F}"/>
          </ac:spMkLst>
        </pc:spChg>
        <pc:spChg chg="mod">
          <ac:chgData name="Hanne Marie Holst Harboe" userId="3744b3b0-e9bd-4e9c-bac2-809ff365716f" providerId="ADAL" clId="{F956BD7C-643C-4C5C-9691-1F9BDD8CC6C5}" dt="2023-01-25T14:28:29.979" v="3595" actId="553"/>
          <ac:spMkLst>
            <pc:docMk/>
            <pc:sldMk cId="2455952374" sldId="1982"/>
            <ac:spMk id="58" creationId="{CF8077A2-04E5-4E36-8440-4E1D9CE71015}"/>
          </ac:spMkLst>
        </pc:spChg>
        <pc:spChg chg="mod">
          <ac:chgData name="Hanne Marie Holst Harboe" userId="3744b3b0-e9bd-4e9c-bac2-809ff365716f" providerId="ADAL" clId="{F956BD7C-643C-4C5C-9691-1F9BDD8CC6C5}" dt="2023-01-25T12:43:22.323" v="992" actId="20577"/>
          <ac:spMkLst>
            <pc:docMk/>
            <pc:sldMk cId="2455952374" sldId="1982"/>
            <ac:spMk id="59" creationId="{31AA4063-3F0E-44C3-8766-677CC0C5B946}"/>
          </ac:spMkLst>
        </pc:spChg>
        <pc:spChg chg="mod">
          <ac:chgData name="Hanne Marie Holst Harboe" userId="3744b3b0-e9bd-4e9c-bac2-809ff365716f" providerId="ADAL" clId="{F956BD7C-643C-4C5C-9691-1F9BDD8CC6C5}" dt="2023-01-25T12:43:11.938" v="990" actId="164"/>
          <ac:spMkLst>
            <pc:docMk/>
            <pc:sldMk cId="2455952374" sldId="1982"/>
            <ac:spMk id="60" creationId="{C79D72ED-4BA7-4992-9D55-48BAA45B72AF}"/>
          </ac:spMkLst>
        </pc:spChg>
        <pc:spChg chg="del mod">
          <ac:chgData name="Hanne Marie Holst Harboe" userId="3744b3b0-e9bd-4e9c-bac2-809ff365716f" providerId="ADAL" clId="{F956BD7C-643C-4C5C-9691-1F9BDD8CC6C5}" dt="2023-01-25T13:14:54.918" v="1065" actId="478"/>
          <ac:spMkLst>
            <pc:docMk/>
            <pc:sldMk cId="2455952374" sldId="1982"/>
            <ac:spMk id="61" creationId="{865E33DC-990F-417C-B757-F61C9806FE0C}"/>
          </ac:spMkLst>
        </pc:spChg>
        <pc:spChg chg="mod">
          <ac:chgData name="Hanne Marie Holst Harboe" userId="3744b3b0-e9bd-4e9c-bac2-809ff365716f" providerId="ADAL" clId="{F956BD7C-643C-4C5C-9691-1F9BDD8CC6C5}" dt="2023-01-25T20:37:55.970" v="4342" actId="1076"/>
          <ac:spMkLst>
            <pc:docMk/>
            <pc:sldMk cId="2455952374" sldId="1982"/>
            <ac:spMk id="62" creationId="{2CAEE3AC-D420-4AEB-916D-407885792355}"/>
          </ac:spMkLst>
        </pc:spChg>
        <pc:spChg chg="del">
          <ac:chgData name="Hanne Marie Holst Harboe" userId="3744b3b0-e9bd-4e9c-bac2-809ff365716f" providerId="ADAL" clId="{F956BD7C-643C-4C5C-9691-1F9BDD8CC6C5}" dt="2023-01-25T12:42:59.010" v="985" actId="478"/>
          <ac:spMkLst>
            <pc:docMk/>
            <pc:sldMk cId="2455952374" sldId="1982"/>
            <ac:spMk id="63" creationId="{1A3657CF-36BF-45B6-89B6-D8F7A5071DFD}"/>
          </ac:spMkLst>
        </pc:spChg>
        <pc:spChg chg="del">
          <ac:chgData name="Hanne Marie Holst Harboe" userId="3744b3b0-e9bd-4e9c-bac2-809ff365716f" providerId="ADAL" clId="{F956BD7C-643C-4C5C-9691-1F9BDD8CC6C5}" dt="2023-01-25T12:42:59.603" v="986" actId="478"/>
          <ac:spMkLst>
            <pc:docMk/>
            <pc:sldMk cId="2455952374" sldId="1982"/>
            <ac:spMk id="64" creationId="{8C7FD7EA-5081-46A8-B085-2DD3EBA6430B}"/>
          </ac:spMkLst>
        </pc:spChg>
        <pc:spChg chg="del mod">
          <ac:chgData name="Hanne Marie Holst Harboe" userId="3744b3b0-e9bd-4e9c-bac2-809ff365716f" providerId="ADAL" clId="{F956BD7C-643C-4C5C-9691-1F9BDD8CC6C5}" dt="2023-01-25T13:14:53.113" v="1064" actId="478"/>
          <ac:spMkLst>
            <pc:docMk/>
            <pc:sldMk cId="2455952374" sldId="1982"/>
            <ac:spMk id="65" creationId="{23AB5493-2954-46E8-9C63-9D5FC5109665}"/>
          </ac:spMkLst>
        </pc:spChg>
        <pc:spChg chg="add mod">
          <ac:chgData name="Hanne Marie Holst Harboe" userId="3744b3b0-e9bd-4e9c-bac2-809ff365716f" providerId="ADAL" clId="{F956BD7C-643C-4C5C-9691-1F9BDD8CC6C5}" dt="2023-01-25T14:25:50.698" v="3573" actId="1076"/>
          <ac:spMkLst>
            <pc:docMk/>
            <pc:sldMk cId="2455952374" sldId="1982"/>
            <ac:spMk id="67" creationId="{7D44A3E8-66D8-4A34-A64C-52857965585B}"/>
          </ac:spMkLst>
        </pc:spChg>
        <pc:spChg chg="mod">
          <ac:chgData name="Hanne Marie Holst Harboe" userId="3744b3b0-e9bd-4e9c-bac2-809ff365716f" providerId="ADAL" clId="{F956BD7C-643C-4C5C-9691-1F9BDD8CC6C5}" dt="2023-01-25T12:45:07.973" v="1034"/>
          <ac:spMkLst>
            <pc:docMk/>
            <pc:sldMk cId="2455952374" sldId="1982"/>
            <ac:spMk id="69" creationId="{1A4E48EA-872C-4D5D-858F-5BEEEF145EFC}"/>
          </ac:spMkLst>
        </pc:spChg>
        <pc:spChg chg="mod">
          <ac:chgData name="Hanne Marie Holst Harboe" userId="3744b3b0-e9bd-4e9c-bac2-809ff365716f" providerId="ADAL" clId="{F956BD7C-643C-4C5C-9691-1F9BDD8CC6C5}" dt="2023-01-25T12:45:07.973" v="1034"/>
          <ac:spMkLst>
            <pc:docMk/>
            <pc:sldMk cId="2455952374" sldId="1982"/>
            <ac:spMk id="70" creationId="{2C846FC1-29F2-482D-A992-7D3C25630C86}"/>
          </ac:spMkLst>
        </pc:spChg>
        <pc:spChg chg="mod">
          <ac:chgData name="Hanne Marie Holst Harboe" userId="3744b3b0-e9bd-4e9c-bac2-809ff365716f" providerId="ADAL" clId="{F956BD7C-643C-4C5C-9691-1F9BDD8CC6C5}" dt="2023-01-25T12:45:07.973" v="1034"/>
          <ac:spMkLst>
            <pc:docMk/>
            <pc:sldMk cId="2455952374" sldId="1982"/>
            <ac:spMk id="71" creationId="{5ADFD0DF-FF3A-48D8-9107-F6324C12026E}"/>
          </ac:spMkLst>
        </pc:spChg>
        <pc:spChg chg="mod">
          <ac:chgData name="Hanne Marie Holst Harboe" userId="3744b3b0-e9bd-4e9c-bac2-809ff365716f" providerId="ADAL" clId="{F956BD7C-643C-4C5C-9691-1F9BDD8CC6C5}" dt="2023-01-25T12:45:07.973" v="1034"/>
          <ac:spMkLst>
            <pc:docMk/>
            <pc:sldMk cId="2455952374" sldId="1982"/>
            <ac:spMk id="72" creationId="{4A7F082A-BD67-427A-83BB-1809602E95E3}"/>
          </ac:spMkLst>
        </pc:spChg>
        <pc:spChg chg="mod">
          <ac:chgData name="Hanne Marie Holst Harboe" userId="3744b3b0-e9bd-4e9c-bac2-809ff365716f" providerId="ADAL" clId="{F956BD7C-643C-4C5C-9691-1F9BDD8CC6C5}" dt="2023-01-25T12:45:07.973" v="1034"/>
          <ac:spMkLst>
            <pc:docMk/>
            <pc:sldMk cId="2455952374" sldId="1982"/>
            <ac:spMk id="73" creationId="{E9F63B94-1C47-491C-AD97-377283E8540A}"/>
          </ac:spMkLst>
        </pc:spChg>
        <pc:spChg chg="mod">
          <ac:chgData name="Hanne Marie Holst Harboe" userId="3744b3b0-e9bd-4e9c-bac2-809ff365716f" providerId="ADAL" clId="{F956BD7C-643C-4C5C-9691-1F9BDD8CC6C5}" dt="2023-01-25T12:45:07.973" v="1034"/>
          <ac:spMkLst>
            <pc:docMk/>
            <pc:sldMk cId="2455952374" sldId="1982"/>
            <ac:spMk id="74" creationId="{8312BD89-F20B-4F98-B85D-B8FBFA9BBACC}"/>
          </ac:spMkLst>
        </pc:spChg>
        <pc:spChg chg="mod">
          <ac:chgData name="Hanne Marie Holst Harboe" userId="3744b3b0-e9bd-4e9c-bac2-809ff365716f" providerId="ADAL" clId="{F956BD7C-643C-4C5C-9691-1F9BDD8CC6C5}" dt="2023-01-25T12:46:37.602" v="1048"/>
          <ac:spMkLst>
            <pc:docMk/>
            <pc:sldMk cId="2455952374" sldId="1982"/>
            <ac:spMk id="76" creationId="{803ADAC2-FDD8-46DC-BEF1-F3E4CF9D673C}"/>
          </ac:spMkLst>
        </pc:spChg>
        <pc:spChg chg="mod">
          <ac:chgData name="Hanne Marie Holst Harboe" userId="3744b3b0-e9bd-4e9c-bac2-809ff365716f" providerId="ADAL" clId="{F956BD7C-643C-4C5C-9691-1F9BDD8CC6C5}" dt="2023-01-25T12:46:37.602" v="1048"/>
          <ac:spMkLst>
            <pc:docMk/>
            <pc:sldMk cId="2455952374" sldId="1982"/>
            <ac:spMk id="77" creationId="{D9CA7D91-581D-4262-8493-9F8AD62358F9}"/>
          </ac:spMkLst>
        </pc:spChg>
        <pc:spChg chg="mod">
          <ac:chgData name="Hanne Marie Holst Harboe" userId="3744b3b0-e9bd-4e9c-bac2-809ff365716f" providerId="ADAL" clId="{F956BD7C-643C-4C5C-9691-1F9BDD8CC6C5}" dt="2023-01-25T12:46:37.602" v="1048"/>
          <ac:spMkLst>
            <pc:docMk/>
            <pc:sldMk cId="2455952374" sldId="1982"/>
            <ac:spMk id="78" creationId="{6F04B287-D2B0-4122-82BA-15B861B44A84}"/>
          </ac:spMkLst>
        </pc:spChg>
        <pc:spChg chg="del mod">
          <ac:chgData name="Hanne Marie Holst Harboe" userId="3744b3b0-e9bd-4e9c-bac2-809ff365716f" providerId="ADAL" clId="{F956BD7C-643C-4C5C-9691-1F9BDD8CC6C5}" dt="2023-01-25T13:14:56.838" v="1066" actId="478"/>
          <ac:spMkLst>
            <pc:docMk/>
            <pc:sldMk cId="2455952374" sldId="1982"/>
            <ac:spMk id="79" creationId="{1B358654-68B0-44DA-9D17-9466B979C7BE}"/>
          </ac:spMkLst>
        </pc:spChg>
        <pc:spChg chg="mod">
          <ac:chgData name="Hanne Marie Holst Harboe" userId="3744b3b0-e9bd-4e9c-bac2-809ff365716f" providerId="ADAL" clId="{F956BD7C-643C-4C5C-9691-1F9BDD8CC6C5}" dt="2023-01-25T20:38:03.435" v="4343" actId="1076"/>
          <ac:spMkLst>
            <pc:docMk/>
            <pc:sldMk cId="2455952374" sldId="1982"/>
            <ac:spMk id="80" creationId="{80C36513-4E40-46ED-BA63-2E7790F7380C}"/>
          </ac:spMkLst>
        </pc:spChg>
        <pc:spChg chg="del mod">
          <ac:chgData name="Hanne Marie Holst Harboe" userId="3744b3b0-e9bd-4e9c-bac2-809ff365716f" providerId="ADAL" clId="{F956BD7C-643C-4C5C-9691-1F9BDD8CC6C5}" dt="2023-01-25T13:14:58.388" v="1067" actId="478"/>
          <ac:spMkLst>
            <pc:docMk/>
            <pc:sldMk cId="2455952374" sldId="1982"/>
            <ac:spMk id="81" creationId="{B33BCABC-3382-482C-8BFE-7B9AC505B783}"/>
          </ac:spMkLst>
        </pc:spChg>
        <pc:spChg chg="mod">
          <ac:chgData name="Hanne Marie Holst Harboe" userId="3744b3b0-e9bd-4e9c-bac2-809ff365716f" providerId="ADAL" clId="{F956BD7C-643C-4C5C-9691-1F9BDD8CC6C5}" dt="2023-01-25T12:46:52.897" v="1050"/>
          <ac:spMkLst>
            <pc:docMk/>
            <pc:sldMk cId="2455952374" sldId="1982"/>
            <ac:spMk id="83" creationId="{0CFA6106-4FF1-43BA-8F0A-546711B68616}"/>
          </ac:spMkLst>
        </pc:spChg>
        <pc:spChg chg="mod">
          <ac:chgData name="Hanne Marie Holst Harboe" userId="3744b3b0-e9bd-4e9c-bac2-809ff365716f" providerId="ADAL" clId="{F956BD7C-643C-4C5C-9691-1F9BDD8CC6C5}" dt="2023-01-25T12:46:52.897" v="1050"/>
          <ac:spMkLst>
            <pc:docMk/>
            <pc:sldMk cId="2455952374" sldId="1982"/>
            <ac:spMk id="84" creationId="{5ED86C8A-AD5F-47CA-9EAB-8F61F73489F5}"/>
          </ac:spMkLst>
        </pc:spChg>
        <pc:spChg chg="mod">
          <ac:chgData name="Hanne Marie Holst Harboe" userId="3744b3b0-e9bd-4e9c-bac2-809ff365716f" providerId="ADAL" clId="{F956BD7C-643C-4C5C-9691-1F9BDD8CC6C5}" dt="2023-01-25T12:46:52.897" v="1050"/>
          <ac:spMkLst>
            <pc:docMk/>
            <pc:sldMk cId="2455952374" sldId="1982"/>
            <ac:spMk id="85" creationId="{F6744FE8-0A6E-41CE-9CDD-E40DBFFDC05D}"/>
          </ac:spMkLst>
        </pc:spChg>
        <pc:spChg chg="del mod">
          <ac:chgData name="Hanne Marie Holst Harboe" userId="3744b3b0-e9bd-4e9c-bac2-809ff365716f" providerId="ADAL" clId="{F956BD7C-643C-4C5C-9691-1F9BDD8CC6C5}" dt="2023-01-25T13:15:00.036" v="1068" actId="478"/>
          <ac:spMkLst>
            <pc:docMk/>
            <pc:sldMk cId="2455952374" sldId="1982"/>
            <ac:spMk id="86" creationId="{0025AFA3-FC6C-4DB9-9577-D21DB9A8708D}"/>
          </ac:spMkLst>
        </pc:spChg>
        <pc:spChg chg="mod">
          <ac:chgData name="Hanne Marie Holst Harboe" userId="3744b3b0-e9bd-4e9c-bac2-809ff365716f" providerId="ADAL" clId="{F956BD7C-643C-4C5C-9691-1F9BDD8CC6C5}" dt="2023-01-25T20:38:10.874" v="4344" actId="1076"/>
          <ac:spMkLst>
            <pc:docMk/>
            <pc:sldMk cId="2455952374" sldId="1982"/>
            <ac:spMk id="87" creationId="{33330833-DD38-486C-A0B9-2D65176B9309}"/>
          </ac:spMkLst>
        </pc:spChg>
        <pc:spChg chg="del mod">
          <ac:chgData name="Hanne Marie Holst Harboe" userId="3744b3b0-e9bd-4e9c-bac2-809ff365716f" providerId="ADAL" clId="{F956BD7C-643C-4C5C-9691-1F9BDD8CC6C5}" dt="2023-01-25T13:15:01.608" v="1069" actId="478"/>
          <ac:spMkLst>
            <pc:docMk/>
            <pc:sldMk cId="2455952374" sldId="1982"/>
            <ac:spMk id="88" creationId="{FF771EEB-DF2B-4866-A245-D5067944A156}"/>
          </ac:spMkLst>
        </pc:spChg>
        <pc:spChg chg="mod">
          <ac:chgData name="Hanne Marie Holst Harboe" userId="3744b3b0-e9bd-4e9c-bac2-809ff365716f" providerId="ADAL" clId="{F956BD7C-643C-4C5C-9691-1F9BDD8CC6C5}" dt="2023-01-25T14:26:54.351" v="3581" actId="1076"/>
          <ac:spMkLst>
            <pc:docMk/>
            <pc:sldMk cId="2455952374" sldId="1982"/>
            <ac:spMk id="173" creationId="{75436E45-FC46-422A-9D69-8963386AF554}"/>
          </ac:spMkLst>
        </pc:spChg>
        <pc:spChg chg="mod">
          <ac:chgData name="Hanne Marie Holst Harboe" userId="3744b3b0-e9bd-4e9c-bac2-809ff365716f" providerId="ADAL" clId="{F956BD7C-643C-4C5C-9691-1F9BDD8CC6C5}" dt="2023-01-25T14:26:07.647" v="3576" actId="1076"/>
          <ac:spMkLst>
            <pc:docMk/>
            <pc:sldMk cId="2455952374" sldId="1982"/>
            <ac:spMk id="174" creationId="{147C1725-64F3-4376-8C3A-2AA709F791B5}"/>
          </ac:spMkLst>
        </pc:spChg>
        <pc:grpChg chg="add del mod">
          <ac:chgData name="Hanne Marie Holst Harboe" userId="3744b3b0-e9bd-4e9c-bac2-809ff365716f" providerId="ADAL" clId="{F956BD7C-643C-4C5C-9691-1F9BDD8CC6C5}" dt="2023-01-25T12:44:28.851" v="1027" actId="478"/>
          <ac:grpSpMkLst>
            <pc:docMk/>
            <pc:sldMk cId="2455952374" sldId="1982"/>
            <ac:grpSpMk id="7" creationId="{3EC061CF-0584-46A3-A615-985FDF960A33}"/>
          </ac:grpSpMkLst>
        </pc:grpChg>
        <pc:grpChg chg="add del mod">
          <ac:chgData name="Hanne Marie Holst Harboe" userId="3744b3b0-e9bd-4e9c-bac2-809ff365716f" providerId="ADAL" clId="{F956BD7C-643C-4C5C-9691-1F9BDD8CC6C5}" dt="2023-01-25T12:46:34.321" v="1047" actId="478"/>
          <ac:grpSpMkLst>
            <pc:docMk/>
            <pc:sldMk cId="2455952374" sldId="1982"/>
            <ac:grpSpMk id="38" creationId="{D2464C4B-36BE-42CC-8535-2F19115BE241}"/>
          </ac:grpSpMkLst>
        </pc:grpChg>
        <pc:grpChg chg="add mod">
          <ac:chgData name="Hanne Marie Holst Harboe" userId="3744b3b0-e9bd-4e9c-bac2-809ff365716f" providerId="ADAL" clId="{F956BD7C-643C-4C5C-9691-1F9BDD8CC6C5}" dt="2023-01-25T14:26:30.192" v="3578" actId="1076"/>
          <ac:grpSpMkLst>
            <pc:docMk/>
            <pc:sldMk cId="2455952374" sldId="1982"/>
            <ac:grpSpMk id="47" creationId="{36E155D7-DC06-4134-903C-25FE76EAE410}"/>
          </ac:grpSpMkLst>
        </pc:grpChg>
        <pc:grpChg chg="add del mod">
          <ac:chgData name="Hanne Marie Holst Harboe" userId="3744b3b0-e9bd-4e9c-bac2-809ff365716f" providerId="ADAL" clId="{F956BD7C-643C-4C5C-9691-1F9BDD8CC6C5}" dt="2023-01-25T12:46:09.589" v="1043" actId="478"/>
          <ac:grpSpMkLst>
            <pc:docMk/>
            <pc:sldMk cId="2455952374" sldId="1982"/>
            <ac:grpSpMk id="68" creationId="{1B2E81ED-3DFC-46CF-BA60-89C64F3F7BD6}"/>
          </ac:grpSpMkLst>
        </pc:grpChg>
        <pc:grpChg chg="add mod">
          <ac:chgData name="Hanne Marie Holst Harboe" userId="3744b3b0-e9bd-4e9c-bac2-809ff365716f" providerId="ADAL" clId="{F956BD7C-643C-4C5C-9691-1F9BDD8CC6C5}" dt="2023-01-25T14:26:02.970" v="3575" actId="1076"/>
          <ac:grpSpMkLst>
            <pc:docMk/>
            <pc:sldMk cId="2455952374" sldId="1982"/>
            <ac:grpSpMk id="75" creationId="{A479DE14-F51C-4609-83C6-3F03FAFF13F1}"/>
          </ac:grpSpMkLst>
        </pc:grpChg>
        <pc:grpChg chg="add mod">
          <ac:chgData name="Hanne Marie Holst Harboe" userId="3744b3b0-e9bd-4e9c-bac2-809ff365716f" providerId="ADAL" clId="{F956BD7C-643C-4C5C-9691-1F9BDD8CC6C5}" dt="2023-01-25T14:25:41.259" v="3572" actId="1076"/>
          <ac:grpSpMkLst>
            <pc:docMk/>
            <pc:sldMk cId="2455952374" sldId="1982"/>
            <ac:grpSpMk id="82" creationId="{5CD15781-A64C-4B46-A6D6-7F4FCC1E2E37}"/>
          </ac:grpSpMkLst>
        </pc:grpChg>
        <pc:picChg chg="mod">
          <ac:chgData name="Hanne Marie Holst Harboe" userId="3744b3b0-e9bd-4e9c-bac2-809ff365716f" providerId="ADAL" clId="{F956BD7C-643C-4C5C-9691-1F9BDD8CC6C5}" dt="2023-01-25T12:24:39.893" v="906" actId="12788"/>
          <ac:picMkLst>
            <pc:docMk/>
            <pc:sldMk cId="2455952374" sldId="1982"/>
            <ac:picMk id="4" creationId="{31CCCF25-7D36-48BD-BBFC-4362D8980826}"/>
          </ac:picMkLst>
        </pc:picChg>
        <pc:picChg chg="mod">
          <ac:chgData name="Hanne Marie Holst Harboe" userId="3744b3b0-e9bd-4e9c-bac2-809ff365716f" providerId="ADAL" clId="{F956BD7C-643C-4C5C-9691-1F9BDD8CC6C5}" dt="2023-01-25T12:24:39.893" v="906" actId="12788"/>
          <ac:picMkLst>
            <pc:docMk/>
            <pc:sldMk cId="2455952374" sldId="1982"/>
            <ac:picMk id="18" creationId="{AC193279-C673-425D-BF01-1E49FA20B59D}"/>
          </ac:picMkLst>
        </pc:picChg>
        <pc:picChg chg="mod">
          <ac:chgData name="Hanne Marie Holst Harboe" userId="3744b3b0-e9bd-4e9c-bac2-809ff365716f" providerId="ADAL" clId="{F956BD7C-643C-4C5C-9691-1F9BDD8CC6C5}" dt="2023-01-25T12:24:39.893" v="906" actId="12788"/>
          <ac:picMkLst>
            <pc:docMk/>
            <pc:sldMk cId="2455952374" sldId="1982"/>
            <ac:picMk id="48" creationId="{CB500B05-3CA9-4E33-AACD-FD9BF1F6F076}"/>
          </ac:picMkLst>
        </pc:picChg>
        <pc:picChg chg="mod">
          <ac:chgData name="Hanne Marie Holst Harboe" userId="3744b3b0-e9bd-4e9c-bac2-809ff365716f" providerId="ADAL" clId="{F956BD7C-643C-4C5C-9691-1F9BDD8CC6C5}" dt="2023-01-25T12:24:39.893" v="906" actId="12788"/>
          <ac:picMkLst>
            <pc:docMk/>
            <pc:sldMk cId="2455952374" sldId="1982"/>
            <ac:picMk id="49" creationId="{F661F3B2-DD4B-4B84-A31C-5F7E664F119C}"/>
          </ac:picMkLst>
        </pc:picChg>
        <pc:cxnChg chg="mod">
          <ac:chgData name="Hanne Marie Holst Harboe" userId="3744b3b0-e9bd-4e9c-bac2-809ff365716f" providerId="ADAL" clId="{F956BD7C-643C-4C5C-9691-1F9BDD8CC6C5}" dt="2023-01-25T14:27:02.719" v="3582" actId="1076"/>
          <ac:cxnSpMkLst>
            <pc:docMk/>
            <pc:sldMk cId="2455952374" sldId="1982"/>
            <ac:cxnSpMk id="46" creationId="{44576D5D-9C7D-4D9B-99AE-2C7AD7E0D69D}"/>
          </ac:cxnSpMkLst>
        </pc:cxnChg>
        <pc:cxnChg chg="add mod">
          <ac:chgData name="Hanne Marie Holst Harboe" userId="3744b3b0-e9bd-4e9c-bac2-809ff365716f" providerId="ADAL" clId="{F956BD7C-643C-4C5C-9691-1F9BDD8CC6C5}" dt="2023-01-25T14:25:53.780" v="3574" actId="1076"/>
          <ac:cxnSpMkLst>
            <pc:docMk/>
            <pc:sldMk cId="2455952374" sldId="1982"/>
            <ac:cxnSpMk id="66" creationId="{AD59A634-41ED-470B-BB20-5CB06DA4D3C4}"/>
          </ac:cxnSpMkLst>
        </pc:cxnChg>
        <pc:cxnChg chg="mod">
          <ac:chgData name="Hanne Marie Holst Harboe" userId="3744b3b0-e9bd-4e9c-bac2-809ff365716f" providerId="ADAL" clId="{F956BD7C-643C-4C5C-9691-1F9BDD8CC6C5}" dt="2023-01-25T14:26:13.727" v="3577" actId="1076"/>
          <ac:cxnSpMkLst>
            <pc:docMk/>
            <pc:sldMk cId="2455952374" sldId="1982"/>
            <ac:cxnSpMk id="171" creationId="{66EEAD2C-87A2-4211-9A9A-7C9CC6D012BF}"/>
          </ac:cxnSpMkLst>
        </pc:cxnChg>
      </pc:sldChg>
      <pc:sldChg chg="modSp mod addCm modCm">
        <pc:chgData name="Hanne Marie Holst Harboe" userId="3744b3b0-e9bd-4e9c-bac2-809ff365716f" providerId="ADAL" clId="{F956BD7C-643C-4C5C-9691-1F9BDD8CC6C5}" dt="2023-01-25T20:31:52.708" v="4304"/>
        <pc:sldMkLst>
          <pc:docMk/>
          <pc:sldMk cId="3446406459" sldId="1983"/>
        </pc:sldMkLst>
        <pc:spChg chg="mod">
          <ac:chgData name="Hanne Marie Holst Harboe" userId="3744b3b0-e9bd-4e9c-bac2-809ff365716f" providerId="ADAL" clId="{F956BD7C-643C-4C5C-9691-1F9BDD8CC6C5}" dt="2023-01-25T20:09:40.630" v="3925" actId="20577"/>
          <ac:spMkLst>
            <pc:docMk/>
            <pc:sldMk cId="3446406459" sldId="1983"/>
            <ac:spMk id="20" creationId="{1923FD27-E9DC-40D5-A4B1-EE2E259978AF}"/>
          </ac:spMkLst>
        </pc:spChg>
        <pc:spChg chg="mod">
          <ac:chgData name="Hanne Marie Holst Harboe" userId="3744b3b0-e9bd-4e9c-bac2-809ff365716f" providerId="ADAL" clId="{F956BD7C-643C-4C5C-9691-1F9BDD8CC6C5}" dt="2023-01-25T13:57:33.442" v="3243" actId="20577"/>
          <ac:spMkLst>
            <pc:docMk/>
            <pc:sldMk cId="3446406459" sldId="1983"/>
            <ac:spMk id="21" creationId="{E7E73127-719C-481B-B67B-CCA16425E42B}"/>
          </ac:spMkLst>
        </pc:spChg>
      </pc:sldChg>
      <pc:sldChg chg="modSp mod">
        <pc:chgData name="Hanne Marie Holst Harboe" userId="3744b3b0-e9bd-4e9c-bac2-809ff365716f" providerId="ADAL" clId="{F956BD7C-643C-4C5C-9691-1F9BDD8CC6C5}" dt="2023-01-25T20:26:37.409" v="4303" actId="20577"/>
        <pc:sldMkLst>
          <pc:docMk/>
          <pc:sldMk cId="3441729892" sldId="1984"/>
        </pc:sldMkLst>
        <pc:spChg chg="mod">
          <ac:chgData name="Hanne Marie Holst Harboe" userId="3744b3b0-e9bd-4e9c-bac2-809ff365716f" providerId="ADAL" clId="{F956BD7C-643C-4C5C-9691-1F9BDD8CC6C5}" dt="2023-01-25T20:26:17.547" v="4282" actId="20577"/>
          <ac:spMkLst>
            <pc:docMk/>
            <pc:sldMk cId="3441729892" sldId="1984"/>
            <ac:spMk id="14" creationId="{8A84B69B-B9F9-4F80-8651-F050BAF5CFBC}"/>
          </ac:spMkLst>
        </pc:spChg>
        <pc:spChg chg="mod">
          <ac:chgData name="Hanne Marie Holst Harboe" userId="3744b3b0-e9bd-4e9c-bac2-809ff365716f" providerId="ADAL" clId="{F956BD7C-643C-4C5C-9691-1F9BDD8CC6C5}" dt="2023-01-25T20:26:37.409" v="4303" actId="20577"/>
          <ac:spMkLst>
            <pc:docMk/>
            <pc:sldMk cId="3441729892" sldId="1984"/>
            <ac:spMk id="15" creationId="{95BED6D4-B599-483B-817D-87AD7138B9D8}"/>
          </ac:spMkLst>
        </pc:spChg>
      </pc:sldChg>
      <pc:sldChg chg="modSp mod">
        <pc:chgData name="Hanne Marie Holst Harboe" userId="3744b3b0-e9bd-4e9c-bac2-809ff365716f" providerId="ADAL" clId="{F956BD7C-643C-4C5C-9691-1F9BDD8CC6C5}" dt="2023-01-25T20:06:07.392" v="3805" actId="20577"/>
        <pc:sldMkLst>
          <pc:docMk/>
          <pc:sldMk cId="2676015612" sldId="1988"/>
        </pc:sldMkLst>
        <pc:spChg chg="mod">
          <ac:chgData name="Hanne Marie Holst Harboe" userId="3744b3b0-e9bd-4e9c-bac2-809ff365716f" providerId="ADAL" clId="{F956BD7C-643C-4C5C-9691-1F9BDD8CC6C5}" dt="2023-01-25T20:06:07.392" v="3805" actId="20577"/>
          <ac:spMkLst>
            <pc:docMk/>
            <pc:sldMk cId="2676015612" sldId="1988"/>
            <ac:spMk id="34" creationId="{4DA16978-08B8-44DE-AE66-A99A848C6160}"/>
          </ac:spMkLst>
        </pc:spChg>
      </pc:sldChg>
      <pc:sldChg chg="modSp add del mod">
        <pc:chgData name="Hanne Marie Holst Harboe" userId="3744b3b0-e9bd-4e9c-bac2-809ff365716f" providerId="ADAL" clId="{F956BD7C-643C-4C5C-9691-1F9BDD8CC6C5}" dt="2023-01-25T13:57:31.499" v="3240" actId="2696"/>
        <pc:sldMkLst>
          <pc:docMk/>
          <pc:sldMk cId="4271052140" sldId="1989"/>
        </pc:sldMkLst>
        <pc:spChg chg="mod">
          <ac:chgData name="Hanne Marie Holst Harboe" userId="3744b3b0-e9bd-4e9c-bac2-809ff365716f" providerId="ADAL" clId="{F956BD7C-643C-4C5C-9691-1F9BDD8CC6C5}" dt="2023-01-25T13:39:13.793" v="1850" actId="20577"/>
          <ac:spMkLst>
            <pc:docMk/>
            <pc:sldMk cId="4271052140" sldId="1989"/>
            <ac:spMk id="18" creationId="{CE39AA97-4D19-424A-B2C7-FF4C20C02189}"/>
          </ac:spMkLst>
        </pc:spChg>
        <pc:spChg chg="mod">
          <ac:chgData name="Hanne Marie Holst Harboe" userId="3744b3b0-e9bd-4e9c-bac2-809ff365716f" providerId="ADAL" clId="{F956BD7C-643C-4C5C-9691-1F9BDD8CC6C5}" dt="2023-01-25T13:39:23.786" v="1852" actId="20577"/>
          <ac:spMkLst>
            <pc:docMk/>
            <pc:sldMk cId="4271052140" sldId="1989"/>
            <ac:spMk id="20" creationId="{1923FD27-E9DC-40D5-A4B1-EE2E259978AF}"/>
          </ac:spMkLst>
        </pc:spChg>
      </pc:sldChg>
      <pc:sldChg chg="addSp modSp mod">
        <pc:chgData name="Hanne Marie Holst Harboe" userId="3744b3b0-e9bd-4e9c-bac2-809ff365716f" providerId="ADAL" clId="{F956BD7C-643C-4C5C-9691-1F9BDD8CC6C5}" dt="2023-01-25T20:34:38.431" v="4341" actId="1076"/>
        <pc:sldMkLst>
          <pc:docMk/>
          <pc:sldMk cId="15753831" sldId="1990"/>
        </pc:sldMkLst>
        <pc:spChg chg="add mod">
          <ac:chgData name="Hanne Marie Holst Harboe" userId="3744b3b0-e9bd-4e9c-bac2-809ff365716f" providerId="ADAL" clId="{F956BD7C-643C-4C5C-9691-1F9BDD8CC6C5}" dt="2023-01-25T20:34:38.431" v="4341" actId="1076"/>
          <ac:spMkLst>
            <pc:docMk/>
            <pc:sldMk cId="15753831" sldId="1990"/>
            <ac:spMk id="17" creationId="{A4846D4B-433B-4543-A7C1-46764B978E06}"/>
          </ac:spMkLst>
        </pc:spChg>
        <pc:spChg chg="mod">
          <ac:chgData name="Hanne Marie Holst Harboe" userId="3744b3b0-e9bd-4e9c-bac2-809ff365716f" providerId="ADAL" clId="{F956BD7C-643C-4C5C-9691-1F9BDD8CC6C5}" dt="2023-01-25T20:33:18.578" v="4316" actId="164"/>
          <ac:spMkLst>
            <pc:docMk/>
            <pc:sldMk cId="15753831" sldId="1990"/>
            <ac:spMk id="18" creationId="{CE39AA97-4D19-424A-B2C7-FF4C20C02189}"/>
          </ac:spMkLst>
        </pc:spChg>
        <pc:spChg chg="mod">
          <ac:chgData name="Hanne Marie Holst Harboe" userId="3744b3b0-e9bd-4e9c-bac2-809ff365716f" providerId="ADAL" clId="{F956BD7C-643C-4C5C-9691-1F9BDD8CC6C5}" dt="2023-01-25T20:33:18.578" v="4316" actId="164"/>
          <ac:spMkLst>
            <pc:docMk/>
            <pc:sldMk cId="15753831" sldId="1990"/>
            <ac:spMk id="19" creationId="{810ACAF7-694B-47CA-AE1A-F1D1D2FEA95A}"/>
          </ac:spMkLst>
        </pc:spChg>
        <pc:spChg chg="mod">
          <ac:chgData name="Hanne Marie Holst Harboe" userId="3744b3b0-e9bd-4e9c-bac2-809ff365716f" providerId="ADAL" clId="{F956BD7C-643C-4C5C-9691-1F9BDD8CC6C5}" dt="2023-01-25T20:33:18.578" v="4316" actId="164"/>
          <ac:spMkLst>
            <pc:docMk/>
            <pc:sldMk cId="15753831" sldId="1990"/>
            <ac:spMk id="20" creationId="{1923FD27-E9DC-40D5-A4B1-EE2E259978AF}"/>
          </ac:spMkLst>
        </pc:spChg>
        <pc:spChg chg="mod">
          <ac:chgData name="Hanne Marie Holst Harboe" userId="3744b3b0-e9bd-4e9c-bac2-809ff365716f" providerId="ADAL" clId="{F956BD7C-643C-4C5C-9691-1F9BDD8CC6C5}" dt="2023-01-25T20:33:35.242" v="4318" actId="164"/>
          <ac:spMkLst>
            <pc:docMk/>
            <pc:sldMk cId="15753831" sldId="1990"/>
            <ac:spMk id="21" creationId="{1417DE11-9E4B-4FFE-9C5F-D327D3F1FACE}"/>
          </ac:spMkLst>
        </pc:spChg>
        <pc:spChg chg="mod">
          <ac:chgData name="Hanne Marie Holst Harboe" userId="3744b3b0-e9bd-4e9c-bac2-809ff365716f" providerId="ADAL" clId="{F956BD7C-643C-4C5C-9691-1F9BDD8CC6C5}" dt="2023-01-25T20:33:35.242" v="4318" actId="164"/>
          <ac:spMkLst>
            <pc:docMk/>
            <pc:sldMk cId="15753831" sldId="1990"/>
            <ac:spMk id="23" creationId="{DC8D841A-07A7-4C6A-94C2-39243F2EB8BA}"/>
          </ac:spMkLst>
        </pc:spChg>
        <pc:spChg chg="mod">
          <ac:chgData name="Hanne Marie Holst Harboe" userId="3744b3b0-e9bd-4e9c-bac2-809ff365716f" providerId="ADAL" clId="{F956BD7C-643C-4C5C-9691-1F9BDD8CC6C5}" dt="2023-01-25T20:33:35.242" v="4318" actId="164"/>
          <ac:spMkLst>
            <pc:docMk/>
            <pc:sldMk cId="15753831" sldId="1990"/>
            <ac:spMk id="27" creationId="{1F2D0745-AF6F-4E3C-A0D8-24E74A59A07A}"/>
          </ac:spMkLst>
        </pc:spChg>
        <pc:grpChg chg="add mod">
          <ac:chgData name="Hanne Marie Holst Harboe" userId="3744b3b0-e9bd-4e9c-bac2-809ff365716f" providerId="ADAL" clId="{F956BD7C-643C-4C5C-9691-1F9BDD8CC6C5}" dt="2023-01-25T20:34:22.017" v="4339" actId="1076"/>
          <ac:grpSpMkLst>
            <pc:docMk/>
            <pc:sldMk cId="15753831" sldId="1990"/>
            <ac:grpSpMk id="2" creationId="{1F4A2E3C-AAA9-451E-A687-2736702889A6}"/>
          </ac:grpSpMkLst>
        </pc:grpChg>
        <pc:grpChg chg="add mod">
          <ac:chgData name="Hanne Marie Holst Harboe" userId="3744b3b0-e9bd-4e9c-bac2-809ff365716f" providerId="ADAL" clId="{F956BD7C-643C-4C5C-9691-1F9BDD8CC6C5}" dt="2023-01-25T20:34:25.868" v="4340" actId="1076"/>
          <ac:grpSpMkLst>
            <pc:docMk/>
            <pc:sldMk cId="15753831" sldId="1990"/>
            <ac:grpSpMk id="3" creationId="{8B723005-AD6C-42E4-A00E-1CB0D9B815C1}"/>
          </ac:grpSpMkLst>
        </pc:grpChg>
      </pc:sldChg>
      <pc:sldChg chg="addSp modSp mod addCm modCm">
        <pc:chgData name="Hanne Marie Holst Harboe" userId="3744b3b0-e9bd-4e9c-bac2-809ff365716f" providerId="ADAL" clId="{F956BD7C-643C-4C5C-9691-1F9BDD8CC6C5}" dt="2023-01-25T20:08:57.770" v="3915" actId="403"/>
        <pc:sldMkLst>
          <pc:docMk/>
          <pc:sldMk cId="1053166324" sldId="1991"/>
        </pc:sldMkLst>
        <pc:spChg chg="mod">
          <ac:chgData name="Hanne Marie Holst Harboe" userId="3744b3b0-e9bd-4e9c-bac2-809ff365716f" providerId="ADAL" clId="{F956BD7C-643C-4C5C-9691-1F9BDD8CC6C5}" dt="2023-01-25T11:30:29.275" v="722" actId="164"/>
          <ac:spMkLst>
            <pc:docMk/>
            <pc:sldMk cId="1053166324" sldId="1991"/>
            <ac:spMk id="12" creationId="{9A9EC5C7-379D-4159-881C-64C2A901F5AB}"/>
          </ac:spMkLst>
        </pc:spChg>
        <pc:spChg chg="mod">
          <ac:chgData name="Hanne Marie Holst Harboe" userId="3744b3b0-e9bd-4e9c-bac2-809ff365716f" providerId="ADAL" clId="{F956BD7C-643C-4C5C-9691-1F9BDD8CC6C5}" dt="2023-01-25T20:06:48.506" v="3815" actId="20577"/>
          <ac:spMkLst>
            <pc:docMk/>
            <pc:sldMk cId="1053166324" sldId="1991"/>
            <ac:spMk id="13" creationId="{D2F201AB-E8A3-43D5-AD56-0BC3AF8A3B9A}"/>
          </ac:spMkLst>
        </pc:spChg>
        <pc:spChg chg="mod">
          <ac:chgData name="Hanne Marie Holst Harboe" userId="3744b3b0-e9bd-4e9c-bac2-809ff365716f" providerId="ADAL" clId="{F956BD7C-643C-4C5C-9691-1F9BDD8CC6C5}" dt="2023-01-25T11:31:43.345" v="730" actId="14100"/>
          <ac:spMkLst>
            <pc:docMk/>
            <pc:sldMk cId="1053166324" sldId="1991"/>
            <ac:spMk id="14" creationId="{A547D884-A5D7-4E6A-93EB-BD3A96A22DD5}"/>
          </ac:spMkLst>
        </pc:spChg>
        <pc:spChg chg="mod">
          <ac:chgData name="Hanne Marie Holst Harboe" userId="3744b3b0-e9bd-4e9c-bac2-809ff365716f" providerId="ADAL" clId="{F956BD7C-643C-4C5C-9691-1F9BDD8CC6C5}" dt="2023-01-25T20:08:57.770" v="3915" actId="403"/>
          <ac:spMkLst>
            <pc:docMk/>
            <pc:sldMk cId="1053166324" sldId="1991"/>
            <ac:spMk id="34" creationId="{4DA16978-08B8-44DE-AE66-A99A848C6160}"/>
          </ac:spMkLst>
        </pc:spChg>
        <pc:grpChg chg="add mod">
          <ac:chgData name="Hanne Marie Holst Harboe" userId="3744b3b0-e9bd-4e9c-bac2-809ff365716f" providerId="ADAL" clId="{F956BD7C-643C-4C5C-9691-1F9BDD8CC6C5}" dt="2023-01-25T11:30:38.590" v="723" actId="1076"/>
          <ac:grpSpMkLst>
            <pc:docMk/>
            <pc:sldMk cId="1053166324" sldId="1991"/>
            <ac:grpSpMk id="3" creationId="{4A9A6A59-AEE4-4D27-B03B-5680BABCC315}"/>
          </ac:grpSpMkLst>
        </pc:grpChg>
      </pc:sldChg>
      <pc:sldChg chg="addSp delSp modSp mod">
        <pc:chgData name="Hanne Marie Holst Harboe" userId="3744b3b0-e9bd-4e9c-bac2-809ff365716f" providerId="ADAL" clId="{F956BD7C-643C-4C5C-9691-1F9BDD8CC6C5}" dt="2023-01-25T20:41:42.395" v="4411" actId="313"/>
        <pc:sldMkLst>
          <pc:docMk/>
          <pc:sldMk cId="3606739673" sldId="1992"/>
        </pc:sldMkLst>
        <pc:spChg chg="mod">
          <ac:chgData name="Hanne Marie Holst Harboe" userId="3744b3b0-e9bd-4e9c-bac2-809ff365716f" providerId="ADAL" clId="{F956BD7C-643C-4C5C-9691-1F9BDD8CC6C5}" dt="2023-01-25T11:47:49.581" v="799" actId="164"/>
          <ac:spMkLst>
            <pc:docMk/>
            <pc:sldMk cId="3606739673" sldId="1992"/>
            <ac:spMk id="17" creationId="{D18898B6-B05E-447D-A66C-ECF756CF54F6}"/>
          </ac:spMkLst>
        </pc:spChg>
        <pc:spChg chg="mod">
          <ac:chgData name="Hanne Marie Holst Harboe" userId="3744b3b0-e9bd-4e9c-bac2-809ff365716f" providerId="ADAL" clId="{F956BD7C-643C-4C5C-9691-1F9BDD8CC6C5}" dt="2023-01-25T11:56:19.992" v="840" actId="14100"/>
          <ac:spMkLst>
            <pc:docMk/>
            <pc:sldMk cId="3606739673" sldId="1992"/>
            <ac:spMk id="18" creationId="{EA78468F-E258-48AA-9048-3CCC211CB935}"/>
          </ac:spMkLst>
        </pc:spChg>
        <pc:spChg chg="mod">
          <ac:chgData name="Hanne Marie Holst Harboe" userId="3744b3b0-e9bd-4e9c-bac2-809ff365716f" providerId="ADAL" clId="{F956BD7C-643C-4C5C-9691-1F9BDD8CC6C5}" dt="2023-01-25T20:25:17.320" v="4238" actId="20577"/>
          <ac:spMkLst>
            <pc:docMk/>
            <pc:sldMk cId="3606739673" sldId="1992"/>
            <ac:spMk id="19" creationId="{5D72530B-A363-4545-8632-1FFB3C39526F}"/>
          </ac:spMkLst>
        </pc:spChg>
        <pc:spChg chg="mod">
          <ac:chgData name="Hanne Marie Holst Harboe" userId="3744b3b0-e9bd-4e9c-bac2-809ff365716f" providerId="ADAL" clId="{F956BD7C-643C-4C5C-9691-1F9BDD8CC6C5}" dt="2023-01-25T14:08:19.612" v="3545" actId="14100"/>
          <ac:spMkLst>
            <pc:docMk/>
            <pc:sldMk cId="3606739673" sldId="1992"/>
            <ac:spMk id="22" creationId="{AC9C19F2-B6F3-419D-80F8-FF0DD1D06E4D}"/>
          </ac:spMkLst>
        </pc:spChg>
        <pc:spChg chg="mod">
          <ac:chgData name="Hanne Marie Holst Harboe" userId="3744b3b0-e9bd-4e9c-bac2-809ff365716f" providerId="ADAL" clId="{F956BD7C-643C-4C5C-9691-1F9BDD8CC6C5}" dt="2023-01-25T14:08:26.981" v="3546" actId="14100"/>
          <ac:spMkLst>
            <pc:docMk/>
            <pc:sldMk cId="3606739673" sldId="1992"/>
            <ac:spMk id="23" creationId="{78A4AB52-5A29-4C4E-9DAF-9283A22F6409}"/>
          </ac:spMkLst>
        </pc:spChg>
        <pc:spChg chg="mod">
          <ac:chgData name="Hanne Marie Holst Harboe" userId="3744b3b0-e9bd-4e9c-bac2-809ff365716f" providerId="ADAL" clId="{F956BD7C-643C-4C5C-9691-1F9BDD8CC6C5}" dt="2023-01-25T20:41:42.395" v="4411" actId="313"/>
          <ac:spMkLst>
            <pc:docMk/>
            <pc:sldMk cId="3606739673" sldId="1992"/>
            <ac:spMk id="24" creationId="{65ACF726-27D2-4278-8E96-7B105C601347}"/>
          </ac:spMkLst>
        </pc:spChg>
        <pc:grpChg chg="add mod">
          <ac:chgData name="Hanne Marie Holst Harboe" userId="3744b3b0-e9bd-4e9c-bac2-809ff365716f" providerId="ADAL" clId="{F956BD7C-643C-4C5C-9691-1F9BDD8CC6C5}" dt="2023-01-25T11:56:16.529" v="839" actId="1076"/>
          <ac:grpSpMkLst>
            <pc:docMk/>
            <pc:sldMk cId="3606739673" sldId="1992"/>
            <ac:grpSpMk id="2" creationId="{59694333-A1DD-4056-8B71-797BBA8662DF}"/>
          </ac:grpSpMkLst>
        </pc:grpChg>
        <pc:grpChg chg="add mod">
          <ac:chgData name="Hanne Marie Holst Harboe" userId="3744b3b0-e9bd-4e9c-bac2-809ff365716f" providerId="ADAL" clId="{F956BD7C-643C-4C5C-9691-1F9BDD8CC6C5}" dt="2023-01-25T14:08:38.713" v="3547" actId="1076"/>
          <ac:grpSpMkLst>
            <pc:docMk/>
            <pc:sldMk cId="3606739673" sldId="1992"/>
            <ac:grpSpMk id="3" creationId="{4F399B1D-4CC0-4467-8609-AB2D591854F3}"/>
          </ac:grpSpMkLst>
        </pc:grpChg>
        <pc:picChg chg="add del mod">
          <ac:chgData name="Hanne Marie Holst Harboe" userId="3744b3b0-e9bd-4e9c-bac2-809ff365716f" providerId="ADAL" clId="{F956BD7C-643C-4C5C-9691-1F9BDD8CC6C5}" dt="2023-01-25T11:55:42.546" v="833" actId="478"/>
          <ac:picMkLst>
            <pc:docMk/>
            <pc:sldMk cId="3606739673" sldId="1992"/>
            <ac:picMk id="11" creationId="{B0C7A61E-6232-47B7-AECF-EE0A7EDB7888}"/>
          </ac:picMkLst>
        </pc:picChg>
        <pc:picChg chg="add del mod">
          <ac:chgData name="Hanne Marie Holst Harboe" userId="3744b3b0-e9bd-4e9c-bac2-809ff365716f" providerId="ADAL" clId="{F956BD7C-643C-4C5C-9691-1F9BDD8CC6C5}" dt="2023-01-25T11:55:43.697" v="834" actId="478"/>
          <ac:picMkLst>
            <pc:docMk/>
            <pc:sldMk cId="3606739673" sldId="1992"/>
            <ac:picMk id="13" creationId="{A780425F-02F1-4812-B364-BABFD1D195FF}"/>
          </ac:picMkLst>
        </pc:picChg>
      </pc:sldChg>
      <pc:sldChg chg="addSp delSp modSp add del mod">
        <pc:chgData name="Hanne Marie Holst Harboe" userId="3744b3b0-e9bd-4e9c-bac2-809ff365716f" providerId="ADAL" clId="{F956BD7C-643C-4C5C-9691-1F9BDD8CC6C5}" dt="2023-01-25T12:42:46.050" v="984" actId="2696"/>
        <pc:sldMkLst>
          <pc:docMk/>
          <pc:sldMk cId="500028068" sldId="1993"/>
        </pc:sldMkLst>
        <pc:spChg chg="del">
          <ac:chgData name="Hanne Marie Holst Harboe" userId="3744b3b0-e9bd-4e9c-bac2-809ff365716f" providerId="ADAL" clId="{F956BD7C-643C-4C5C-9691-1F9BDD8CC6C5}" dt="2023-01-25T12:38:37.959" v="944" actId="478"/>
          <ac:spMkLst>
            <pc:docMk/>
            <pc:sldMk cId="500028068" sldId="1993"/>
            <ac:spMk id="28" creationId="{44AF79D9-BF45-4220-9CEE-6C59C4B39873}"/>
          </ac:spMkLst>
        </pc:spChg>
        <pc:spChg chg="del">
          <ac:chgData name="Hanne Marie Holst Harboe" userId="3744b3b0-e9bd-4e9c-bac2-809ff365716f" providerId="ADAL" clId="{F956BD7C-643C-4C5C-9691-1F9BDD8CC6C5}" dt="2023-01-25T12:38:40.808" v="947" actId="478"/>
          <ac:spMkLst>
            <pc:docMk/>
            <pc:sldMk cId="500028068" sldId="1993"/>
            <ac:spMk id="29" creationId="{7F01E3F5-73D8-465A-9DB2-D946E7B5B618}"/>
          </ac:spMkLst>
        </pc:spChg>
        <pc:spChg chg="del">
          <ac:chgData name="Hanne Marie Holst Harboe" userId="3744b3b0-e9bd-4e9c-bac2-809ff365716f" providerId="ADAL" clId="{F956BD7C-643C-4C5C-9691-1F9BDD8CC6C5}" dt="2023-01-25T12:38:49.305" v="955" actId="478"/>
          <ac:spMkLst>
            <pc:docMk/>
            <pc:sldMk cId="500028068" sldId="1993"/>
            <ac:spMk id="30" creationId="{93D8B084-3B98-4B8D-A1AB-383223AB0206}"/>
          </ac:spMkLst>
        </pc:spChg>
        <pc:spChg chg="del">
          <ac:chgData name="Hanne Marie Holst Harboe" userId="3744b3b0-e9bd-4e9c-bac2-809ff365716f" providerId="ADAL" clId="{F956BD7C-643C-4C5C-9691-1F9BDD8CC6C5}" dt="2023-01-25T12:38:50.834" v="956" actId="478"/>
          <ac:spMkLst>
            <pc:docMk/>
            <pc:sldMk cId="500028068" sldId="1993"/>
            <ac:spMk id="31" creationId="{33539908-0180-4F56-AE0B-39F17F971644}"/>
          </ac:spMkLst>
        </pc:spChg>
        <pc:spChg chg="del">
          <ac:chgData name="Hanne Marie Holst Harboe" userId="3744b3b0-e9bd-4e9c-bac2-809ff365716f" providerId="ADAL" clId="{F956BD7C-643C-4C5C-9691-1F9BDD8CC6C5}" dt="2023-01-25T12:38:45.287" v="951" actId="478"/>
          <ac:spMkLst>
            <pc:docMk/>
            <pc:sldMk cId="500028068" sldId="1993"/>
            <ac:spMk id="32" creationId="{5735C4A8-4846-49B9-BA3F-B78C3C39085E}"/>
          </ac:spMkLst>
        </pc:spChg>
        <pc:spChg chg="add mod">
          <ac:chgData name="Hanne Marie Holst Harboe" userId="3744b3b0-e9bd-4e9c-bac2-809ff365716f" providerId="ADAL" clId="{F956BD7C-643C-4C5C-9691-1F9BDD8CC6C5}" dt="2023-01-25T12:38:30.712" v="941"/>
          <ac:spMkLst>
            <pc:docMk/>
            <pc:sldMk cId="500028068" sldId="1993"/>
            <ac:spMk id="36" creationId="{08E6013D-B83A-4A24-BF20-D8396C322B4E}"/>
          </ac:spMkLst>
        </pc:spChg>
        <pc:spChg chg="add mod">
          <ac:chgData name="Hanne Marie Holst Harboe" userId="3744b3b0-e9bd-4e9c-bac2-809ff365716f" providerId="ADAL" clId="{F956BD7C-643C-4C5C-9691-1F9BDD8CC6C5}" dt="2023-01-25T12:42:10.098" v="979" actId="555"/>
          <ac:spMkLst>
            <pc:docMk/>
            <pc:sldMk cId="500028068" sldId="1993"/>
            <ac:spMk id="39" creationId="{56F67156-21EF-43B5-A41A-9192C0AEA532}"/>
          </ac:spMkLst>
        </pc:spChg>
        <pc:spChg chg="add mod">
          <ac:chgData name="Hanne Marie Holst Harboe" userId="3744b3b0-e9bd-4e9c-bac2-809ff365716f" providerId="ADAL" clId="{F956BD7C-643C-4C5C-9691-1F9BDD8CC6C5}" dt="2023-01-25T12:42:15.239" v="980" actId="408"/>
          <ac:spMkLst>
            <pc:docMk/>
            <pc:sldMk cId="500028068" sldId="1993"/>
            <ac:spMk id="40" creationId="{5BB36D80-F4A4-4B6E-BC24-A492E2E5B065}"/>
          </ac:spMkLst>
        </pc:spChg>
        <pc:spChg chg="add mod">
          <ac:chgData name="Hanne Marie Holst Harboe" userId="3744b3b0-e9bd-4e9c-bac2-809ff365716f" providerId="ADAL" clId="{F956BD7C-643C-4C5C-9691-1F9BDD8CC6C5}" dt="2023-01-25T12:42:15.239" v="980" actId="408"/>
          <ac:spMkLst>
            <pc:docMk/>
            <pc:sldMk cId="500028068" sldId="1993"/>
            <ac:spMk id="41" creationId="{ABBB35FC-B59F-46B2-BD49-763F19932498}"/>
          </ac:spMkLst>
        </pc:spChg>
        <pc:spChg chg="add mod">
          <ac:chgData name="Hanne Marie Holst Harboe" userId="3744b3b0-e9bd-4e9c-bac2-809ff365716f" providerId="ADAL" clId="{F956BD7C-643C-4C5C-9691-1F9BDD8CC6C5}" dt="2023-01-25T12:42:15.239" v="980" actId="408"/>
          <ac:spMkLst>
            <pc:docMk/>
            <pc:sldMk cId="500028068" sldId="1993"/>
            <ac:spMk id="42" creationId="{1FA34B98-CD19-4412-863A-CA49F4EE315F}"/>
          </ac:spMkLst>
        </pc:spChg>
        <pc:spChg chg="add mod">
          <ac:chgData name="Hanne Marie Holst Harboe" userId="3744b3b0-e9bd-4e9c-bac2-809ff365716f" providerId="ADAL" clId="{F956BD7C-643C-4C5C-9691-1F9BDD8CC6C5}" dt="2023-01-25T12:42:15.239" v="980" actId="408"/>
          <ac:spMkLst>
            <pc:docMk/>
            <pc:sldMk cId="500028068" sldId="1993"/>
            <ac:spMk id="43" creationId="{DC5E3D4E-4FBC-4F4A-85ED-D5CAD2A4055C}"/>
          </ac:spMkLst>
        </pc:spChg>
        <pc:spChg chg="add mod">
          <ac:chgData name="Hanne Marie Holst Harboe" userId="3744b3b0-e9bd-4e9c-bac2-809ff365716f" providerId="ADAL" clId="{F956BD7C-643C-4C5C-9691-1F9BDD8CC6C5}" dt="2023-01-25T12:42:15.239" v="980" actId="408"/>
          <ac:spMkLst>
            <pc:docMk/>
            <pc:sldMk cId="500028068" sldId="1993"/>
            <ac:spMk id="44" creationId="{055568F8-417A-4659-B2CB-0BC55CFEF6CF}"/>
          </ac:spMkLst>
        </pc:spChg>
        <pc:spChg chg="add mod">
          <ac:chgData name="Hanne Marie Holst Harboe" userId="3744b3b0-e9bd-4e9c-bac2-809ff365716f" providerId="ADAL" clId="{F956BD7C-643C-4C5C-9691-1F9BDD8CC6C5}" dt="2023-01-25T12:42:28.745" v="981" actId="1076"/>
          <ac:spMkLst>
            <pc:docMk/>
            <pc:sldMk cId="500028068" sldId="1993"/>
            <ac:spMk id="47" creationId="{7B776C8A-E327-43E5-B54A-46C274ACDC37}"/>
          </ac:spMkLst>
        </pc:spChg>
        <pc:spChg chg="del">
          <ac:chgData name="Hanne Marie Holst Harboe" userId="3744b3b0-e9bd-4e9c-bac2-809ff365716f" providerId="ADAL" clId="{F956BD7C-643C-4C5C-9691-1F9BDD8CC6C5}" dt="2023-01-25T12:38:36.659" v="942" actId="478"/>
          <ac:spMkLst>
            <pc:docMk/>
            <pc:sldMk cId="500028068" sldId="1993"/>
            <ac:spMk id="51" creationId="{4B28BB84-85F0-4759-9F38-3299802DD9AD}"/>
          </ac:spMkLst>
        </pc:spChg>
        <pc:spChg chg="add mod">
          <ac:chgData name="Hanne Marie Holst Harboe" userId="3744b3b0-e9bd-4e9c-bac2-809ff365716f" providerId="ADAL" clId="{F956BD7C-643C-4C5C-9691-1F9BDD8CC6C5}" dt="2023-01-25T12:42:32.855" v="982" actId="1076"/>
          <ac:spMkLst>
            <pc:docMk/>
            <pc:sldMk cId="500028068" sldId="1993"/>
            <ac:spMk id="52" creationId="{C19C0685-3342-4017-A15F-291793E40DCA}"/>
          </ac:spMkLst>
        </pc:spChg>
        <pc:spChg chg="add mod">
          <ac:chgData name="Hanne Marie Holst Harboe" userId="3744b3b0-e9bd-4e9c-bac2-809ff365716f" providerId="ADAL" clId="{F956BD7C-643C-4C5C-9691-1F9BDD8CC6C5}" dt="2023-01-25T12:38:30.712" v="941"/>
          <ac:spMkLst>
            <pc:docMk/>
            <pc:sldMk cId="500028068" sldId="1993"/>
            <ac:spMk id="53" creationId="{E41D2BBC-0F13-4E3C-9549-F9291778298E}"/>
          </ac:spMkLst>
        </pc:spChg>
        <pc:spChg chg="del">
          <ac:chgData name="Hanne Marie Holst Harboe" userId="3744b3b0-e9bd-4e9c-bac2-809ff365716f" providerId="ADAL" clId="{F956BD7C-643C-4C5C-9691-1F9BDD8CC6C5}" dt="2023-01-25T12:38:37.430" v="943" actId="478"/>
          <ac:spMkLst>
            <pc:docMk/>
            <pc:sldMk cId="500028068" sldId="1993"/>
            <ac:spMk id="55" creationId="{419717BE-CB32-4E3F-8CFD-4B1CD1CB9EEE}"/>
          </ac:spMkLst>
        </pc:spChg>
        <pc:spChg chg="del">
          <ac:chgData name="Hanne Marie Holst Harboe" userId="3744b3b0-e9bd-4e9c-bac2-809ff365716f" providerId="ADAL" clId="{F956BD7C-643C-4C5C-9691-1F9BDD8CC6C5}" dt="2023-01-25T12:38:41.545" v="948" actId="478"/>
          <ac:spMkLst>
            <pc:docMk/>
            <pc:sldMk cId="500028068" sldId="1993"/>
            <ac:spMk id="59" creationId="{31AA4063-3F0E-44C3-8766-677CC0C5B946}"/>
          </ac:spMkLst>
        </pc:spChg>
        <pc:spChg chg="del mod">
          <ac:chgData name="Hanne Marie Holst Harboe" userId="3744b3b0-e9bd-4e9c-bac2-809ff365716f" providerId="ADAL" clId="{F956BD7C-643C-4C5C-9691-1F9BDD8CC6C5}" dt="2023-01-25T12:38:39.703" v="946" actId="478"/>
          <ac:spMkLst>
            <pc:docMk/>
            <pc:sldMk cId="500028068" sldId="1993"/>
            <ac:spMk id="60" creationId="{C79D72ED-4BA7-4992-9D55-48BAA45B72AF}"/>
          </ac:spMkLst>
        </pc:spChg>
        <pc:spChg chg="del">
          <ac:chgData name="Hanne Marie Holst Harboe" userId="3744b3b0-e9bd-4e9c-bac2-809ff365716f" providerId="ADAL" clId="{F956BD7C-643C-4C5C-9691-1F9BDD8CC6C5}" dt="2023-01-25T12:38:47.655" v="953" actId="478"/>
          <ac:spMkLst>
            <pc:docMk/>
            <pc:sldMk cId="500028068" sldId="1993"/>
            <ac:spMk id="63" creationId="{1A3657CF-36BF-45B6-89B6-D8F7A5071DFD}"/>
          </ac:spMkLst>
        </pc:spChg>
        <pc:spChg chg="del">
          <ac:chgData name="Hanne Marie Holst Harboe" userId="3744b3b0-e9bd-4e9c-bac2-809ff365716f" providerId="ADAL" clId="{F956BD7C-643C-4C5C-9691-1F9BDD8CC6C5}" dt="2023-01-25T12:38:48.618" v="954" actId="478"/>
          <ac:spMkLst>
            <pc:docMk/>
            <pc:sldMk cId="500028068" sldId="1993"/>
            <ac:spMk id="64" creationId="{8C7FD7EA-5081-46A8-B085-2DD3EBA6430B}"/>
          </ac:spMkLst>
        </pc:spChg>
        <pc:spChg chg="add mod">
          <ac:chgData name="Hanne Marie Holst Harboe" userId="3744b3b0-e9bd-4e9c-bac2-809ff365716f" providerId="ADAL" clId="{F956BD7C-643C-4C5C-9691-1F9BDD8CC6C5}" dt="2023-01-25T12:38:30.712" v="941"/>
          <ac:spMkLst>
            <pc:docMk/>
            <pc:sldMk cId="500028068" sldId="1993"/>
            <ac:spMk id="66" creationId="{46F521B9-4911-4168-B9A5-847368C093C4}"/>
          </ac:spMkLst>
        </pc:spChg>
        <pc:spChg chg="add mod">
          <ac:chgData name="Hanne Marie Holst Harboe" userId="3744b3b0-e9bd-4e9c-bac2-809ff365716f" providerId="ADAL" clId="{F956BD7C-643C-4C5C-9691-1F9BDD8CC6C5}" dt="2023-01-25T12:38:30.712" v="941"/>
          <ac:spMkLst>
            <pc:docMk/>
            <pc:sldMk cId="500028068" sldId="1993"/>
            <ac:spMk id="67" creationId="{D971BCD1-1372-4F87-9D4D-495F2980387D}"/>
          </ac:spMkLst>
        </pc:spChg>
        <pc:spChg chg="add mod">
          <ac:chgData name="Hanne Marie Holst Harboe" userId="3744b3b0-e9bd-4e9c-bac2-809ff365716f" providerId="ADAL" clId="{F956BD7C-643C-4C5C-9691-1F9BDD8CC6C5}" dt="2023-01-25T12:38:30.712" v="941"/>
          <ac:spMkLst>
            <pc:docMk/>
            <pc:sldMk cId="500028068" sldId="1993"/>
            <ac:spMk id="69" creationId="{FB18D442-ABF4-43EB-93F9-46E0D460962F}"/>
          </ac:spMkLst>
        </pc:spChg>
        <pc:spChg chg="add mod">
          <ac:chgData name="Hanne Marie Holst Harboe" userId="3744b3b0-e9bd-4e9c-bac2-809ff365716f" providerId="ADAL" clId="{F956BD7C-643C-4C5C-9691-1F9BDD8CC6C5}" dt="2023-01-25T12:38:30.712" v="941"/>
          <ac:spMkLst>
            <pc:docMk/>
            <pc:sldMk cId="500028068" sldId="1993"/>
            <ac:spMk id="70" creationId="{934AA1FC-3A94-47A3-96D8-1DFA8BA7AA2F}"/>
          </ac:spMkLst>
        </pc:spChg>
        <pc:spChg chg="add mod">
          <ac:chgData name="Hanne Marie Holst Harboe" userId="3744b3b0-e9bd-4e9c-bac2-809ff365716f" providerId="ADAL" clId="{F956BD7C-643C-4C5C-9691-1F9BDD8CC6C5}" dt="2023-01-25T12:38:30.712" v="941"/>
          <ac:spMkLst>
            <pc:docMk/>
            <pc:sldMk cId="500028068" sldId="1993"/>
            <ac:spMk id="71" creationId="{3D522745-FB99-4692-A055-EAC73E75DA66}"/>
          </ac:spMkLst>
        </pc:spChg>
        <pc:spChg chg="add mod">
          <ac:chgData name="Hanne Marie Holst Harboe" userId="3744b3b0-e9bd-4e9c-bac2-809ff365716f" providerId="ADAL" clId="{F956BD7C-643C-4C5C-9691-1F9BDD8CC6C5}" dt="2023-01-25T12:42:37.432" v="983"/>
          <ac:spMkLst>
            <pc:docMk/>
            <pc:sldMk cId="500028068" sldId="1993"/>
            <ac:spMk id="72" creationId="{22567C34-AFB3-446A-B0AF-CDCC12CC843B}"/>
          </ac:spMkLst>
        </pc:spChg>
        <pc:spChg chg="del mod">
          <ac:chgData name="Hanne Marie Holst Harboe" userId="3744b3b0-e9bd-4e9c-bac2-809ff365716f" providerId="ADAL" clId="{F956BD7C-643C-4C5C-9691-1F9BDD8CC6C5}" dt="2023-01-25T12:38:43.560" v="950" actId="478"/>
          <ac:spMkLst>
            <pc:docMk/>
            <pc:sldMk cId="500028068" sldId="1993"/>
            <ac:spMk id="173" creationId="{75436E45-FC46-422A-9D69-8963386AF554}"/>
          </ac:spMkLst>
        </pc:spChg>
        <pc:cxnChg chg="add mod">
          <ac:chgData name="Hanne Marie Holst Harboe" userId="3744b3b0-e9bd-4e9c-bac2-809ff365716f" providerId="ADAL" clId="{F956BD7C-643C-4C5C-9691-1F9BDD8CC6C5}" dt="2023-01-25T12:38:30.712" v="941"/>
          <ac:cxnSpMkLst>
            <pc:docMk/>
            <pc:sldMk cId="500028068" sldId="1993"/>
            <ac:cxnSpMk id="35" creationId="{34C80655-24CA-4A1F-B5FF-7B8D7FF75A45}"/>
          </ac:cxnSpMkLst>
        </pc:cxnChg>
        <pc:cxnChg chg="add mod">
          <ac:chgData name="Hanne Marie Holst Harboe" userId="3744b3b0-e9bd-4e9c-bac2-809ff365716f" providerId="ADAL" clId="{F956BD7C-643C-4C5C-9691-1F9BDD8CC6C5}" dt="2023-01-25T12:38:30.712" v="941"/>
          <ac:cxnSpMkLst>
            <pc:docMk/>
            <pc:sldMk cId="500028068" sldId="1993"/>
            <ac:cxnSpMk id="38" creationId="{5F60D194-5C19-4C54-BFB4-C2F024C1DA7C}"/>
          </ac:cxnSpMkLst>
        </pc:cxnChg>
        <pc:cxnChg chg="add mod">
          <ac:chgData name="Hanne Marie Holst Harboe" userId="3744b3b0-e9bd-4e9c-bac2-809ff365716f" providerId="ADAL" clId="{F956BD7C-643C-4C5C-9691-1F9BDD8CC6C5}" dt="2023-01-25T12:38:30.712" v="941"/>
          <ac:cxnSpMkLst>
            <pc:docMk/>
            <pc:sldMk cId="500028068" sldId="1993"/>
            <ac:cxnSpMk id="54" creationId="{C17CD397-57D1-45F5-A97D-49207B476578}"/>
          </ac:cxnSpMkLst>
        </pc:cxnChg>
        <pc:cxnChg chg="add mod">
          <ac:chgData name="Hanne Marie Holst Harboe" userId="3744b3b0-e9bd-4e9c-bac2-809ff365716f" providerId="ADAL" clId="{F956BD7C-643C-4C5C-9691-1F9BDD8CC6C5}" dt="2023-01-25T12:38:30.712" v="941"/>
          <ac:cxnSpMkLst>
            <pc:docMk/>
            <pc:sldMk cId="500028068" sldId="1993"/>
            <ac:cxnSpMk id="61" creationId="{93C10D46-4E63-45EF-91B9-6C6043121B30}"/>
          </ac:cxnSpMkLst>
        </pc:cxnChg>
        <pc:cxnChg chg="add mod">
          <ac:chgData name="Hanne Marie Holst Harboe" userId="3744b3b0-e9bd-4e9c-bac2-809ff365716f" providerId="ADAL" clId="{F956BD7C-643C-4C5C-9691-1F9BDD8CC6C5}" dt="2023-01-25T12:38:30.712" v="941"/>
          <ac:cxnSpMkLst>
            <pc:docMk/>
            <pc:sldMk cId="500028068" sldId="1993"/>
            <ac:cxnSpMk id="62" creationId="{55A9BC3E-10C5-4157-887A-C69FDC335E32}"/>
          </ac:cxnSpMkLst>
        </pc:cxnChg>
        <pc:cxnChg chg="add mod">
          <ac:chgData name="Hanne Marie Holst Harboe" userId="3744b3b0-e9bd-4e9c-bac2-809ff365716f" providerId="ADAL" clId="{F956BD7C-643C-4C5C-9691-1F9BDD8CC6C5}" dt="2023-01-25T12:38:30.712" v="941"/>
          <ac:cxnSpMkLst>
            <pc:docMk/>
            <pc:sldMk cId="500028068" sldId="1993"/>
            <ac:cxnSpMk id="65" creationId="{65420435-6A73-49F2-82A5-BD8C558F720F}"/>
          </ac:cxnSpMkLst>
        </pc:cxnChg>
        <pc:cxnChg chg="add mod">
          <ac:chgData name="Hanne Marie Holst Harboe" userId="3744b3b0-e9bd-4e9c-bac2-809ff365716f" providerId="ADAL" clId="{F956BD7C-643C-4C5C-9691-1F9BDD8CC6C5}" dt="2023-01-25T12:38:30.712" v="941"/>
          <ac:cxnSpMkLst>
            <pc:docMk/>
            <pc:sldMk cId="500028068" sldId="1993"/>
            <ac:cxnSpMk id="68" creationId="{F14A927B-3535-4CE8-B6F9-5B50013CFC5D}"/>
          </ac:cxnSpMkLst>
        </pc:cxnChg>
        <pc:cxnChg chg="del">
          <ac:chgData name="Hanne Marie Holst Harboe" userId="3744b3b0-e9bd-4e9c-bac2-809ff365716f" providerId="ADAL" clId="{F956BD7C-643C-4C5C-9691-1F9BDD8CC6C5}" dt="2023-01-25T12:38:46.316" v="952" actId="478"/>
          <ac:cxnSpMkLst>
            <pc:docMk/>
            <pc:sldMk cId="500028068" sldId="1993"/>
            <ac:cxnSpMk id="171" creationId="{66EEAD2C-87A2-4211-9A9A-7C9CC6D012BF}"/>
          </ac:cxnSpMkLst>
        </pc:cxnChg>
      </pc:sldChg>
      <pc:sldChg chg="addSp delSp modSp add mod addCm">
        <pc:chgData name="Hanne Marie Holst Harboe" userId="3744b3b0-e9bd-4e9c-bac2-809ff365716f" providerId="ADAL" clId="{F956BD7C-643C-4C5C-9691-1F9BDD8CC6C5}" dt="2023-01-25T20:32:24.616" v="4314" actId="20577"/>
        <pc:sldMkLst>
          <pc:docMk/>
          <pc:sldMk cId="1118208253" sldId="1993"/>
        </pc:sldMkLst>
        <pc:spChg chg="del">
          <ac:chgData name="Hanne Marie Holst Harboe" userId="3744b3b0-e9bd-4e9c-bac2-809ff365716f" providerId="ADAL" clId="{F956BD7C-643C-4C5C-9691-1F9BDD8CC6C5}" dt="2023-01-25T13:43:40.326" v="1863" actId="478"/>
          <ac:spMkLst>
            <pc:docMk/>
            <pc:sldMk cId="1118208253" sldId="1993"/>
            <ac:spMk id="13" creationId="{3350969E-2532-4C4A-A918-EB6B1BCEFFA6}"/>
          </ac:spMkLst>
        </pc:spChg>
        <pc:spChg chg="del">
          <ac:chgData name="Hanne Marie Holst Harboe" userId="3744b3b0-e9bd-4e9c-bac2-809ff365716f" providerId="ADAL" clId="{F956BD7C-643C-4C5C-9691-1F9BDD8CC6C5}" dt="2023-01-25T13:43:41.036" v="1864" actId="478"/>
          <ac:spMkLst>
            <pc:docMk/>
            <pc:sldMk cId="1118208253" sldId="1993"/>
            <ac:spMk id="16" creationId="{58150B2C-2439-4337-B069-8B321F50120E}"/>
          </ac:spMkLst>
        </pc:spChg>
        <pc:spChg chg="mod">
          <ac:chgData name="Hanne Marie Holst Harboe" userId="3744b3b0-e9bd-4e9c-bac2-809ff365716f" providerId="ADAL" clId="{F956BD7C-643C-4C5C-9691-1F9BDD8CC6C5}" dt="2023-01-25T13:57:32.059" v="3241" actId="403"/>
          <ac:spMkLst>
            <pc:docMk/>
            <pc:sldMk cId="1118208253" sldId="1993"/>
            <ac:spMk id="18" creationId="{CE39AA97-4D19-424A-B2C7-FF4C20C02189}"/>
          </ac:spMkLst>
        </pc:spChg>
        <pc:spChg chg="mod">
          <ac:chgData name="Hanne Marie Holst Harboe" userId="3744b3b0-e9bd-4e9c-bac2-809ff365716f" providerId="ADAL" clId="{F956BD7C-643C-4C5C-9691-1F9BDD8CC6C5}" dt="2023-01-25T13:43:53.584" v="1868" actId="14100"/>
          <ac:spMkLst>
            <pc:docMk/>
            <pc:sldMk cId="1118208253" sldId="1993"/>
            <ac:spMk id="19" creationId="{810ACAF7-694B-47CA-AE1A-F1D1D2FEA95A}"/>
          </ac:spMkLst>
        </pc:spChg>
        <pc:spChg chg="mod">
          <ac:chgData name="Hanne Marie Holst Harboe" userId="3744b3b0-e9bd-4e9c-bac2-809ff365716f" providerId="ADAL" clId="{F956BD7C-643C-4C5C-9691-1F9BDD8CC6C5}" dt="2023-01-25T20:12:25.245" v="3947" actId="108"/>
          <ac:spMkLst>
            <pc:docMk/>
            <pc:sldMk cId="1118208253" sldId="1993"/>
            <ac:spMk id="20" creationId="{1923FD27-E9DC-40D5-A4B1-EE2E259978AF}"/>
          </ac:spMkLst>
        </pc:spChg>
        <pc:spChg chg="del mod">
          <ac:chgData name="Hanne Marie Holst Harboe" userId="3744b3b0-e9bd-4e9c-bac2-809ff365716f" providerId="ADAL" clId="{F956BD7C-643C-4C5C-9691-1F9BDD8CC6C5}" dt="2023-01-25T13:43:42.607" v="1866" actId="478"/>
          <ac:spMkLst>
            <pc:docMk/>
            <pc:sldMk cId="1118208253" sldId="1993"/>
            <ac:spMk id="22" creationId="{EF106EA0-5B80-4410-87D5-4B85EE6FCBD8}"/>
          </ac:spMkLst>
        </pc:spChg>
        <pc:spChg chg="mod">
          <ac:chgData name="Hanne Marie Holst Harboe" userId="3744b3b0-e9bd-4e9c-bac2-809ff365716f" providerId="ADAL" clId="{F956BD7C-643C-4C5C-9691-1F9BDD8CC6C5}" dt="2023-01-25T13:57:32.630" v="3242" actId="403"/>
          <ac:spMkLst>
            <pc:docMk/>
            <pc:sldMk cId="1118208253" sldId="1993"/>
            <ac:spMk id="23" creationId="{92660346-9379-4E5E-A504-88A46E8336B1}"/>
          </ac:spMkLst>
        </pc:spChg>
        <pc:spChg chg="mod">
          <ac:chgData name="Hanne Marie Holst Harboe" userId="3744b3b0-e9bd-4e9c-bac2-809ff365716f" providerId="ADAL" clId="{F956BD7C-643C-4C5C-9691-1F9BDD8CC6C5}" dt="2023-01-25T13:43:56.846" v="1869" actId="14100"/>
          <ac:spMkLst>
            <pc:docMk/>
            <pc:sldMk cId="1118208253" sldId="1993"/>
            <ac:spMk id="24" creationId="{467FA636-B83B-4BCF-86A3-5944D6CA1E96}"/>
          </ac:spMkLst>
        </pc:spChg>
        <pc:spChg chg="mod">
          <ac:chgData name="Hanne Marie Holst Harboe" userId="3744b3b0-e9bd-4e9c-bac2-809ff365716f" providerId="ADAL" clId="{F956BD7C-643C-4C5C-9691-1F9BDD8CC6C5}" dt="2023-01-25T20:32:24.616" v="4314" actId="20577"/>
          <ac:spMkLst>
            <pc:docMk/>
            <pc:sldMk cId="1118208253" sldId="1993"/>
            <ac:spMk id="25" creationId="{0A5239A4-21D4-4585-86F0-5205BDA57DA2}"/>
          </ac:spMkLst>
        </pc:spChg>
        <pc:grpChg chg="add mod">
          <ac:chgData name="Hanne Marie Holst Harboe" userId="3744b3b0-e9bd-4e9c-bac2-809ff365716f" providerId="ADAL" clId="{F956BD7C-643C-4C5C-9691-1F9BDD8CC6C5}" dt="2023-01-25T13:43:29.844" v="1861" actId="14100"/>
          <ac:grpSpMkLst>
            <pc:docMk/>
            <pc:sldMk cId="1118208253" sldId="1993"/>
            <ac:grpSpMk id="2" creationId="{53491543-F078-4100-94E4-AEDB0DF75B8C}"/>
          </ac:grpSpMkLst>
        </pc:grpChg>
        <pc:grpChg chg="add mod">
          <ac:chgData name="Hanne Marie Holst Harboe" userId="3744b3b0-e9bd-4e9c-bac2-809ff365716f" providerId="ADAL" clId="{F956BD7C-643C-4C5C-9691-1F9BDD8CC6C5}" dt="2023-01-25T13:43:49.937" v="1867" actId="164"/>
          <ac:grpSpMkLst>
            <pc:docMk/>
            <pc:sldMk cId="1118208253" sldId="1993"/>
            <ac:grpSpMk id="3" creationId="{0819B87C-64E7-4384-B380-6002AC9F657E}"/>
          </ac:grpSpMkLst>
        </pc:gr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61ADCD-0986-466F-BCF4-F1403744020F}"/>
              </a:ext>
            </a:extLst>
          </p:cNvPr>
          <p:cNvSpPr>
            <a:spLocks noGrp="1"/>
          </p:cNvSpPr>
          <p:nvPr>
            <p:ph type="hdr" sz="quarter"/>
          </p:nvPr>
        </p:nvSpPr>
        <p:spPr>
          <a:xfrm>
            <a:off x="0" y="0"/>
            <a:ext cx="2889938" cy="498056"/>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6FAD45B1-DDA3-4823-B57F-398ED6D7CE50}"/>
              </a:ext>
            </a:extLst>
          </p:cNvPr>
          <p:cNvSpPr>
            <a:spLocks noGrp="1"/>
          </p:cNvSpPr>
          <p:nvPr>
            <p:ph type="dt" sz="quarter" idx="1"/>
          </p:nvPr>
        </p:nvSpPr>
        <p:spPr>
          <a:xfrm>
            <a:off x="3777607" y="0"/>
            <a:ext cx="2889938" cy="498056"/>
          </a:xfrm>
          <a:prstGeom prst="rect">
            <a:avLst/>
          </a:prstGeom>
        </p:spPr>
        <p:txBody>
          <a:bodyPr vert="horz" lIns="91440" tIns="45720" rIns="91440" bIns="45720" rtlCol="0"/>
          <a:lstStyle>
            <a:lvl1pPr algn="r">
              <a:defRPr sz="1200"/>
            </a:lvl1pPr>
          </a:lstStyle>
          <a:p>
            <a:fld id="{A942B987-EC31-4746-B4E6-062CD7AA3A1A}" type="datetime1">
              <a:rPr lang="en-GB" smtClean="0"/>
              <a:t>03/02/2023</a:t>
            </a:fld>
            <a:endParaRPr lang="en-GB"/>
          </a:p>
        </p:txBody>
      </p:sp>
      <p:sp>
        <p:nvSpPr>
          <p:cNvPr id="4" name="Slide Number Placeholder 3">
            <a:extLst>
              <a:ext uri="{FF2B5EF4-FFF2-40B4-BE49-F238E27FC236}">
                <a16:creationId xmlns:a16="http://schemas.microsoft.com/office/drawing/2014/main" id="{7A3B3C53-DC75-4A5C-81E7-5D7CB96E1298}"/>
              </a:ext>
            </a:extLst>
          </p:cNvPr>
          <p:cNvSpPr>
            <a:spLocks noGrp="1"/>
          </p:cNvSpPr>
          <p:nvPr>
            <p:ph type="sldNum" sz="quarter" idx="3"/>
          </p:nvPr>
        </p:nvSpPr>
        <p:spPr>
          <a:xfrm>
            <a:off x="3777607" y="9428584"/>
            <a:ext cx="2889938" cy="498055"/>
          </a:xfrm>
          <a:prstGeom prst="rect">
            <a:avLst/>
          </a:prstGeom>
        </p:spPr>
        <p:txBody>
          <a:bodyPr vert="horz" lIns="91440" tIns="45720" rIns="91440" bIns="45720" rtlCol="0" anchor="b"/>
          <a:lstStyle>
            <a:lvl1pPr algn="r">
              <a:defRPr sz="1200"/>
            </a:lvl1pPr>
          </a:lstStyle>
          <a:p>
            <a:fld id="{C5BF6EE6-6533-46A0-A8FB-DBC252423243}" type="slidenum">
              <a:rPr lang="en-GB" smtClean="0"/>
              <a:t>‹#›</a:t>
            </a:fld>
            <a:endParaRPr lang="en-GB"/>
          </a:p>
        </p:txBody>
      </p:sp>
      <p:sp>
        <p:nvSpPr>
          <p:cNvPr id="5" name="Footer Placeholder 4">
            <a:extLst>
              <a:ext uri="{FF2B5EF4-FFF2-40B4-BE49-F238E27FC236}">
                <a16:creationId xmlns:a16="http://schemas.microsoft.com/office/drawing/2014/main" id="{9891B013-C79C-4BAB-9591-CE1E1BF2A98D}"/>
              </a:ext>
            </a:extLst>
          </p:cNvPr>
          <p:cNvSpPr>
            <a:spLocks noGrp="1"/>
          </p:cNvSpPr>
          <p:nvPr>
            <p:ph type="ftr" sz="quarter" idx="2"/>
          </p:nvPr>
        </p:nvSpPr>
        <p:spPr>
          <a:xfrm>
            <a:off x="0" y="9428584"/>
            <a:ext cx="2889938" cy="498055"/>
          </a:xfrm>
          <a:prstGeom prst="rect">
            <a:avLst/>
          </a:prstGeom>
        </p:spPr>
        <p:txBody>
          <a:bodyPr vert="horz" lIns="91440" tIns="45720" rIns="91440" bIns="45720" rtlCol="0" anchor="b"/>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7838611-CB23-4A11-B466-01829FB3E64B}"/>
              </a:ext>
            </a:extLst>
          </p:cNvPr>
          <p:cNvSpPr>
            <a:spLocks noGrp="1"/>
          </p:cNvSpPr>
          <p:nvPr>
            <p:ph type="sldNum" sz="quarter" idx="5"/>
          </p:nvPr>
        </p:nvSpPr>
        <p:spPr>
          <a:xfrm>
            <a:off x="3777607" y="9428584"/>
            <a:ext cx="2889938" cy="498055"/>
          </a:xfrm>
          <a:prstGeom prst="rect">
            <a:avLst/>
          </a:prstGeom>
        </p:spPr>
        <p:txBody>
          <a:bodyPr vert="horz" lIns="91440" tIns="45720" rIns="91440" bIns="45720" rtlCol="0" anchor="b"/>
          <a:lstStyle>
            <a:lvl1pPr algn="r" rtl="0">
              <a:defRPr sz="1200"/>
            </a:lvl1pPr>
          </a:lstStyle>
          <a:p>
            <a:fld id="{1B1D025B-ACD2-45C1-B156-1DDB470CE319}" type="slidenum">
              <a:rPr lang="da-DK" smtClean="0"/>
              <a:pPr/>
              <a:t>‹#›</a:t>
            </a:fld>
            <a:endParaRPr lang="da-DK"/>
          </a:p>
        </p:txBody>
      </p:sp>
      <p:sp>
        <p:nvSpPr>
          <p:cNvPr id="3" name="Notes Placeholder 2">
            <a:extLst>
              <a:ext uri="{FF2B5EF4-FFF2-40B4-BE49-F238E27FC236}">
                <a16:creationId xmlns:a16="http://schemas.microsoft.com/office/drawing/2014/main" id="{05F8BE06-C1AD-4FF4-9212-678516BAB917}"/>
              </a:ext>
            </a:extLst>
          </p:cNvPr>
          <p:cNvSpPr>
            <a:spLocks noGrp="1"/>
          </p:cNvSpPr>
          <p:nvPr>
            <p:ph type="body" sz="quarter" idx="3"/>
          </p:nvPr>
        </p:nvSpPr>
        <p:spPr>
          <a:xfrm>
            <a:off x="666909" y="4777195"/>
            <a:ext cx="5335270" cy="3908614"/>
          </a:xfrm>
          <a:prstGeom prst="rect">
            <a:avLst/>
          </a:prstGeom>
        </p:spPr>
        <p:txBody>
          <a:bodyPr vert="horz" lIns="91440" tIns="45720" rIns="91440" bIns="45720" rtlCol="0"/>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4" name="Date Placeholder 3">
            <a:extLst>
              <a:ext uri="{FF2B5EF4-FFF2-40B4-BE49-F238E27FC236}">
                <a16:creationId xmlns:a16="http://schemas.microsoft.com/office/drawing/2014/main" id="{8D410225-CB48-4A2A-9739-463AD2DBC317}"/>
              </a:ext>
            </a:extLst>
          </p:cNvPr>
          <p:cNvSpPr>
            <a:spLocks noGrp="1"/>
          </p:cNvSpPr>
          <p:nvPr>
            <p:ph type="dt" idx="1"/>
          </p:nvPr>
        </p:nvSpPr>
        <p:spPr>
          <a:xfrm>
            <a:off x="3777607" y="0"/>
            <a:ext cx="2889938" cy="498056"/>
          </a:xfrm>
          <a:prstGeom prst="rect">
            <a:avLst/>
          </a:prstGeom>
        </p:spPr>
        <p:txBody>
          <a:bodyPr vert="horz" lIns="91440" tIns="45720" rIns="91440" bIns="45720" rtlCol="0"/>
          <a:lstStyle>
            <a:lvl1pPr algn="r" rtl="0">
              <a:defRPr sz="1200"/>
            </a:lvl1pPr>
          </a:lstStyle>
          <a:p>
            <a:fld id="{D325BBF7-0B0C-48D4-ABAA-EF360EF241C5}" type="datetime1">
              <a:rPr lang="da-DK" smtClean="0"/>
              <a:pPr/>
              <a:t>03-02-2023</a:t>
            </a:fld>
            <a:endParaRPr lang="da-DK"/>
          </a:p>
        </p:txBody>
      </p:sp>
      <p:sp>
        <p:nvSpPr>
          <p:cNvPr id="5" name="Header Placeholder 4">
            <a:extLst>
              <a:ext uri="{FF2B5EF4-FFF2-40B4-BE49-F238E27FC236}">
                <a16:creationId xmlns:a16="http://schemas.microsoft.com/office/drawing/2014/main" id="{668863D3-1D0C-412C-99BB-873840116AC5}"/>
              </a:ext>
            </a:extLst>
          </p:cNvPr>
          <p:cNvSpPr>
            <a:spLocks noGrp="1"/>
          </p:cNvSpPr>
          <p:nvPr>
            <p:ph type="hdr" sz="quarter"/>
          </p:nvPr>
        </p:nvSpPr>
        <p:spPr>
          <a:xfrm>
            <a:off x="0" y="0"/>
            <a:ext cx="2889938" cy="498056"/>
          </a:xfrm>
          <a:prstGeom prst="rect">
            <a:avLst/>
          </a:prstGeom>
        </p:spPr>
        <p:txBody>
          <a:bodyPr vert="horz" lIns="91440" tIns="45720" rIns="91440" bIns="45720" rtlCol="0"/>
          <a:lstStyle>
            <a:lvl1pPr algn="l" rtl="0">
              <a:defRPr sz="1200"/>
            </a:lvl1pPr>
          </a:lstStyle>
          <a:p>
            <a:endParaRPr lang="da-DK"/>
          </a:p>
        </p:txBody>
      </p:sp>
      <p:sp>
        <p:nvSpPr>
          <p:cNvPr id="6" name="Slide Image Placeholder 5">
            <a:extLst>
              <a:ext uri="{FF2B5EF4-FFF2-40B4-BE49-F238E27FC236}">
                <a16:creationId xmlns:a16="http://schemas.microsoft.com/office/drawing/2014/main" id="{5E44B7E2-ED93-42BE-81A6-FE398D91C198}"/>
              </a:ext>
            </a:extLst>
          </p:cNvPr>
          <p:cNvSpPr>
            <a:spLocks noGrp="1" noRot="1" noChangeAspect="1"/>
          </p:cNvSpPr>
          <p:nvPr>
            <p:ph type="sldImg" idx="2"/>
          </p:nvPr>
        </p:nvSpPr>
        <p:spPr>
          <a:xfrm>
            <a:off x="357188" y="1239838"/>
            <a:ext cx="5954712" cy="3351212"/>
          </a:xfrm>
          <a:prstGeom prst="rect">
            <a:avLst/>
          </a:prstGeom>
          <a:noFill/>
          <a:ln w="12700">
            <a:solidFill>
              <a:prstClr val="black"/>
            </a:solidFill>
          </a:ln>
        </p:spPr>
        <p:txBody>
          <a:bodyPr vert="horz" lIns="91440" tIns="45720" rIns="91440" bIns="45720" rtlCol="0" anchor="ctr"/>
          <a:lstStyle/>
          <a:p>
            <a:endParaRPr lang="en-GB"/>
          </a:p>
        </p:txBody>
      </p:sp>
      <p:sp>
        <p:nvSpPr>
          <p:cNvPr id="7" name="Footer Placeholder 6">
            <a:extLst>
              <a:ext uri="{FF2B5EF4-FFF2-40B4-BE49-F238E27FC236}">
                <a16:creationId xmlns:a16="http://schemas.microsoft.com/office/drawing/2014/main" id="{75691570-C65F-4C66-9CB2-8798BF7E897F}"/>
              </a:ext>
            </a:extLst>
          </p:cNvPr>
          <p:cNvSpPr>
            <a:spLocks noGrp="1"/>
          </p:cNvSpPr>
          <p:nvPr>
            <p:ph type="ftr" sz="quarter" idx="4"/>
          </p:nvPr>
        </p:nvSpPr>
        <p:spPr>
          <a:xfrm>
            <a:off x="0" y="9428584"/>
            <a:ext cx="2889938" cy="498055"/>
          </a:xfrm>
          <a:prstGeom prst="rect">
            <a:avLst/>
          </a:prstGeom>
        </p:spPr>
        <p:txBody>
          <a:bodyPr vert="horz" lIns="91440" tIns="45720" rIns="91440" bIns="45720" rtlCol="0" anchor="b"/>
          <a:lstStyle>
            <a:lvl1pPr algn="l" rtl="0">
              <a:defRPr sz="1200"/>
            </a:lvl1pPr>
          </a:lstStyle>
          <a:p>
            <a:endParaRPr lang="da-DK"/>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p:notesStyle>
    <a:lvl1pPr marL="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1pPr>
    <a:lvl2pPr marL="18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36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54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72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2</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3-02-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541754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en-GB" smtClean="0"/>
              <a:t>7</a:t>
            </a:fld>
            <a:endParaRPr lang="en-GB"/>
          </a:p>
        </p:txBody>
      </p:sp>
      <p:sp>
        <p:nvSpPr>
          <p:cNvPr id="5" name="Date Placeholder 4"/>
          <p:cNvSpPr>
            <a:spLocks noGrp="1"/>
          </p:cNvSpPr>
          <p:nvPr>
            <p:ph type="dt" idx="1"/>
          </p:nvPr>
        </p:nvSpPr>
        <p:spPr/>
        <p:txBody>
          <a:bodyPr/>
          <a:lstStyle/>
          <a:p>
            <a:fld id="{D325BBF7-0B0C-48D4-ABAA-EF360EF241C5}" type="datetime1">
              <a:rPr lang="en-GB" smtClean="0"/>
              <a:t>03/02/2023</a:t>
            </a:fld>
            <a:endParaRPr lang="en-GB"/>
          </a:p>
        </p:txBody>
      </p:sp>
      <p:sp>
        <p:nvSpPr>
          <p:cNvPr id="6" name="Header Placeholder 5"/>
          <p:cNvSpPr>
            <a:spLocks noGrp="1"/>
          </p:cNvSpPr>
          <p:nvPr>
            <p:ph type="hdr" sz="quarter"/>
          </p:nvPr>
        </p:nvSpPr>
        <p:spPr/>
        <p:txBody>
          <a:bodyPr/>
          <a:lstStyle/>
          <a:p>
            <a:endParaRPr lang="en-GB"/>
          </a:p>
        </p:txBody>
      </p:sp>
      <p:sp>
        <p:nvSpPr>
          <p:cNvPr id="7" name="Footer Placeholder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0656867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12</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3-02-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7111141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2.xml"/><Relationship Id="rId1" Type="http://schemas.openxmlformats.org/officeDocument/2006/relationships/tags" Target="../tags/tag103.xml"/><Relationship Id="rId4" Type="http://schemas.openxmlformats.org/officeDocument/2006/relationships/image" Target="../media/image2.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2.xml"/><Relationship Id="rId1" Type="http://schemas.openxmlformats.org/officeDocument/2006/relationships/tags" Target="../tags/tag104.xml"/><Relationship Id="rId4" Type="http://schemas.openxmlformats.org/officeDocument/2006/relationships/image" Target="../media/image2.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2.xml"/><Relationship Id="rId1" Type="http://schemas.openxmlformats.org/officeDocument/2006/relationships/tags" Target="../tags/tag105.xml"/><Relationship Id="rId4" Type="http://schemas.openxmlformats.org/officeDocument/2006/relationships/image" Target="../media/image2.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2.xml"/><Relationship Id="rId1" Type="http://schemas.openxmlformats.org/officeDocument/2006/relationships/tags" Target="../tags/tag106.xml"/><Relationship Id="rId4" Type="http://schemas.openxmlformats.org/officeDocument/2006/relationships/image" Target="../media/image2.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2.xml"/><Relationship Id="rId1" Type="http://schemas.openxmlformats.org/officeDocument/2006/relationships/tags" Target="../tags/tag107.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2.xml"/><Relationship Id="rId1" Type="http://schemas.openxmlformats.org/officeDocument/2006/relationships/tags" Target="../tags/tag108.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2.xml"/><Relationship Id="rId1" Type="http://schemas.openxmlformats.org/officeDocument/2006/relationships/tags" Target="../tags/tag109.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2.xml"/><Relationship Id="rId1" Type="http://schemas.openxmlformats.org/officeDocument/2006/relationships/tags" Target="../tags/tag110.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2.xml"/><Relationship Id="rId1" Type="http://schemas.openxmlformats.org/officeDocument/2006/relationships/tags" Target="../tags/tag11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oleObject" Target="../embeddings/oleObject111.bin"/><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slideMaster" Target="../slideMasters/slideMaster2.xml"/><Relationship Id="rId1" Type="http://schemas.openxmlformats.org/officeDocument/2006/relationships/tags" Target="../tags/tag112.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image" Target="../media/image2.emf"/><Relationship Id="rId9" Type="http://schemas.openxmlformats.org/officeDocument/2006/relationships/image" Target="../media/image12.png"/><Relationship Id="rId14" Type="http://schemas.openxmlformats.org/officeDocument/2006/relationships/image" Target="../media/image17.png"/></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2.xml"/><Relationship Id="rId1" Type="http://schemas.openxmlformats.org/officeDocument/2006/relationships/tags" Target="../tags/tag113.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2.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2.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2.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1.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2.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3.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5.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oleObject" Target="../embeddings/oleObject55.bin"/><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56.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image" Target="../media/image2.emf"/><Relationship Id="rId9" Type="http://schemas.openxmlformats.org/officeDocument/2006/relationships/image" Target="../media/image12.png"/><Relationship Id="rId14" Type="http://schemas.openxmlformats.org/officeDocument/2006/relationships/image" Target="../media/image17.png"/></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59.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0.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1.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2.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3.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65.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66.xml"/><Relationship Id="rId4" Type="http://schemas.openxmlformats.org/officeDocument/2006/relationships/image" Target="../media/image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2.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68.xml"/><Relationship Id="rId4" Type="http://schemas.openxmlformats.org/officeDocument/2006/relationships/image" Target="../media/image2.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2.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0.xml"/><Relationship Id="rId4" Type="http://schemas.openxmlformats.org/officeDocument/2006/relationships/image" Target="../media/image2.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1.xml"/><Relationship Id="rId4" Type="http://schemas.openxmlformats.org/officeDocument/2006/relationships/image" Target="../media/image2.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2.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74.xml"/><Relationship Id="rId4" Type="http://schemas.openxmlformats.org/officeDocument/2006/relationships/image" Target="../media/image2.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75.xml"/><Relationship Id="rId4" Type="http://schemas.openxmlformats.org/officeDocument/2006/relationships/image" Target="../media/image2.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2.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2.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78.xml"/><Relationship Id="rId4" Type="http://schemas.openxmlformats.org/officeDocument/2006/relationships/image" Target="../media/image2.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79.xml"/><Relationship Id="rId4" Type="http://schemas.openxmlformats.org/officeDocument/2006/relationships/image" Target="../media/image2.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0.xml"/><Relationship Id="rId4" Type="http://schemas.openxmlformats.org/officeDocument/2006/relationships/image" Target="../media/image2.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1.xml"/><Relationship Id="rId4" Type="http://schemas.openxmlformats.org/officeDocument/2006/relationships/image" Target="../media/image2.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2.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2.xml"/><Relationship Id="rId1" Type="http://schemas.openxmlformats.org/officeDocument/2006/relationships/tags" Target="../tags/tag83.xml"/><Relationship Id="rId4" Type="http://schemas.openxmlformats.org/officeDocument/2006/relationships/image" Target="../media/image2.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84.xml"/><Relationship Id="rId4" Type="http://schemas.openxmlformats.org/officeDocument/2006/relationships/image" Target="../media/image2.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85.xml"/><Relationship Id="rId4" Type="http://schemas.openxmlformats.org/officeDocument/2006/relationships/image" Target="../media/image2.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2.xml"/><Relationship Id="rId1" Type="http://schemas.openxmlformats.org/officeDocument/2006/relationships/tags" Target="../tags/tag86.xml"/><Relationship Id="rId4" Type="http://schemas.openxmlformats.org/officeDocument/2006/relationships/image" Target="../media/image2.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2.xml"/><Relationship Id="rId1" Type="http://schemas.openxmlformats.org/officeDocument/2006/relationships/tags" Target="../tags/tag87.xml"/><Relationship Id="rId4" Type="http://schemas.openxmlformats.org/officeDocument/2006/relationships/image" Target="../media/image2.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2.xml"/><Relationship Id="rId1" Type="http://schemas.openxmlformats.org/officeDocument/2006/relationships/tags" Target="../tags/tag88.xml"/><Relationship Id="rId4" Type="http://schemas.openxmlformats.org/officeDocument/2006/relationships/image" Target="../media/image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2.xml"/><Relationship Id="rId1" Type="http://schemas.openxmlformats.org/officeDocument/2006/relationships/tags" Target="../tags/tag89.xml"/><Relationship Id="rId4" Type="http://schemas.openxmlformats.org/officeDocument/2006/relationships/image" Target="../media/image2.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2.xml"/><Relationship Id="rId1" Type="http://schemas.openxmlformats.org/officeDocument/2006/relationships/tags" Target="../tags/tag90.xml"/><Relationship Id="rId4" Type="http://schemas.openxmlformats.org/officeDocument/2006/relationships/image" Target="../media/image2.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2.xml"/><Relationship Id="rId1" Type="http://schemas.openxmlformats.org/officeDocument/2006/relationships/tags" Target="../tags/tag91.xml"/><Relationship Id="rId4" Type="http://schemas.openxmlformats.org/officeDocument/2006/relationships/image" Target="../media/image2.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2.xml"/><Relationship Id="rId1" Type="http://schemas.openxmlformats.org/officeDocument/2006/relationships/tags" Target="../tags/tag92.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2.xml"/><Relationship Id="rId1" Type="http://schemas.openxmlformats.org/officeDocument/2006/relationships/tags" Target="../tags/tag93.xml"/><Relationship Id="rId4" Type="http://schemas.openxmlformats.org/officeDocument/2006/relationships/image" Target="../media/image2.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2.xml"/><Relationship Id="rId1" Type="http://schemas.openxmlformats.org/officeDocument/2006/relationships/tags" Target="../tags/tag94.xml"/><Relationship Id="rId4" Type="http://schemas.openxmlformats.org/officeDocument/2006/relationships/image" Target="../media/image2.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2.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2.xml"/><Relationship Id="rId1" Type="http://schemas.openxmlformats.org/officeDocument/2006/relationships/tags" Target="../tags/tag96.xml"/><Relationship Id="rId4" Type="http://schemas.openxmlformats.org/officeDocument/2006/relationships/image" Target="../media/image2.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2.xml"/><Relationship Id="rId1" Type="http://schemas.openxmlformats.org/officeDocument/2006/relationships/tags" Target="../tags/tag97.xml"/><Relationship Id="rId4" Type="http://schemas.openxmlformats.org/officeDocument/2006/relationships/image" Target="../media/image2.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2.xml"/><Relationship Id="rId1" Type="http://schemas.openxmlformats.org/officeDocument/2006/relationships/tags" Target="../tags/tag98.xml"/><Relationship Id="rId4" Type="http://schemas.openxmlformats.org/officeDocument/2006/relationships/image" Target="../media/image2.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2.xml"/><Relationship Id="rId1" Type="http://schemas.openxmlformats.org/officeDocument/2006/relationships/tags" Target="../tags/tag99.xml"/><Relationship Id="rId4" Type="http://schemas.openxmlformats.org/officeDocument/2006/relationships/image" Target="../media/image2.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2.xml"/><Relationship Id="rId1" Type="http://schemas.openxmlformats.org/officeDocument/2006/relationships/tags" Target="../tags/tag100.xml"/><Relationship Id="rId4" Type="http://schemas.openxmlformats.org/officeDocument/2006/relationships/image" Target="../media/image2.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2.xml"/><Relationship Id="rId1" Type="http://schemas.openxmlformats.org/officeDocument/2006/relationships/tags" Target="../tags/tag101.xml"/><Relationship Id="rId4" Type="http://schemas.openxmlformats.org/officeDocument/2006/relationships/image" Target="../media/image2.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2.xml"/><Relationship Id="rId1" Type="http://schemas.openxmlformats.org/officeDocument/2006/relationships/tags" Target="../tags/tag102.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6D48E49-C548-4C40-B4E5-416753470B56}"/>
              </a:ext>
            </a:extLst>
          </p:cNvPr>
          <p:cNvGraphicFramePr>
            <a:graphicFrameLocks noChangeAspect="1"/>
          </p:cNvGraphicFramePr>
          <p:nvPr userDrawn="1">
            <p:custDataLst>
              <p:tags r:id="rId1"/>
            </p:custDataLst>
            <p:extLst>
              <p:ext uri="{D42A27DB-BD31-4B8C-83A1-F6EECF244321}">
                <p14:modId xmlns:p14="http://schemas.microsoft.com/office/powerpoint/2010/main" val="1773381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6D48E49-C548-4C40-B4E5-416753470B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D1903C8B-6A03-40C4-AD50-AACDEC5FDA0C}" type="datetime1">
              <a:rPr lang="da-DK" smtClean="0"/>
              <a:pPr/>
              <a:t>03-02-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vert="horz" anchor="t" anchorCtr="0"/>
          <a:lstStyle>
            <a:lvl1pPr algn="l" rtl="0">
              <a:lnSpc>
                <a:spcPct val="91000"/>
              </a:lnSpc>
              <a:defRPr sz="3600">
                <a:solidFill>
                  <a:schemeClr val="bg1"/>
                </a:solidFill>
              </a:defRPr>
            </a:lvl1pPr>
          </a:lstStyle>
          <a:p>
            <a:r>
              <a:rPr lang="da-DK"/>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4227111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rgbClr val="E6E6E6"/>
        </a:solidFill>
        <a:effectLst/>
      </p:bgPr>
    </p:bg>
    <p:spTree>
      <p:nvGrpSpPr>
        <p:cNvPr id="1" name=""/>
        <p:cNvGrpSpPr/>
        <p:nvPr/>
      </p:nvGrpSpPr>
      <p:grpSpPr>
        <a:xfrm>
          <a:off x="0" y="0"/>
          <a:ext cx="0" cy="0"/>
          <a:chOff x="0" y="0"/>
          <a:chExt cx="0" cy="0"/>
        </a:xfrm>
      </p:grpSpPr>
      <p:graphicFrame>
        <p:nvGraphicFramePr>
          <p:cNvPr id="68" name="Object 67" hidden="1">
            <a:extLst>
              <a:ext uri="{FF2B5EF4-FFF2-40B4-BE49-F238E27FC236}">
                <a16:creationId xmlns:a16="http://schemas.microsoft.com/office/drawing/2014/main" id="{A100C677-B418-4EDF-ABC6-CE08CDC695FD}"/>
              </a:ext>
            </a:extLst>
          </p:cNvPr>
          <p:cNvGraphicFramePr>
            <a:graphicFrameLocks noChangeAspect="1"/>
          </p:cNvGraphicFramePr>
          <p:nvPr userDrawn="1">
            <p:custDataLst>
              <p:tags r:id="rId1"/>
            </p:custDataLst>
            <p:extLst>
              <p:ext uri="{D42A27DB-BD31-4B8C-83A1-F6EECF244321}">
                <p14:modId xmlns:p14="http://schemas.microsoft.com/office/powerpoint/2010/main" val="1439516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68" name="Object 67" hidden="1">
                        <a:extLst>
                          <a:ext uri="{FF2B5EF4-FFF2-40B4-BE49-F238E27FC236}">
                            <a16:creationId xmlns:a16="http://schemas.microsoft.com/office/drawing/2014/main" id="{A100C677-B418-4EDF-ABC6-CE08CDC695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 name="Google Shape;437;p8">
            <a:extLst>
              <a:ext uri="{FF2B5EF4-FFF2-40B4-BE49-F238E27FC236}">
                <a16:creationId xmlns:a16="http://schemas.microsoft.com/office/drawing/2014/main" id="{DFA3D236-3486-4F19-A7C5-E133BD55CE1C}"/>
              </a:ext>
            </a:extLst>
          </p:cNvPr>
          <p:cNvGrpSpPr/>
          <p:nvPr userDrawn="1"/>
        </p:nvGrpSpPr>
        <p:grpSpPr>
          <a:xfrm>
            <a:off x="-85616" y="5833206"/>
            <a:ext cx="12363231" cy="1214388"/>
            <a:chOff x="-45603" y="440026"/>
            <a:chExt cx="9272423" cy="910791"/>
          </a:xfrm>
        </p:grpSpPr>
        <p:sp>
          <p:nvSpPr>
            <p:cNvPr id="8" name="Google Shape;438;p8">
              <a:extLst>
                <a:ext uri="{FF2B5EF4-FFF2-40B4-BE49-F238E27FC236}">
                  <a16:creationId xmlns:a16="http://schemas.microsoft.com/office/drawing/2014/main" id="{52DDEDDC-15D2-4E4C-901E-42E502E2A8B1}"/>
                </a:ext>
              </a:extLst>
            </p:cNvPr>
            <p:cNvSpPr/>
            <p:nvPr/>
          </p:nvSpPr>
          <p:spPr>
            <a:xfrm>
              <a:off x="2176354" y="708034"/>
              <a:ext cx="281779" cy="397462"/>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9" name="Google Shape;439;p8">
              <a:extLst>
                <a:ext uri="{FF2B5EF4-FFF2-40B4-BE49-F238E27FC236}">
                  <a16:creationId xmlns:a16="http://schemas.microsoft.com/office/drawing/2014/main" id="{CA5C13E6-5A09-4E57-8AA5-E627EC086C2F}"/>
                </a:ext>
              </a:extLst>
            </p:cNvPr>
            <p:cNvSpPr/>
            <p:nvPr/>
          </p:nvSpPr>
          <p:spPr>
            <a:xfrm>
              <a:off x="552323" y="912340"/>
              <a:ext cx="339086" cy="309912"/>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0" name="Google Shape;440;p8">
              <a:extLst>
                <a:ext uri="{FF2B5EF4-FFF2-40B4-BE49-F238E27FC236}">
                  <a16:creationId xmlns:a16="http://schemas.microsoft.com/office/drawing/2014/main" id="{DAF7605A-6C97-4A29-A6C4-D0BCB41B7E04}"/>
                </a:ext>
              </a:extLst>
            </p:cNvPr>
            <p:cNvSpPr/>
            <p:nvPr/>
          </p:nvSpPr>
          <p:spPr>
            <a:xfrm rot="-2700000">
              <a:off x="4913658" y="470447"/>
              <a:ext cx="181249" cy="400170"/>
            </a:xfrm>
            <a:custGeom>
              <a:avLst/>
              <a:gdLst/>
              <a:ahLst/>
              <a:cxnLst/>
              <a:rect l="l" t="t" r="r" b="b"/>
              <a:pathLst>
                <a:path w="374196" h="826169" extrusionOk="0">
                  <a:moveTo>
                    <a:pt x="319578" y="542496"/>
                  </a:moveTo>
                  <a:cubicBezTo>
                    <a:pt x="337993" y="538051"/>
                    <a:pt x="360853" y="525986"/>
                    <a:pt x="365933" y="549481"/>
                  </a:cubicBezTo>
                  <a:cubicBezTo>
                    <a:pt x="372283" y="584406"/>
                    <a:pt x="389428" y="625046"/>
                    <a:pt x="341803" y="634571"/>
                  </a:cubicBezTo>
                  <a:cubicBezTo>
                    <a:pt x="344978" y="696801"/>
                    <a:pt x="374823" y="756491"/>
                    <a:pt x="362758" y="819356"/>
                  </a:cubicBezTo>
                  <a:cubicBezTo>
                    <a:pt x="256078" y="683466"/>
                    <a:pt x="252268" y="452961"/>
                    <a:pt x="169718" y="289131"/>
                  </a:cubicBezTo>
                  <a:cubicBezTo>
                    <a:pt x="120823" y="395176"/>
                    <a:pt x="-22052" y="1176861"/>
                    <a:pt x="34463" y="639016"/>
                  </a:cubicBezTo>
                  <a:cubicBezTo>
                    <a:pt x="31288" y="635206"/>
                    <a:pt x="30018" y="632666"/>
                    <a:pt x="28113" y="632666"/>
                  </a:cubicBezTo>
                  <a:cubicBezTo>
                    <a:pt x="-23957" y="623141"/>
                    <a:pt x="12873" y="572341"/>
                    <a:pt x="9698" y="536146"/>
                  </a:cubicBezTo>
                  <a:cubicBezTo>
                    <a:pt x="20493" y="531066"/>
                    <a:pt x="35098" y="532336"/>
                    <a:pt x="47163" y="534241"/>
                  </a:cubicBezTo>
                  <a:cubicBezTo>
                    <a:pt x="79548" y="416131"/>
                    <a:pt x="89708" y="287226"/>
                    <a:pt x="105583" y="164036"/>
                  </a:cubicBezTo>
                  <a:cubicBezTo>
                    <a:pt x="103043" y="132286"/>
                    <a:pt x="128443" y="141811"/>
                    <a:pt x="150033" y="136731"/>
                  </a:cubicBezTo>
                  <a:cubicBezTo>
                    <a:pt x="148128" y="119586"/>
                    <a:pt x="111933" y="3381"/>
                    <a:pt x="143683" y="4016"/>
                  </a:cubicBezTo>
                  <a:cubicBezTo>
                    <a:pt x="226868" y="-22019"/>
                    <a:pt x="207183" y="85296"/>
                    <a:pt x="187498" y="131651"/>
                  </a:cubicBezTo>
                  <a:cubicBezTo>
                    <a:pt x="214168" y="144351"/>
                    <a:pt x="240838" y="139906"/>
                    <a:pt x="242743" y="179911"/>
                  </a:cubicBezTo>
                  <a:cubicBezTo>
                    <a:pt x="263063" y="301196"/>
                    <a:pt x="290368" y="422481"/>
                    <a:pt x="319578" y="542496"/>
                  </a:cubicBezTo>
                  <a:close/>
                  <a:moveTo>
                    <a:pt x="311323" y="649811"/>
                  </a:moveTo>
                  <a:cubicBezTo>
                    <a:pt x="294178" y="503126"/>
                    <a:pt x="253538" y="351996"/>
                    <a:pt x="217978" y="207851"/>
                  </a:cubicBezTo>
                  <a:cubicBezTo>
                    <a:pt x="200833" y="217376"/>
                    <a:pt x="197658" y="242776"/>
                    <a:pt x="186228" y="258651"/>
                  </a:cubicBezTo>
                  <a:cubicBezTo>
                    <a:pt x="236393" y="387556"/>
                    <a:pt x="258618" y="523446"/>
                    <a:pt x="311323" y="649811"/>
                  </a:cubicBezTo>
                  <a:close/>
                  <a:moveTo>
                    <a:pt x="77643" y="517731"/>
                  </a:moveTo>
                  <a:cubicBezTo>
                    <a:pt x="112568" y="444071"/>
                    <a:pt x="112568" y="363426"/>
                    <a:pt x="141778" y="288496"/>
                  </a:cubicBezTo>
                  <a:cubicBezTo>
                    <a:pt x="153208" y="259921"/>
                    <a:pt x="143048" y="230711"/>
                    <a:pt x="123998" y="208486"/>
                  </a:cubicBezTo>
                  <a:cubicBezTo>
                    <a:pt x="100503" y="312626"/>
                    <a:pt x="94788" y="412956"/>
                    <a:pt x="77643" y="517731"/>
                  </a:cubicBezTo>
                  <a:close/>
                  <a:moveTo>
                    <a:pt x="166543" y="240871"/>
                  </a:moveTo>
                  <a:cubicBezTo>
                    <a:pt x="183053" y="211026"/>
                    <a:pt x="205913" y="190706"/>
                    <a:pt x="204008" y="160861"/>
                  </a:cubicBezTo>
                  <a:cubicBezTo>
                    <a:pt x="175433" y="152606"/>
                    <a:pt x="167813" y="152606"/>
                    <a:pt x="141778" y="164671"/>
                  </a:cubicBezTo>
                  <a:cubicBezTo>
                    <a:pt x="145588" y="188801"/>
                    <a:pt x="154478" y="211661"/>
                    <a:pt x="166543" y="240871"/>
                  </a:cubicBezTo>
                  <a:close/>
                  <a:moveTo>
                    <a:pt x="171623" y="104346"/>
                  </a:moveTo>
                  <a:cubicBezTo>
                    <a:pt x="183053" y="73231"/>
                    <a:pt x="181783" y="45291"/>
                    <a:pt x="167813" y="21796"/>
                  </a:cubicBezTo>
                  <a:cubicBezTo>
                    <a:pt x="152573" y="37036"/>
                    <a:pt x="148128" y="94821"/>
                    <a:pt x="171623" y="10434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1" name="Google Shape;441;p8">
              <a:extLst>
                <a:ext uri="{FF2B5EF4-FFF2-40B4-BE49-F238E27FC236}">
                  <a16:creationId xmlns:a16="http://schemas.microsoft.com/office/drawing/2014/main" id="{95F694D8-E89D-4F85-B965-6ABB0FD294C9}"/>
                </a:ext>
              </a:extLst>
            </p:cNvPr>
            <p:cNvSpPr/>
            <p:nvPr/>
          </p:nvSpPr>
          <p:spPr>
            <a:xfrm rot="-1967309">
              <a:off x="27613" y="549243"/>
              <a:ext cx="142154" cy="312221"/>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2" name="Google Shape;442;p8">
              <a:extLst>
                <a:ext uri="{FF2B5EF4-FFF2-40B4-BE49-F238E27FC236}">
                  <a16:creationId xmlns:a16="http://schemas.microsoft.com/office/drawing/2014/main" id="{42F9A808-20E2-4D0D-BC85-EA2AD4EE89EA}"/>
                </a:ext>
              </a:extLst>
            </p:cNvPr>
            <p:cNvSpPr/>
            <p:nvPr/>
          </p:nvSpPr>
          <p:spPr>
            <a:xfrm>
              <a:off x="6508977" y="1054156"/>
              <a:ext cx="212880" cy="143991"/>
            </a:xfrm>
            <a:custGeom>
              <a:avLst/>
              <a:gdLst/>
              <a:ahLst/>
              <a:cxnLst/>
              <a:rect l="l" t="t" r="r" b="b"/>
              <a:pathLst>
                <a:path w="575352" h="389164" extrusionOk="0">
                  <a:moveTo>
                    <a:pt x="575352" y="173355"/>
                  </a:moveTo>
                  <a:cubicBezTo>
                    <a:pt x="489627" y="224155"/>
                    <a:pt x="287063" y="336550"/>
                    <a:pt x="285793" y="356235"/>
                  </a:cubicBezTo>
                  <a:cubicBezTo>
                    <a:pt x="285158" y="365760"/>
                    <a:pt x="273093" y="372745"/>
                    <a:pt x="263568" y="368935"/>
                  </a:cubicBezTo>
                  <a:cubicBezTo>
                    <a:pt x="189273" y="366395"/>
                    <a:pt x="106088" y="378460"/>
                    <a:pt x="31793" y="385445"/>
                  </a:cubicBezTo>
                  <a:cubicBezTo>
                    <a:pt x="9568" y="398145"/>
                    <a:pt x="-9482" y="375920"/>
                    <a:pt x="5123" y="354965"/>
                  </a:cubicBezTo>
                  <a:cubicBezTo>
                    <a:pt x="34333" y="295275"/>
                    <a:pt x="47033" y="213995"/>
                    <a:pt x="97198" y="170180"/>
                  </a:cubicBezTo>
                  <a:cubicBezTo>
                    <a:pt x="198163" y="112395"/>
                    <a:pt x="294683" y="47625"/>
                    <a:pt x="400727" y="0"/>
                  </a:cubicBezTo>
                  <a:cubicBezTo>
                    <a:pt x="583608" y="18415"/>
                    <a:pt x="570273" y="-16510"/>
                    <a:pt x="575352" y="173355"/>
                  </a:cubicBezTo>
                  <a:close/>
                  <a:moveTo>
                    <a:pt x="292777" y="199390"/>
                  </a:moveTo>
                  <a:cubicBezTo>
                    <a:pt x="223563" y="208915"/>
                    <a:pt x="154983" y="208280"/>
                    <a:pt x="86402" y="220980"/>
                  </a:cubicBezTo>
                  <a:cubicBezTo>
                    <a:pt x="70527" y="268605"/>
                    <a:pt x="27983" y="310515"/>
                    <a:pt x="32427" y="359410"/>
                  </a:cubicBezTo>
                  <a:cubicBezTo>
                    <a:pt x="98468" y="358775"/>
                    <a:pt x="165143" y="359410"/>
                    <a:pt x="229913" y="343535"/>
                  </a:cubicBezTo>
                  <a:cubicBezTo>
                    <a:pt x="285793" y="323215"/>
                    <a:pt x="275633" y="250190"/>
                    <a:pt x="292777" y="199390"/>
                  </a:cubicBezTo>
                  <a:close/>
                  <a:moveTo>
                    <a:pt x="398188" y="146685"/>
                  </a:moveTo>
                  <a:cubicBezTo>
                    <a:pt x="374693" y="151765"/>
                    <a:pt x="340402" y="168910"/>
                    <a:pt x="320083" y="186055"/>
                  </a:cubicBezTo>
                  <a:cubicBezTo>
                    <a:pt x="314368" y="225425"/>
                    <a:pt x="288968" y="274320"/>
                    <a:pt x="292143" y="320040"/>
                  </a:cubicBezTo>
                  <a:cubicBezTo>
                    <a:pt x="327702" y="303530"/>
                    <a:pt x="361993" y="272415"/>
                    <a:pt x="392473" y="250825"/>
                  </a:cubicBezTo>
                  <a:cubicBezTo>
                    <a:pt x="389933" y="213995"/>
                    <a:pt x="397552" y="181610"/>
                    <a:pt x="398188" y="146685"/>
                  </a:cubicBezTo>
                  <a:close/>
                  <a:moveTo>
                    <a:pt x="115613" y="186055"/>
                  </a:moveTo>
                  <a:cubicBezTo>
                    <a:pt x="167683" y="207010"/>
                    <a:pt x="302302" y="179705"/>
                    <a:pt x="346118" y="135890"/>
                  </a:cubicBezTo>
                  <a:cubicBezTo>
                    <a:pt x="266743" y="97155"/>
                    <a:pt x="180383" y="131445"/>
                    <a:pt x="115613" y="186055"/>
                  </a:cubicBezTo>
                  <a:close/>
                  <a:moveTo>
                    <a:pt x="417238" y="231775"/>
                  </a:moveTo>
                  <a:cubicBezTo>
                    <a:pt x="433748" y="227330"/>
                    <a:pt x="435018" y="226060"/>
                    <a:pt x="435018" y="215265"/>
                  </a:cubicBezTo>
                  <a:cubicBezTo>
                    <a:pt x="431843" y="191135"/>
                    <a:pt x="440733" y="163195"/>
                    <a:pt x="429302" y="140970"/>
                  </a:cubicBezTo>
                  <a:cubicBezTo>
                    <a:pt x="415333" y="166370"/>
                    <a:pt x="410252" y="204470"/>
                    <a:pt x="417238" y="231775"/>
                  </a:cubicBezTo>
                  <a:close/>
                  <a:moveTo>
                    <a:pt x="506138" y="85090"/>
                  </a:moveTo>
                  <a:cubicBezTo>
                    <a:pt x="509948" y="120650"/>
                    <a:pt x="498518" y="147955"/>
                    <a:pt x="507408" y="184785"/>
                  </a:cubicBezTo>
                  <a:cubicBezTo>
                    <a:pt x="526458" y="157480"/>
                    <a:pt x="517568" y="111125"/>
                    <a:pt x="506138" y="85090"/>
                  </a:cubicBezTo>
                  <a:close/>
                  <a:moveTo>
                    <a:pt x="482643" y="190500"/>
                  </a:moveTo>
                  <a:cubicBezTo>
                    <a:pt x="480738" y="159385"/>
                    <a:pt x="497883" y="125095"/>
                    <a:pt x="481373" y="101600"/>
                  </a:cubicBezTo>
                  <a:cubicBezTo>
                    <a:pt x="473118" y="125730"/>
                    <a:pt x="473118" y="147955"/>
                    <a:pt x="482643" y="190500"/>
                  </a:cubicBezTo>
                  <a:close/>
                  <a:moveTo>
                    <a:pt x="453433" y="168275"/>
                  </a:moveTo>
                  <a:cubicBezTo>
                    <a:pt x="445177" y="182880"/>
                    <a:pt x="440098" y="203200"/>
                    <a:pt x="457877" y="212090"/>
                  </a:cubicBezTo>
                  <a:cubicBezTo>
                    <a:pt x="462323" y="194945"/>
                    <a:pt x="461052" y="181610"/>
                    <a:pt x="453433" y="168275"/>
                  </a:cubicBezTo>
                  <a:close/>
                  <a:moveTo>
                    <a:pt x="408348" y="66675"/>
                  </a:moveTo>
                  <a:cubicBezTo>
                    <a:pt x="412158" y="80645"/>
                    <a:pt x="437558" y="79375"/>
                    <a:pt x="453433" y="74930"/>
                  </a:cubicBezTo>
                  <a:cubicBezTo>
                    <a:pt x="437558" y="62865"/>
                    <a:pt x="422952" y="67945"/>
                    <a:pt x="408348" y="66675"/>
                  </a:cubicBezTo>
                  <a:close/>
                  <a:moveTo>
                    <a:pt x="495343" y="48895"/>
                  </a:moveTo>
                  <a:cubicBezTo>
                    <a:pt x="479468" y="37465"/>
                    <a:pt x="471213" y="36195"/>
                    <a:pt x="442638" y="40640"/>
                  </a:cubicBezTo>
                  <a:cubicBezTo>
                    <a:pt x="464227" y="42545"/>
                    <a:pt x="478833" y="53340"/>
                    <a:pt x="495343" y="48895"/>
                  </a:cubicBezTo>
                  <a:close/>
                  <a:moveTo>
                    <a:pt x="335958" y="89535"/>
                  </a:moveTo>
                  <a:cubicBezTo>
                    <a:pt x="321352" y="76200"/>
                    <a:pt x="305477" y="73025"/>
                    <a:pt x="293413" y="88900"/>
                  </a:cubicBezTo>
                  <a:cubicBezTo>
                    <a:pt x="308652" y="92710"/>
                    <a:pt x="320718" y="92710"/>
                    <a:pt x="335958" y="89535"/>
                  </a:cubicBezTo>
                  <a:close/>
                  <a:moveTo>
                    <a:pt x="539793" y="65405"/>
                  </a:moveTo>
                  <a:cubicBezTo>
                    <a:pt x="527727" y="76200"/>
                    <a:pt x="528363" y="81280"/>
                    <a:pt x="540427" y="92075"/>
                  </a:cubicBezTo>
                  <a:cubicBezTo>
                    <a:pt x="543602" y="83185"/>
                    <a:pt x="544873" y="74295"/>
                    <a:pt x="539793" y="654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3" name="Google Shape;443;p8">
              <a:extLst>
                <a:ext uri="{FF2B5EF4-FFF2-40B4-BE49-F238E27FC236}">
                  <a16:creationId xmlns:a16="http://schemas.microsoft.com/office/drawing/2014/main" id="{0172F219-15C9-4DE3-85DB-880E95DE5D8E}"/>
                </a:ext>
              </a:extLst>
            </p:cNvPr>
            <p:cNvSpPr/>
            <p:nvPr/>
          </p:nvSpPr>
          <p:spPr>
            <a:xfrm>
              <a:off x="4683118" y="1001445"/>
              <a:ext cx="272854" cy="185024"/>
            </a:xfrm>
            <a:custGeom>
              <a:avLst/>
              <a:gdLst/>
              <a:ahLst/>
              <a:cxnLst/>
              <a:rect l="l" t="t" r="r" b="b"/>
              <a:pathLst>
                <a:path w="620122" h="420510" extrusionOk="0">
                  <a:moveTo>
                    <a:pt x="1362" y="54610"/>
                  </a:moveTo>
                  <a:cubicBezTo>
                    <a:pt x="-31023" y="-68580"/>
                    <a:pt x="523967" y="55245"/>
                    <a:pt x="605247" y="54610"/>
                  </a:cubicBezTo>
                  <a:cubicBezTo>
                    <a:pt x="675732" y="78740"/>
                    <a:pt x="469992" y="177800"/>
                    <a:pt x="522062" y="355600"/>
                  </a:cubicBezTo>
                  <a:cubicBezTo>
                    <a:pt x="492217" y="360045"/>
                    <a:pt x="461102" y="331470"/>
                    <a:pt x="433162" y="323850"/>
                  </a:cubicBezTo>
                  <a:cubicBezTo>
                    <a:pt x="398237" y="328930"/>
                    <a:pt x="342992" y="455930"/>
                    <a:pt x="327752" y="410845"/>
                  </a:cubicBezTo>
                  <a:cubicBezTo>
                    <a:pt x="228057" y="287020"/>
                    <a:pt x="113757" y="169545"/>
                    <a:pt x="1362" y="54610"/>
                  </a:cubicBezTo>
                  <a:close/>
                  <a:moveTo>
                    <a:pt x="591277" y="78740"/>
                  </a:moveTo>
                  <a:cubicBezTo>
                    <a:pt x="418557" y="50800"/>
                    <a:pt x="245837" y="13335"/>
                    <a:pt x="69942" y="28575"/>
                  </a:cubicBezTo>
                  <a:cubicBezTo>
                    <a:pt x="217262" y="83820"/>
                    <a:pt x="363947" y="134620"/>
                    <a:pt x="513807" y="186055"/>
                  </a:cubicBezTo>
                  <a:cubicBezTo>
                    <a:pt x="542382" y="154305"/>
                    <a:pt x="569052" y="120650"/>
                    <a:pt x="591277" y="78740"/>
                  </a:cubicBezTo>
                  <a:close/>
                  <a:moveTo>
                    <a:pt x="443957" y="267335"/>
                  </a:moveTo>
                  <a:cubicBezTo>
                    <a:pt x="319497" y="199390"/>
                    <a:pt x="185512" y="113665"/>
                    <a:pt x="57242" y="74930"/>
                  </a:cubicBezTo>
                  <a:cubicBezTo>
                    <a:pt x="154397" y="174625"/>
                    <a:pt x="238852" y="289560"/>
                    <a:pt x="344897" y="379095"/>
                  </a:cubicBezTo>
                  <a:cubicBezTo>
                    <a:pt x="380457" y="344170"/>
                    <a:pt x="414747" y="311150"/>
                    <a:pt x="443957" y="267335"/>
                  </a:cubicBezTo>
                  <a:close/>
                  <a:moveTo>
                    <a:pt x="494122" y="207010"/>
                  </a:moveTo>
                  <a:cubicBezTo>
                    <a:pt x="380457" y="167640"/>
                    <a:pt x="263617" y="100330"/>
                    <a:pt x="146777" y="87630"/>
                  </a:cubicBezTo>
                  <a:cubicBezTo>
                    <a:pt x="262347" y="134620"/>
                    <a:pt x="363947" y="216535"/>
                    <a:pt x="484597" y="246380"/>
                  </a:cubicBezTo>
                  <a:cubicBezTo>
                    <a:pt x="480787" y="264795"/>
                    <a:pt x="472532" y="281305"/>
                    <a:pt x="490947" y="292735"/>
                  </a:cubicBezTo>
                  <a:cubicBezTo>
                    <a:pt x="503012" y="251460"/>
                    <a:pt x="502377" y="238125"/>
                    <a:pt x="494122" y="2070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4" name="Google Shape;444;p8">
              <a:extLst>
                <a:ext uri="{FF2B5EF4-FFF2-40B4-BE49-F238E27FC236}">
                  <a16:creationId xmlns:a16="http://schemas.microsoft.com/office/drawing/2014/main" id="{59F8DCF2-19C0-4EC9-AB80-F9304608F1A7}"/>
                </a:ext>
              </a:extLst>
            </p:cNvPr>
            <p:cNvSpPr/>
            <p:nvPr/>
          </p:nvSpPr>
          <p:spPr>
            <a:xfrm rot="3663599">
              <a:off x="5966469" y="976075"/>
              <a:ext cx="204754" cy="377157"/>
            </a:xfrm>
            <a:custGeom>
              <a:avLst/>
              <a:gdLst/>
              <a:ahLst/>
              <a:cxnLst/>
              <a:rect l="l" t="t" r="r" b="b"/>
              <a:pathLst>
                <a:path w="421613" h="776612" extrusionOk="0">
                  <a:moveTo>
                    <a:pt x="99839" y="349282"/>
                  </a:moveTo>
                  <a:cubicBezTo>
                    <a:pt x="-9381" y="246412"/>
                    <a:pt x="19194" y="15272"/>
                    <a:pt x="189374" y="32"/>
                  </a:cubicBezTo>
                  <a:cubicBezTo>
                    <a:pt x="381144" y="-3143"/>
                    <a:pt x="497984" y="232442"/>
                    <a:pt x="363999" y="377222"/>
                  </a:cubicBezTo>
                  <a:cubicBezTo>
                    <a:pt x="448453" y="504222"/>
                    <a:pt x="402734" y="743617"/>
                    <a:pt x="235728" y="773462"/>
                  </a:cubicBezTo>
                  <a:cubicBezTo>
                    <a:pt x="125874" y="796957"/>
                    <a:pt x="24909" y="684562"/>
                    <a:pt x="4589" y="585502"/>
                  </a:cubicBezTo>
                  <a:cubicBezTo>
                    <a:pt x="-17001" y="491522"/>
                    <a:pt x="41419" y="414052"/>
                    <a:pt x="99839" y="349282"/>
                  </a:cubicBezTo>
                  <a:close/>
                  <a:moveTo>
                    <a:pt x="113174" y="363887"/>
                  </a:moveTo>
                  <a:cubicBezTo>
                    <a:pt x="60469" y="429927"/>
                    <a:pt x="-6206" y="502317"/>
                    <a:pt x="28084" y="594392"/>
                  </a:cubicBezTo>
                  <a:cubicBezTo>
                    <a:pt x="55389" y="680117"/>
                    <a:pt x="137939" y="773462"/>
                    <a:pt x="236999" y="755047"/>
                  </a:cubicBezTo>
                  <a:cubicBezTo>
                    <a:pt x="372253" y="724567"/>
                    <a:pt x="403369" y="568357"/>
                    <a:pt x="375428" y="450247"/>
                  </a:cubicBezTo>
                  <a:cubicBezTo>
                    <a:pt x="371619" y="427387"/>
                    <a:pt x="367809" y="403257"/>
                    <a:pt x="340503" y="395002"/>
                  </a:cubicBezTo>
                  <a:cubicBezTo>
                    <a:pt x="330344" y="400082"/>
                    <a:pt x="316374" y="404527"/>
                    <a:pt x="306214" y="412782"/>
                  </a:cubicBezTo>
                  <a:cubicBezTo>
                    <a:pt x="292244" y="424212"/>
                    <a:pt x="276369" y="408337"/>
                    <a:pt x="263669" y="418497"/>
                  </a:cubicBezTo>
                  <a:cubicBezTo>
                    <a:pt x="206519" y="425482"/>
                    <a:pt x="159528" y="398177"/>
                    <a:pt x="113174" y="363887"/>
                  </a:cubicBezTo>
                  <a:close/>
                  <a:moveTo>
                    <a:pt x="343678" y="364522"/>
                  </a:moveTo>
                  <a:cubicBezTo>
                    <a:pt x="427499" y="287052"/>
                    <a:pt x="415434" y="127032"/>
                    <a:pt x="317009" y="67342"/>
                  </a:cubicBezTo>
                  <a:cubicBezTo>
                    <a:pt x="218584" y="-10128"/>
                    <a:pt x="108728" y="4477"/>
                    <a:pt x="61739" y="125762"/>
                  </a:cubicBezTo>
                  <a:cubicBezTo>
                    <a:pt x="49039" y="190532"/>
                    <a:pt x="59199" y="321977"/>
                    <a:pt x="138574" y="332772"/>
                  </a:cubicBezTo>
                  <a:cubicBezTo>
                    <a:pt x="207789" y="290227"/>
                    <a:pt x="282719" y="322612"/>
                    <a:pt x="343678" y="364522"/>
                  </a:cubicBezTo>
                  <a:close/>
                  <a:moveTo>
                    <a:pt x="318914" y="379127"/>
                  </a:moveTo>
                  <a:cubicBezTo>
                    <a:pt x="306849" y="365792"/>
                    <a:pt x="294784" y="353727"/>
                    <a:pt x="273828" y="349282"/>
                  </a:cubicBezTo>
                  <a:cubicBezTo>
                    <a:pt x="280178" y="372777"/>
                    <a:pt x="291609" y="400717"/>
                    <a:pt x="318914" y="379127"/>
                  </a:cubicBezTo>
                  <a:close/>
                  <a:moveTo>
                    <a:pt x="211599" y="382302"/>
                  </a:moveTo>
                  <a:cubicBezTo>
                    <a:pt x="208424" y="357537"/>
                    <a:pt x="203344" y="315627"/>
                    <a:pt x="179849" y="340392"/>
                  </a:cubicBezTo>
                  <a:cubicBezTo>
                    <a:pt x="191278" y="353092"/>
                    <a:pt x="196994" y="369602"/>
                    <a:pt x="211599" y="382302"/>
                  </a:cubicBezTo>
                  <a:close/>
                  <a:moveTo>
                    <a:pt x="265574" y="395637"/>
                  </a:moveTo>
                  <a:cubicBezTo>
                    <a:pt x="251603" y="373412"/>
                    <a:pt x="248428" y="351822"/>
                    <a:pt x="233189" y="341027"/>
                  </a:cubicBezTo>
                  <a:cubicBezTo>
                    <a:pt x="229378" y="361982"/>
                    <a:pt x="236999" y="377222"/>
                    <a:pt x="265574" y="395637"/>
                  </a:cubicBezTo>
                  <a:close/>
                  <a:moveTo>
                    <a:pt x="167784" y="366427"/>
                  </a:moveTo>
                  <a:cubicBezTo>
                    <a:pt x="165244" y="354997"/>
                    <a:pt x="156989" y="341027"/>
                    <a:pt x="146828" y="349917"/>
                  </a:cubicBezTo>
                  <a:cubicBezTo>
                    <a:pt x="147464" y="361347"/>
                    <a:pt x="156989" y="368332"/>
                    <a:pt x="167784" y="36642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5" name="Google Shape;445;p8">
              <a:extLst>
                <a:ext uri="{FF2B5EF4-FFF2-40B4-BE49-F238E27FC236}">
                  <a16:creationId xmlns:a16="http://schemas.microsoft.com/office/drawing/2014/main" id="{B918CB4E-9A2D-4280-B8D6-EAE731751A45}"/>
                </a:ext>
              </a:extLst>
            </p:cNvPr>
            <p:cNvSpPr/>
            <p:nvPr/>
          </p:nvSpPr>
          <p:spPr>
            <a:xfrm rot="-3368760">
              <a:off x="5437768" y="638636"/>
              <a:ext cx="351278" cy="93987"/>
            </a:xfrm>
            <a:custGeom>
              <a:avLst/>
              <a:gdLst/>
              <a:ahLst/>
              <a:cxnLst/>
              <a:rect l="l" t="t" r="r" b="b"/>
              <a:pathLst>
                <a:path w="724776" h="193920" extrusionOk="0">
                  <a:moveTo>
                    <a:pt x="536612" y="138058"/>
                  </a:moveTo>
                  <a:cubicBezTo>
                    <a:pt x="412787" y="137423"/>
                    <a:pt x="278168" y="171713"/>
                    <a:pt x="151168" y="192033"/>
                  </a:cubicBezTo>
                  <a:cubicBezTo>
                    <a:pt x="124497" y="199653"/>
                    <a:pt x="-29807" y="184413"/>
                    <a:pt x="5118" y="142503"/>
                  </a:cubicBezTo>
                  <a:cubicBezTo>
                    <a:pt x="118783" y="37093"/>
                    <a:pt x="265468" y="56778"/>
                    <a:pt x="408978" y="32013"/>
                  </a:cubicBezTo>
                  <a:cubicBezTo>
                    <a:pt x="490258" y="33283"/>
                    <a:pt x="579158" y="-16882"/>
                    <a:pt x="655358" y="5978"/>
                  </a:cubicBezTo>
                  <a:cubicBezTo>
                    <a:pt x="675043" y="28203"/>
                    <a:pt x="713143" y="-12437"/>
                    <a:pt x="722033" y="26933"/>
                  </a:cubicBezTo>
                  <a:cubicBezTo>
                    <a:pt x="725208" y="40268"/>
                    <a:pt x="727747" y="54238"/>
                    <a:pt x="716953" y="68208"/>
                  </a:cubicBezTo>
                  <a:cubicBezTo>
                    <a:pt x="673137" y="67573"/>
                    <a:pt x="667422" y="106943"/>
                    <a:pt x="643928" y="137423"/>
                  </a:cubicBezTo>
                  <a:cubicBezTo>
                    <a:pt x="555662" y="152663"/>
                    <a:pt x="452793" y="199653"/>
                    <a:pt x="367068" y="192033"/>
                  </a:cubicBezTo>
                  <a:cubicBezTo>
                    <a:pt x="370878" y="153933"/>
                    <a:pt x="501053" y="157108"/>
                    <a:pt x="536612" y="138058"/>
                  </a:cubicBezTo>
                  <a:close/>
                  <a:moveTo>
                    <a:pt x="388658" y="121548"/>
                  </a:moveTo>
                  <a:cubicBezTo>
                    <a:pt x="450887" y="124723"/>
                    <a:pt x="612812" y="113928"/>
                    <a:pt x="651547" y="66303"/>
                  </a:cubicBezTo>
                  <a:cubicBezTo>
                    <a:pt x="658533" y="42808"/>
                    <a:pt x="636943" y="18043"/>
                    <a:pt x="613447" y="21218"/>
                  </a:cubicBezTo>
                  <a:cubicBezTo>
                    <a:pt x="537883" y="43443"/>
                    <a:pt x="438822" y="31378"/>
                    <a:pt x="374053" y="70748"/>
                  </a:cubicBezTo>
                  <a:cubicBezTo>
                    <a:pt x="377862" y="86623"/>
                    <a:pt x="382943" y="103133"/>
                    <a:pt x="388658" y="121548"/>
                  </a:cubicBezTo>
                  <a:close/>
                  <a:moveTo>
                    <a:pt x="347383" y="65668"/>
                  </a:moveTo>
                  <a:cubicBezTo>
                    <a:pt x="275628" y="73288"/>
                    <a:pt x="201968" y="68843"/>
                    <a:pt x="133387" y="91703"/>
                  </a:cubicBezTo>
                  <a:cubicBezTo>
                    <a:pt x="131483" y="119008"/>
                    <a:pt x="132753" y="145678"/>
                    <a:pt x="144818" y="169808"/>
                  </a:cubicBezTo>
                  <a:cubicBezTo>
                    <a:pt x="207047" y="142503"/>
                    <a:pt x="415962" y="182508"/>
                    <a:pt x="347383" y="65668"/>
                  </a:cubicBezTo>
                  <a:close/>
                  <a:moveTo>
                    <a:pt x="106083" y="110118"/>
                  </a:moveTo>
                  <a:cubicBezTo>
                    <a:pt x="81318" y="115198"/>
                    <a:pt x="37503" y="132978"/>
                    <a:pt x="52743" y="161553"/>
                  </a:cubicBezTo>
                  <a:cubicBezTo>
                    <a:pt x="71158" y="167903"/>
                    <a:pt x="90208" y="171078"/>
                    <a:pt x="111797" y="169808"/>
                  </a:cubicBezTo>
                  <a:cubicBezTo>
                    <a:pt x="115608" y="148218"/>
                    <a:pt x="114972" y="129803"/>
                    <a:pt x="106083" y="110118"/>
                  </a:cubicBezTo>
                  <a:close/>
                  <a:moveTo>
                    <a:pt x="680122" y="49793"/>
                  </a:moveTo>
                  <a:cubicBezTo>
                    <a:pt x="687743" y="47253"/>
                    <a:pt x="701712" y="49158"/>
                    <a:pt x="699172" y="37728"/>
                  </a:cubicBezTo>
                  <a:cubicBezTo>
                    <a:pt x="692187" y="30743"/>
                    <a:pt x="679487" y="37093"/>
                    <a:pt x="680122" y="4979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6" name="Google Shape;446;p8">
              <a:extLst>
                <a:ext uri="{FF2B5EF4-FFF2-40B4-BE49-F238E27FC236}">
                  <a16:creationId xmlns:a16="http://schemas.microsoft.com/office/drawing/2014/main" id="{37435EF2-1CCA-4464-9F09-3ECBC1399B9C}"/>
                </a:ext>
              </a:extLst>
            </p:cNvPr>
            <p:cNvSpPr/>
            <p:nvPr/>
          </p:nvSpPr>
          <p:spPr>
            <a:xfrm rot="3013936">
              <a:off x="1856192" y="906044"/>
              <a:ext cx="112704" cy="289910"/>
            </a:xfrm>
            <a:custGeom>
              <a:avLst/>
              <a:gdLst/>
              <a:ahLst/>
              <a:cxnLst/>
              <a:rect l="l" t="t" r="r" b="b"/>
              <a:pathLst>
                <a:path w="232561" h="598221" extrusionOk="0">
                  <a:moveTo>
                    <a:pt x="113282" y="495986"/>
                  </a:moveTo>
                  <a:cubicBezTo>
                    <a:pt x="77722" y="519481"/>
                    <a:pt x="56132" y="585521"/>
                    <a:pt x="22477" y="598221"/>
                  </a:cubicBezTo>
                  <a:cubicBezTo>
                    <a:pt x="-37848" y="484556"/>
                    <a:pt x="39622" y="335966"/>
                    <a:pt x="64388" y="215316"/>
                  </a:cubicBezTo>
                  <a:cubicBezTo>
                    <a:pt x="82802" y="153086"/>
                    <a:pt x="100582" y="90856"/>
                    <a:pt x="115822" y="27991"/>
                  </a:cubicBezTo>
                  <a:cubicBezTo>
                    <a:pt x="125982" y="-24714"/>
                    <a:pt x="192657" y="10846"/>
                    <a:pt x="223772" y="23546"/>
                  </a:cubicBezTo>
                  <a:cubicBezTo>
                    <a:pt x="247268" y="47041"/>
                    <a:pt x="216788" y="92761"/>
                    <a:pt x="211707" y="121971"/>
                  </a:cubicBezTo>
                  <a:cubicBezTo>
                    <a:pt x="177418" y="245161"/>
                    <a:pt x="139952" y="370891"/>
                    <a:pt x="113282" y="495986"/>
                  </a:cubicBezTo>
                  <a:close/>
                  <a:moveTo>
                    <a:pt x="45338" y="459156"/>
                  </a:moveTo>
                  <a:cubicBezTo>
                    <a:pt x="74547" y="330886"/>
                    <a:pt x="116457" y="203886"/>
                    <a:pt x="145668" y="76886"/>
                  </a:cubicBezTo>
                  <a:cubicBezTo>
                    <a:pt x="109472" y="78156"/>
                    <a:pt x="92963" y="222301"/>
                    <a:pt x="77088" y="257861"/>
                  </a:cubicBezTo>
                  <a:cubicBezTo>
                    <a:pt x="76452" y="295961"/>
                    <a:pt x="252" y="454076"/>
                    <a:pt x="45972" y="458521"/>
                  </a:cubicBezTo>
                  <a:cubicBezTo>
                    <a:pt x="56768" y="469316"/>
                    <a:pt x="69468" y="475666"/>
                    <a:pt x="85977" y="474396"/>
                  </a:cubicBezTo>
                  <a:cubicBezTo>
                    <a:pt x="99313" y="448996"/>
                    <a:pt x="223772" y="55296"/>
                    <a:pt x="175513" y="85776"/>
                  </a:cubicBezTo>
                  <a:cubicBezTo>
                    <a:pt x="122807" y="140386"/>
                    <a:pt x="105027" y="464871"/>
                    <a:pt x="45338" y="459156"/>
                  </a:cubicBezTo>
                  <a:close/>
                  <a:moveTo>
                    <a:pt x="202818" y="67361"/>
                  </a:moveTo>
                  <a:cubicBezTo>
                    <a:pt x="204722" y="55296"/>
                    <a:pt x="205357" y="47676"/>
                    <a:pt x="206627" y="40691"/>
                  </a:cubicBezTo>
                  <a:cubicBezTo>
                    <a:pt x="183768" y="22276"/>
                    <a:pt x="139318" y="7671"/>
                    <a:pt x="136777" y="48311"/>
                  </a:cubicBezTo>
                  <a:cubicBezTo>
                    <a:pt x="156463" y="61011"/>
                    <a:pt x="178052" y="61646"/>
                    <a:pt x="202818" y="67361"/>
                  </a:cubicBezTo>
                  <a:close/>
                  <a:moveTo>
                    <a:pt x="28193" y="481381"/>
                  </a:moveTo>
                  <a:cubicBezTo>
                    <a:pt x="20572" y="551231"/>
                    <a:pt x="45338" y="558216"/>
                    <a:pt x="77088" y="497891"/>
                  </a:cubicBezTo>
                  <a:cubicBezTo>
                    <a:pt x="61847" y="488366"/>
                    <a:pt x="45972" y="487096"/>
                    <a:pt x="28193" y="48138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7" name="Google Shape;447;p8">
              <a:extLst>
                <a:ext uri="{FF2B5EF4-FFF2-40B4-BE49-F238E27FC236}">
                  <a16:creationId xmlns:a16="http://schemas.microsoft.com/office/drawing/2014/main" id="{F7A74B35-E181-4700-99FD-FFD1E7C070B6}"/>
                </a:ext>
              </a:extLst>
            </p:cNvPr>
            <p:cNvSpPr/>
            <p:nvPr/>
          </p:nvSpPr>
          <p:spPr>
            <a:xfrm rot="2198047">
              <a:off x="3510054" y="793341"/>
              <a:ext cx="140231" cy="367055"/>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8" name="Google Shape;448;p8">
              <a:extLst>
                <a:ext uri="{FF2B5EF4-FFF2-40B4-BE49-F238E27FC236}">
                  <a16:creationId xmlns:a16="http://schemas.microsoft.com/office/drawing/2014/main" id="{062EB108-DA8F-4CAA-A021-2FB10C1EC4F1}"/>
                </a:ext>
              </a:extLst>
            </p:cNvPr>
            <p:cNvSpPr/>
            <p:nvPr/>
          </p:nvSpPr>
          <p:spPr>
            <a:xfrm rot="9906392">
              <a:off x="7295836" y="1033664"/>
              <a:ext cx="191420" cy="182909"/>
            </a:xfrm>
            <a:custGeom>
              <a:avLst/>
              <a:gdLst/>
              <a:ahLst/>
              <a:cxnLst/>
              <a:rect l="l" t="t" r="r" b="b"/>
              <a:pathLst>
                <a:path w="393594" h="376095" extrusionOk="0">
                  <a:moveTo>
                    <a:pt x="214418" y="305042"/>
                  </a:moveTo>
                  <a:cubicBezTo>
                    <a:pt x="268393" y="256783"/>
                    <a:pt x="326179" y="286627"/>
                    <a:pt x="373168" y="327902"/>
                  </a:cubicBezTo>
                  <a:cubicBezTo>
                    <a:pt x="334433" y="348222"/>
                    <a:pt x="287443" y="358383"/>
                    <a:pt x="242358" y="352667"/>
                  </a:cubicBezTo>
                  <a:cubicBezTo>
                    <a:pt x="242358" y="360922"/>
                    <a:pt x="242358" y="367908"/>
                    <a:pt x="242358" y="374892"/>
                  </a:cubicBezTo>
                  <a:cubicBezTo>
                    <a:pt x="208704" y="387592"/>
                    <a:pt x="190289" y="296152"/>
                    <a:pt x="189654" y="269483"/>
                  </a:cubicBezTo>
                  <a:cubicBezTo>
                    <a:pt x="-846" y="341237"/>
                    <a:pt x="-74507" y="101208"/>
                    <a:pt x="94404" y="17387"/>
                  </a:cubicBezTo>
                  <a:cubicBezTo>
                    <a:pt x="178858" y="4052"/>
                    <a:pt x="289983" y="-24523"/>
                    <a:pt x="357293" y="44058"/>
                  </a:cubicBezTo>
                  <a:cubicBezTo>
                    <a:pt x="419523" y="101208"/>
                    <a:pt x="399839" y="240272"/>
                    <a:pt x="312843" y="258687"/>
                  </a:cubicBezTo>
                  <a:cubicBezTo>
                    <a:pt x="260139" y="256147"/>
                    <a:pt x="199179" y="220587"/>
                    <a:pt x="214418" y="305042"/>
                  </a:cubicBezTo>
                  <a:close/>
                  <a:moveTo>
                    <a:pt x="369993" y="131687"/>
                  </a:moveTo>
                  <a:cubicBezTo>
                    <a:pt x="377614" y="58662"/>
                    <a:pt x="298873" y="-2298"/>
                    <a:pt x="229658" y="22467"/>
                  </a:cubicBezTo>
                  <a:cubicBezTo>
                    <a:pt x="215054" y="28817"/>
                    <a:pt x="199179" y="30722"/>
                    <a:pt x="183304" y="23737"/>
                  </a:cubicBezTo>
                  <a:cubicBezTo>
                    <a:pt x="79164" y="3417"/>
                    <a:pt x="-14182" y="120258"/>
                    <a:pt x="37254" y="217412"/>
                  </a:cubicBezTo>
                  <a:cubicBezTo>
                    <a:pt x="86148" y="318377"/>
                    <a:pt x="176954" y="218047"/>
                    <a:pt x="249979" y="231383"/>
                  </a:cubicBezTo>
                  <a:cubicBezTo>
                    <a:pt x="321098" y="265037"/>
                    <a:pt x="372533" y="203442"/>
                    <a:pt x="369993" y="131687"/>
                  </a:cubicBezTo>
                  <a:close/>
                  <a:moveTo>
                    <a:pt x="329354" y="320283"/>
                  </a:moveTo>
                  <a:cubicBezTo>
                    <a:pt x="316654" y="302502"/>
                    <a:pt x="260773" y="284087"/>
                    <a:pt x="255693" y="313297"/>
                  </a:cubicBezTo>
                  <a:cubicBezTo>
                    <a:pt x="266489" y="313297"/>
                    <a:pt x="288714" y="301233"/>
                    <a:pt x="289348" y="318377"/>
                  </a:cubicBezTo>
                  <a:cubicBezTo>
                    <a:pt x="289348" y="327902"/>
                    <a:pt x="272839" y="324092"/>
                    <a:pt x="275379" y="337427"/>
                  </a:cubicBezTo>
                  <a:cubicBezTo>
                    <a:pt x="293158" y="336158"/>
                    <a:pt x="310304" y="333617"/>
                    <a:pt x="329354" y="32028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9" name="Google Shape;449;p8">
              <a:extLst>
                <a:ext uri="{FF2B5EF4-FFF2-40B4-BE49-F238E27FC236}">
                  <a16:creationId xmlns:a16="http://schemas.microsoft.com/office/drawing/2014/main" id="{73D1FC50-BAC9-4E63-B3C2-BC7032F81AAD}"/>
                </a:ext>
              </a:extLst>
            </p:cNvPr>
            <p:cNvSpPr/>
            <p:nvPr/>
          </p:nvSpPr>
          <p:spPr>
            <a:xfrm>
              <a:off x="301831" y="611168"/>
              <a:ext cx="314135" cy="349552"/>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0" name="Google Shape;450;p8">
              <a:extLst>
                <a:ext uri="{FF2B5EF4-FFF2-40B4-BE49-F238E27FC236}">
                  <a16:creationId xmlns:a16="http://schemas.microsoft.com/office/drawing/2014/main" id="{5F9B7FB3-35F4-4CBE-A09C-F66F590CFFE8}"/>
                </a:ext>
              </a:extLst>
            </p:cNvPr>
            <p:cNvSpPr/>
            <p:nvPr/>
          </p:nvSpPr>
          <p:spPr>
            <a:xfrm>
              <a:off x="5200465" y="821938"/>
              <a:ext cx="313748" cy="356086"/>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1" name="Google Shape;451;p8">
              <a:extLst>
                <a:ext uri="{FF2B5EF4-FFF2-40B4-BE49-F238E27FC236}">
                  <a16:creationId xmlns:a16="http://schemas.microsoft.com/office/drawing/2014/main" id="{D916FBB6-384D-4771-8641-58BD9CD17907}"/>
                </a:ext>
              </a:extLst>
            </p:cNvPr>
            <p:cNvSpPr/>
            <p:nvPr/>
          </p:nvSpPr>
          <p:spPr>
            <a:xfrm rot="-988374">
              <a:off x="8793699" y="981136"/>
              <a:ext cx="395858" cy="320125"/>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2" name="Google Shape;452;p8">
              <a:extLst>
                <a:ext uri="{FF2B5EF4-FFF2-40B4-BE49-F238E27FC236}">
                  <a16:creationId xmlns:a16="http://schemas.microsoft.com/office/drawing/2014/main" id="{71BF65B1-EDAE-48BD-9611-9B3FAF80BFC6}"/>
                </a:ext>
              </a:extLst>
            </p:cNvPr>
            <p:cNvSpPr/>
            <p:nvPr/>
          </p:nvSpPr>
          <p:spPr>
            <a:xfrm rot="1179229">
              <a:off x="6978602" y="547675"/>
              <a:ext cx="347146" cy="378286"/>
            </a:xfrm>
            <a:custGeom>
              <a:avLst/>
              <a:gdLst/>
              <a:ahLst/>
              <a:cxnLst/>
              <a:rect l="l" t="t" r="r" b="b"/>
              <a:pathLst>
                <a:path w="718509" h="782962" extrusionOk="0">
                  <a:moveTo>
                    <a:pt x="707390" y="178442"/>
                  </a:moveTo>
                  <a:cubicBezTo>
                    <a:pt x="705485" y="163837"/>
                    <a:pt x="700405" y="154947"/>
                    <a:pt x="683895" y="153042"/>
                  </a:cubicBezTo>
                  <a:cubicBezTo>
                    <a:pt x="685800" y="135897"/>
                    <a:pt x="673100" y="127642"/>
                    <a:pt x="665480" y="114942"/>
                  </a:cubicBezTo>
                  <a:cubicBezTo>
                    <a:pt x="664845" y="85097"/>
                    <a:pt x="638810" y="88907"/>
                    <a:pt x="618490" y="95257"/>
                  </a:cubicBezTo>
                  <a:cubicBezTo>
                    <a:pt x="595630" y="74302"/>
                    <a:pt x="582295" y="68587"/>
                    <a:pt x="555625" y="88272"/>
                  </a:cubicBezTo>
                  <a:cubicBezTo>
                    <a:pt x="523875" y="100972"/>
                    <a:pt x="523240" y="30487"/>
                    <a:pt x="488315" y="60332"/>
                  </a:cubicBezTo>
                  <a:cubicBezTo>
                    <a:pt x="445135" y="96527"/>
                    <a:pt x="462915" y="-3803"/>
                    <a:pt x="385445" y="42552"/>
                  </a:cubicBezTo>
                  <a:cubicBezTo>
                    <a:pt x="359410" y="-34918"/>
                    <a:pt x="319405" y="13977"/>
                    <a:pt x="274320" y="29852"/>
                  </a:cubicBezTo>
                  <a:cubicBezTo>
                    <a:pt x="182245" y="239402"/>
                    <a:pt x="65405" y="447047"/>
                    <a:pt x="0" y="662312"/>
                  </a:cubicBezTo>
                  <a:cubicBezTo>
                    <a:pt x="161925" y="678822"/>
                    <a:pt x="313055" y="747402"/>
                    <a:pt x="471170" y="782962"/>
                  </a:cubicBezTo>
                  <a:cubicBezTo>
                    <a:pt x="532130" y="658502"/>
                    <a:pt x="575310" y="535947"/>
                    <a:pt x="636905" y="413392"/>
                  </a:cubicBezTo>
                  <a:cubicBezTo>
                    <a:pt x="664210" y="349892"/>
                    <a:pt x="688975" y="285757"/>
                    <a:pt x="714375" y="221622"/>
                  </a:cubicBezTo>
                  <a:cubicBezTo>
                    <a:pt x="718185" y="205747"/>
                    <a:pt x="723900" y="190507"/>
                    <a:pt x="707390" y="178442"/>
                  </a:cubicBezTo>
                  <a:close/>
                  <a:moveTo>
                    <a:pt x="655955" y="152407"/>
                  </a:moveTo>
                  <a:cubicBezTo>
                    <a:pt x="652780" y="161297"/>
                    <a:pt x="650240" y="170187"/>
                    <a:pt x="646430" y="180347"/>
                  </a:cubicBezTo>
                  <a:cubicBezTo>
                    <a:pt x="604520" y="162567"/>
                    <a:pt x="608330" y="116847"/>
                    <a:pt x="655955" y="152407"/>
                  </a:cubicBezTo>
                  <a:close/>
                  <a:moveTo>
                    <a:pt x="561975" y="127642"/>
                  </a:moveTo>
                  <a:cubicBezTo>
                    <a:pt x="572770" y="118117"/>
                    <a:pt x="577850" y="125737"/>
                    <a:pt x="590550" y="133992"/>
                  </a:cubicBezTo>
                  <a:cubicBezTo>
                    <a:pt x="576580" y="138437"/>
                    <a:pt x="558800" y="146057"/>
                    <a:pt x="561975" y="127642"/>
                  </a:cubicBezTo>
                  <a:close/>
                  <a:moveTo>
                    <a:pt x="353695" y="33027"/>
                  </a:moveTo>
                  <a:cubicBezTo>
                    <a:pt x="351155" y="47632"/>
                    <a:pt x="334010" y="34297"/>
                    <a:pt x="323215" y="31757"/>
                  </a:cubicBezTo>
                  <a:cubicBezTo>
                    <a:pt x="334010" y="17152"/>
                    <a:pt x="350520" y="17787"/>
                    <a:pt x="353695" y="33027"/>
                  </a:cubicBezTo>
                  <a:close/>
                  <a:moveTo>
                    <a:pt x="43180" y="618497"/>
                  </a:moveTo>
                  <a:cubicBezTo>
                    <a:pt x="46990" y="609607"/>
                    <a:pt x="54610" y="612147"/>
                    <a:pt x="59055" y="613417"/>
                  </a:cubicBezTo>
                  <a:cubicBezTo>
                    <a:pt x="99060" y="635642"/>
                    <a:pt x="160020" y="625482"/>
                    <a:pt x="189865" y="659137"/>
                  </a:cubicBezTo>
                  <a:cubicBezTo>
                    <a:pt x="140970" y="652152"/>
                    <a:pt x="87630" y="638817"/>
                    <a:pt x="43180" y="618497"/>
                  </a:cubicBezTo>
                  <a:close/>
                  <a:moveTo>
                    <a:pt x="201295" y="663582"/>
                  </a:moveTo>
                  <a:cubicBezTo>
                    <a:pt x="198755" y="662312"/>
                    <a:pt x="196215" y="661677"/>
                    <a:pt x="193675" y="660407"/>
                  </a:cubicBezTo>
                  <a:cubicBezTo>
                    <a:pt x="196215" y="660407"/>
                    <a:pt x="199390" y="659772"/>
                    <a:pt x="201930" y="659772"/>
                  </a:cubicBezTo>
                  <a:cubicBezTo>
                    <a:pt x="201295" y="661042"/>
                    <a:pt x="201295" y="662312"/>
                    <a:pt x="201295" y="663582"/>
                  </a:cubicBezTo>
                  <a:close/>
                  <a:moveTo>
                    <a:pt x="228600" y="667392"/>
                  </a:moveTo>
                  <a:cubicBezTo>
                    <a:pt x="246380" y="662312"/>
                    <a:pt x="262255" y="666122"/>
                    <a:pt x="276860" y="680727"/>
                  </a:cubicBezTo>
                  <a:cubicBezTo>
                    <a:pt x="256540" y="687077"/>
                    <a:pt x="242570" y="678822"/>
                    <a:pt x="228600" y="667392"/>
                  </a:cubicBezTo>
                  <a:close/>
                  <a:moveTo>
                    <a:pt x="434975" y="704222"/>
                  </a:moveTo>
                  <a:cubicBezTo>
                    <a:pt x="306070" y="664852"/>
                    <a:pt x="177800" y="628657"/>
                    <a:pt x="47625" y="588652"/>
                  </a:cubicBezTo>
                  <a:cubicBezTo>
                    <a:pt x="114935" y="409582"/>
                    <a:pt x="198120" y="233052"/>
                    <a:pt x="284480" y="61602"/>
                  </a:cubicBezTo>
                  <a:cubicBezTo>
                    <a:pt x="314960" y="97162"/>
                    <a:pt x="369570" y="94622"/>
                    <a:pt x="323215" y="62872"/>
                  </a:cubicBezTo>
                  <a:cubicBezTo>
                    <a:pt x="340995" y="59697"/>
                    <a:pt x="354330" y="64777"/>
                    <a:pt x="369570" y="70492"/>
                  </a:cubicBezTo>
                  <a:cubicBezTo>
                    <a:pt x="377825" y="143517"/>
                    <a:pt x="474980" y="111132"/>
                    <a:pt x="398145" y="86367"/>
                  </a:cubicBezTo>
                  <a:cubicBezTo>
                    <a:pt x="411480" y="67952"/>
                    <a:pt x="439420" y="83827"/>
                    <a:pt x="457200" y="89542"/>
                  </a:cubicBezTo>
                  <a:cubicBezTo>
                    <a:pt x="461010" y="179712"/>
                    <a:pt x="532130" y="156852"/>
                    <a:pt x="506095" y="131452"/>
                  </a:cubicBezTo>
                  <a:cubicBezTo>
                    <a:pt x="485140" y="128912"/>
                    <a:pt x="480695" y="129547"/>
                    <a:pt x="483870" y="104147"/>
                  </a:cubicBezTo>
                  <a:cubicBezTo>
                    <a:pt x="501650" y="101607"/>
                    <a:pt x="518795" y="107957"/>
                    <a:pt x="536575" y="110497"/>
                  </a:cubicBezTo>
                  <a:cubicBezTo>
                    <a:pt x="542290" y="147327"/>
                    <a:pt x="556260" y="169552"/>
                    <a:pt x="595630" y="161932"/>
                  </a:cubicBezTo>
                  <a:cubicBezTo>
                    <a:pt x="610235" y="174632"/>
                    <a:pt x="624205" y="186697"/>
                    <a:pt x="638810" y="199397"/>
                  </a:cubicBezTo>
                  <a:cubicBezTo>
                    <a:pt x="590550" y="376562"/>
                    <a:pt x="498475" y="533407"/>
                    <a:pt x="434975" y="704222"/>
                  </a:cubicBezTo>
                  <a:close/>
                  <a:moveTo>
                    <a:pt x="560705" y="508642"/>
                  </a:moveTo>
                  <a:cubicBezTo>
                    <a:pt x="560705" y="508642"/>
                    <a:pt x="560705" y="508007"/>
                    <a:pt x="560705" y="508642"/>
                  </a:cubicBezTo>
                  <a:cubicBezTo>
                    <a:pt x="561340" y="509277"/>
                    <a:pt x="561975" y="509912"/>
                    <a:pt x="562610" y="509912"/>
                  </a:cubicBezTo>
                  <a:cubicBezTo>
                    <a:pt x="561975" y="509277"/>
                    <a:pt x="561340" y="509277"/>
                    <a:pt x="560705" y="508642"/>
                  </a:cubicBezTo>
                  <a:close/>
                  <a:moveTo>
                    <a:pt x="602615" y="438792"/>
                  </a:moveTo>
                  <a:cubicBezTo>
                    <a:pt x="588010" y="457842"/>
                    <a:pt x="586740" y="504832"/>
                    <a:pt x="561340" y="508007"/>
                  </a:cubicBezTo>
                  <a:cubicBezTo>
                    <a:pt x="607695" y="405772"/>
                    <a:pt x="632460" y="297822"/>
                    <a:pt x="690245" y="201302"/>
                  </a:cubicBezTo>
                  <a:cubicBezTo>
                    <a:pt x="678180" y="284487"/>
                    <a:pt x="633730" y="360052"/>
                    <a:pt x="602615" y="438792"/>
                  </a:cubicBezTo>
                  <a:close/>
                  <a:moveTo>
                    <a:pt x="313690" y="335287"/>
                  </a:moveTo>
                  <a:cubicBezTo>
                    <a:pt x="297815" y="333382"/>
                    <a:pt x="197485" y="287027"/>
                    <a:pt x="229870" y="330842"/>
                  </a:cubicBezTo>
                  <a:cubicBezTo>
                    <a:pt x="312420" y="365767"/>
                    <a:pt x="409575" y="363862"/>
                    <a:pt x="485775" y="412757"/>
                  </a:cubicBezTo>
                  <a:cubicBezTo>
                    <a:pt x="496570" y="419107"/>
                    <a:pt x="505460" y="426092"/>
                    <a:pt x="517525" y="415297"/>
                  </a:cubicBezTo>
                  <a:cubicBezTo>
                    <a:pt x="468630" y="357512"/>
                    <a:pt x="381000" y="360052"/>
                    <a:pt x="313690" y="335287"/>
                  </a:cubicBezTo>
                  <a:close/>
                  <a:moveTo>
                    <a:pt x="247650" y="245752"/>
                  </a:moveTo>
                  <a:cubicBezTo>
                    <a:pt x="237490" y="288932"/>
                    <a:pt x="370205" y="285757"/>
                    <a:pt x="402590" y="304172"/>
                  </a:cubicBezTo>
                  <a:cubicBezTo>
                    <a:pt x="441325" y="314332"/>
                    <a:pt x="480060" y="325762"/>
                    <a:pt x="514985" y="346717"/>
                  </a:cubicBezTo>
                  <a:cubicBezTo>
                    <a:pt x="520065" y="349892"/>
                    <a:pt x="526415" y="350527"/>
                    <a:pt x="528955" y="344812"/>
                  </a:cubicBezTo>
                  <a:cubicBezTo>
                    <a:pt x="528955" y="296552"/>
                    <a:pt x="299720" y="266072"/>
                    <a:pt x="247650" y="245752"/>
                  </a:cubicBezTo>
                  <a:close/>
                  <a:moveTo>
                    <a:pt x="190500" y="440062"/>
                  </a:moveTo>
                  <a:cubicBezTo>
                    <a:pt x="114300" y="454032"/>
                    <a:pt x="260350" y="477527"/>
                    <a:pt x="276860" y="483242"/>
                  </a:cubicBezTo>
                  <a:cubicBezTo>
                    <a:pt x="335915" y="490862"/>
                    <a:pt x="387350" y="520072"/>
                    <a:pt x="443230" y="535947"/>
                  </a:cubicBezTo>
                  <a:cubicBezTo>
                    <a:pt x="503555" y="508642"/>
                    <a:pt x="214630" y="446412"/>
                    <a:pt x="190500" y="440062"/>
                  </a:cubicBezTo>
                  <a:close/>
                  <a:moveTo>
                    <a:pt x="268605" y="189237"/>
                  </a:moveTo>
                  <a:cubicBezTo>
                    <a:pt x="246380" y="228607"/>
                    <a:pt x="356870" y="221622"/>
                    <a:pt x="381000" y="234322"/>
                  </a:cubicBezTo>
                  <a:cubicBezTo>
                    <a:pt x="434340" y="241307"/>
                    <a:pt x="481330" y="267977"/>
                    <a:pt x="532130" y="281312"/>
                  </a:cubicBezTo>
                  <a:cubicBezTo>
                    <a:pt x="610870" y="260992"/>
                    <a:pt x="292735" y="193047"/>
                    <a:pt x="268605" y="189237"/>
                  </a:cubicBezTo>
                  <a:close/>
                  <a:moveTo>
                    <a:pt x="529590" y="191777"/>
                  </a:moveTo>
                  <a:cubicBezTo>
                    <a:pt x="450215" y="181617"/>
                    <a:pt x="375920" y="153042"/>
                    <a:pt x="297815" y="136532"/>
                  </a:cubicBezTo>
                  <a:cubicBezTo>
                    <a:pt x="245745" y="161932"/>
                    <a:pt x="375920" y="169552"/>
                    <a:pt x="391795" y="180982"/>
                  </a:cubicBezTo>
                  <a:cubicBezTo>
                    <a:pt x="440055" y="196222"/>
                    <a:pt x="493395" y="197492"/>
                    <a:pt x="538480" y="220352"/>
                  </a:cubicBezTo>
                  <a:cubicBezTo>
                    <a:pt x="547370" y="224797"/>
                    <a:pt x="560070" y="217177"/>
                    <a:pt x="560070" y="205747"/>
                  </a:cubicBezTo>
                  <a:cubicBezTo>
                    <a:pt x="554990" y="193682"/>
                    <a:pt x="541020" y="193682"/>
                    <a:pt x="529590" y="191777"/>
                  </a:cubicBezTo>
                  <a:close/>
                  <a:moveTo>
                    <a:pt x="210185" y="381642"/>
                  </a:moveTo>
                  <a:cubicBezTo>
                    <a:pt x="205105" y="407677"/>
                    <a:pt x="219710" y="401327"/>
                    <a:pt x="234950" y="405137"/>
                  </a:cubicBezTo>
                  <a:cubicBezTo>
                    <a:pt x="308610" y="414027"/>
                    <a:pt x="380365" y="435617"/>
                    <a:pt x="449580" y="460382"/>
                  </a:cubicBezTo>
                  <a:cubicBezTo>
                    <a:pt x="534670" y="436887"/>
                    <a:pt x="233680" y="381007"/>
                    <a:pt x="210185" y="381642"/>
                  </a:cubicBezTo>
                  <a:close/>
                  <a:moveTo>
                    <a:pt x="158115" y="502292"/>
                  </a:moveTo>
                  <a:cubicBezTo>
                    <a:pt x="135890" y="498482"/>
                    <a:pt x="132080" y="519437"/>
                    <a:pt x="150495" y="523247"/>
                  </a:cubicBezTo>
                  <a:cubicBezTo>
                    <a:pt x="202565" y="528327"/>
                    <a:pt x="250190" y="551187"/>
                    <a:pt x="300355" y="561982"/>
                  </a:cubicBezTo>
                  <a:cubicBezTo>
                    <a:pt x="330200" y="530867"/>
                    <a:pt x="177165" y="511182"/>
                    <a:pt x="158115" y="50229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3" name="Google Shape;453;p8">
              <a:extLst>
                <a:ext uri="{FF2B5EF4-FFF2-40B4-BE49-F238E27FC236}">
                  <a16:creationId xmlns:a16="http://schemas.microsoft.com/office/drawing/2014/main" id="{9BA01FEA-2993-4024-825B-1DB626CB98BB}"/>
                </a:ext>
              </a:extLst>
            </p:cNvPr>
            <p:cNvSpPr/>
            <p:nvPr/>
          </p:nvSpPr>
          <p:spPr>
            <a:xfrm>
              <a:off x="980841" y="910413"/>
              <a:ext cx="326644" cy="367792"/>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4" name="Google Shape;454;p8">
              <a:extLst>
                <a:ext uri="{FF2B5EF4-FFF2-40B4-BE49-F238E27FC236}">
                  <a16:creationId xmlns:a16="http://schemas.microsoft.com/office/drawing/2014/main" id="{99AD2AE6-9050-4889-82F2-C1419125FF29}"/>
                </a:ext>
              </a:extLst>
            </p:cNvPr>
            <p:cNvSpPr/>
            <p:nvPr/>
          </p:nvSpPr>
          <p:spPr>
            <a:xfrm>
              <a:off x="8699186" y="523462"/>
              <a:ext cx="403969" cy="323646"/>
            </a:xfrm>
            <a:custGeom>
              <a:avLst/>
              <a:gdLst/>
              <a:ahLst/>
              <a:cxnLst/>
              <a:rect l="l" t="t" r="r" b="b"/>
              <a:pathLst>
                <a:path w="832925" h="667312" extrusionOk="0">
                  <a:moveTo>
                    <a:pt x="832654" y="510467"/>
                  </a:moveTo>
                  <a:cubicBezTo>
                    <a:pt x="829479" y="434902"/>
                    <a:pt x="811699" y="361242"/>
                    <a:pt x="802174" y="286312"/>
                  </a:cubicBezTo>
                  <a:cubicBezTo>
                    <a:pt x="772964" y="118672"/>
                    <a:pt x="808524" y="-22933"/>
                    <a:pt x="580559" y="3102"/>
                  </a:cubicBezTo>
                  <a:cubicBezTo>
                    <a:pt x="476419" y="-8963"/>
                    <a:pt x="405934" y="116132"/>
                    <a:pt x="355134" y="85652"/>
                  </a:cubicBezTo>
                  <a:cubicBezTo>
                    <a:pt x="259884" y="32312"/>
                    <a:pt x="139869" y="51362"/>
                    <a:pt x="38269" y="73587"/>
                  </a:cubicBezTo>
                  <a:cubicBezTo>
                    <a:pt x="-11261" y="84382"/>
                    <a:pt x="-2371" y="107242"/>
                    <a:pt x="8424" y="146612"/>
                  </a:cubicBezTo>
                  <a:cubicBezTo>
                    <a:pt x="29379" y="309172"/>
                    <a:pt x="48429" y="470462"/>
                    <a:pt x="82084" y="629847"/>
                  </a:cubicBezTo>
                  <a:cubicBezTo>
                    <a:pt x="83989" y="650802"/>
                    <a:pt x="107484" y="641277"/>
                    <a:pt x="120184" y="636197"/>
                  </a:cubicBezTo>
                  <a:cubicBezTo>
                    <a:pt x="129709" y="645722"/>
                    <a:pt x="124629" y="663502"/>
                    <a:pt x="143044" y="667312"/>
                  </a:cubicBezTo>
                  <a:cubicBezTo>
                    <a:pt x="237024" y="612067"/>
                    <a:pt x="358309" y="609527"/>
                    <a:pt x="463084" y="627942"/>
                  </a:cubicBezTo>
                  <a:cubicBezTo>
                    <a:pt x="553254" y="563807"/>
                    <a:pt x="668824" y="563172"/>
                    <a:pt x="774869" y="573967"/>
                  </a:cubicBezTo>
                  <a:cubicBezTo>
                    <a:pt x="792014" y="565712"/>
                    <a:pt x="786299" y="546027"/>
                    <a:pt x="793919" y="532692"/>
                  </a:cubicBezTo>
                  <a:cubicBezTo>
                    <a:pt x="810429" y="527612"/>
                    <a:pt x="835829" y="539677"/>
                    <a:pt x="832654" y="510467"/>
                  </a:cubicBezTo>
                  <a:close/>
                  <a:moveTo>
                    <a:pt x="377359" y="595557"/>
                  </a:moveTo>
                  <a:cubicBezTo>
                    <a:pt x="298619" y="600002"/>
                    <a:pt x="222419" y="601907"/>
                    <a:pt x="148759" y="633022"/>
                  </a:cubicBezTo>
                  <a:cubicBezTo>
                    <a:pt x="134789" y="583492"/>
                    <a:pt x="351959" y="558092"/>
                    <a:pt x="385614" y="586667"/>
                  </a:cubicBezTo>
                  <a:cubicBezTo>
                    <a:pt x="385614" y="594287"/>
                    <a:pt x="381804" y="595557"/>
                    <a:pt x="377359" y="595557"/>
                  </a:cubicBezTo>
                  <a:close/>
                  <a:moveTo>
                    <a:pt x="432604" y="585397"/>
                  </a:moveTo>
                  <a:cubicBezTo>
                    <a:pt x="332909" y="518722"/>
                    <a:pt x="209084" y="561267"/>
                    <a:pt x="107484" y="605717"/>
                  </a:cubicBezTo>
                  <a:cubicBezTo>
                    <a:pt x="60494" y="509832"/>
                    <a:pt x="77639" y="394897"/>
                    <a:pt x="47159" y="292662"/>
                  </a:cubicBezTo>
                  <a:cubicBezTo>
                    <a:pt x="51604" y="252022"/>
                    <a:pt x="2074" y="106607"/>
                    <a:pt x="45254" y="97082"/>
                  </a:cubicBezTo>
                  <a:cubicBezTo>
                    <a:pt x="143044" y="74857"/>
                    <a:pt x="338624" y="38027"/>
                    <a:pt x="385614" y="152962"/>
                  </a:cubicBezTo>
                  <a:cubicBezTo>
                    <a:pt x="410379" y="295837"/>
                    <a:pt x="436414" y="439347"/>
                    <a:pt x="432604" y="585397"/>
                  </a:cubicBezTo>
                  <a:close/>
                  <a:moveTo>
                    <a:pt x="766614" y="547297"/>
                  </a:moveTo>
                  <a:cubicBezTo>
                    <a:pt x="691049" y="546662"/>
                    <a:pt x="619294" y="547297"/>
                    <a:pt x="546269" y="561267"/>
                  </a:cubicBezTo>
                  <a:cubicBezTo>
                    <a:pt x="548809" y="521262"/>
                    <a:pt x="785664" y="490782"/>
                    <a:pt x="766614" y="547297"/>
                  </a:cubicBezTo>
                  <a:close/>
                  <a:moveTo>
                    <a:pt x="804714" y="505387"/>
                  </a:moveTo>
                  <a:cubicBezTo>
                    <a:pt x="673269" y="483162"/>
                    <a:pt x="569129" y="493322"/>
                    <a:pt x="464354" y="577777"/>
                  </a:cubicBezTo>
                  <a:cubicBezTo>
                    <a:pt x="442129" y="429187"/>
                    <a:pt x="440224" y="275517"/>
                    <a:pt x="403394" y="128197"/>
                  </a:cubicBezTo>
                  <a:cubicBezTo>
                    <a:pt x="464989" y="31677"/>
                    <a:pt x="617389" y="-10233"/>
                    <a:pt x="717084" y="45647"/>
                  </a:cubicBezTo>
                  <a:cubicBezTo>
                    <a:pt x="772964" y="92637"/>
                    <a:pt x="754549" y="188522"/>
                    <a:pt x="772329" y="255197"/>
                  </a:cubicBezTo>
                  <a:cubicBezTo>
                    <a:pt x="776774" y="340287"/>
                    <a:pt x="809159" y="420932"/>
                    <a:pt x="804714" y="505387"/>
                  </a:cubicBezTo>
                  <a:close/>
                  <a:moveTo>
                    <a:pt x="634534" y="306632"/>
                  </a:moveTo>
                  <a:cubicBezTo>
                    <a:pt x="633264" y="339652"/>
                    <a:pt x="643424" y="370132"/>
                    <a:pt x="639614" y="404422"/>
                  </a:cubicBezTo>
                  <a:cubicBezTo>
                    <a:pt x="447209" y="426012"/>
                    <a:pt x="456734" y="468557"/>
                    <a:pt x="644059" y="424107"/>
                  </a:cubicBezTo>
                  <a:cubicBezTo>
                    <a:pt x="648504" y="439347"/>
                    <a:pt x="652314" y="453317"/>
                    <a:pt x="656759" y="468557"/>
                  </a:cubicBezTo>
                  <a:cubicBezTo>
                    <a:pt x="692954" y="465382"/>
                    <a:pt x="738674" y="470462"/>
                    <a:pt x="767249" y="447602"/>
                  </a:cubicBezTo>
                  <a:cubicBezTo>
                    <a:pt x="737404" y="353622"/>
                    <a:pt x="781219" y="259007"/>
                    <a:pt x="634534" y="306632"/>
                  </a:cubicBezTo>
                  <a:close/>
                  <a:moveTo>
                    <a:pt x="675809" y="441887"/>
                  </a:moveTo>
                  <a:cubicBezTo>
                    <a:pt x="660569" y="405692"/>
                    <a:pt x="656759" y="376482"/>
                    <a:pt x="661839" y="327587"/>
                  </a:cubicBezTo>
                  <a:cubicBezTo>
                    <a:pt x="682159" y="317427"/>
                    <a:pt x="701844" y="319967"/>
                    <a:pt x="721529" y="322507"/>
                  </a:cubicBezTo>
                  <a:cubicBezTo>
                    <a:pt x="738039" y="356162"/>
                    <a:pt x="730419" y="395532"/>
                    <a:pt x="736134" y="433632"/>
                  </a:cubicBezTo>
                  <a:cubicBezTo>
                    <a:pt x="715814" y="436172"/>
                    <a:pt x="696129" y="443792"/>
                    <a:pt x="675809" y="441887"/>
                  </a:cubicBezTo>
                  <a:close/>
                  <a:moveTo>
                    <a:pt x="732959" y="166932"/>
                  </a:moveTo>
                  <a:cubicBezTo>
                    <a:pt x="737404" y="169472"/>
                    <a:pt x="744389" y="166932"/>
                    <a:pt x="745659" y="161217"/>
                  </a:cubicBezTo>
                  <a:cubicBezTo>
                    <a:pt x="744389" y="125657"/>
                    <a:pt x="672634" y="141532"/>
                    <a:pt x="657394" y="133912"/>
                  </a:cubicBezTo>
                  <a:cubicBezTo>
                    <a:pt x="623104" y="134547"/>
                    <a:pt x="419904" y="153597"/>
                    <a:pt x="476419" y="191697"/>
                  </a:cubicBezTo>
                  <a:cubicBezTo>
                    <a:pt x="556429" y="162487"/>
                    <a:pt x="649774" y="134547"/>
                    <a:pt x="732959" y="166932"/>
                  </a:cubicBezTo>
                  <a:close/>
                  <a:moveTo>
                    <a:pt x="726609" y="92002"/>
                  </a:moveTo>
                  <a:cubicBezTo>
                    <a:pt x="717719" y="29772"/>
                    <a:pt x="482134" y="92002"/>
                    <a:pt x="449114" y="126927"/>
                  </a:cubicBezTo>
                  <a:cubicBezTo>
                    <a:pt x="452924" y="132642"/>
                    <a:pt x="455464" y="137087"/>
                    <a:pt x="459274" y="143437"/>
                  </a:cubicBezTo>
                  <a:cubicBezTo>
                    <a:pt x="539284" y="94542"/>
                    <a:pt x="635169" y="79937"/>
                    <a:pt x="726609" y="92002"/>
                  </a:cubicBezTo>
                  <a:close/>
                  <a:moveTo>
                    <a:pt x="494199" y="248847"/>
                  </a:moveTo>
                  <a:cubicBezTo>
                    <a:pt x="562144" y="217097"/>
                    <a:pt x="643424" y="223447"/>
                    <a:pt x="716449" y="235512"/>
                  </a:cubicBezTo>
                  <a:cubicBezTo>
                    <a:pt x="743119" y="187887"/>
                    <a:pt x="480229" y="199317"/>
                    <a:pt x="478959" y="238687"/>
                  </a:cubicBezTo>
                  <a:cubicBezTo>
                    <a:pt x="478959" y="246942"/>
                    <a:pt x="487214" y="252657"/>
                    <a:pt x="494199" y="248847"/>
                  </a:cubicBezTo>
                  <a:close/>
                  <a:moveTo>
                    <a:pt x="528489" y="290122"/>
                  </a:moveTo>
                  <a:cubicBezTo>
                    <a:pt x="592624" y="271707"/>
                    <a:pt x="654854" y="280597"/>
                    <a:pt x="720259" y="272977"/>
                  </a:cubicBezTo>
                  <a:cubicBezTo>
                    <a:pt x="682159" y="245037"/>
                    <a:pt x="508804" y="252022"/>
                    <a:pt x="482769" y="285677"/>
                  </a:cubicBezTo>
                  <a:cubicBezTo>
                    <a:pt x="488484" y="303457"/>
                    <a:pt x="515154" y="290122"/>
                    <a:pt x="528489" y="290122"/>
                  </a:cubicBezTo>
                  <a:close/>
                  <a:moveTo>
                    <a:pt x="487214" y="344097"/>
                  </a:moveTo>
                  <a:cubicBezTo>
                    <a:pt x="524679" y="329492"/>
                    <a:pt x="568494" y="330762"/>
                    <a:pt x="602784" y="322507"/>
                  </a:cubicBezTo>
                  <a:cubicBezTo>
                    <a:pt x="610404" y="283772"/>
                    <a:pt x="438954" y="313617"/>
                    <a:pt x="487214" y="344097"/>
                  </a:cubicBezTo>
                  <a:close/>
                  <a:moveTo>
                    <a:pt x="570399" y="357432"/>
                  </a:moveTo>
                  <a:cubicBezTo>
                    <a:pt x="570399" y="356797"/>
                    <a:pt x="570399" y="356162"/>
                    <a:pt x="569764" y="355527"/>
                  </a:cubicBezTo>
                  <a:cubicBezTo>
                    <a:pt x="552619" y="361242"/>
                    <a:pt x="472609" y="361242"/>
                    <a:pt x="503089" y="389817"/>
                  </a:cubicBezTo>
                  <a:cubicBezTo>
                    <a:pt x="527219" y="389817"/>
                    <a:pt x="663744" y="368862"/>
                    <a:pt x="570399" y="357432"/>
                  </a:cubicBezTo>
                  <a:close/>
                  <a:moveTo>
                    <a:pt x="527219" y="465382"/>
                  </a:moveTo>
                  <a:cubicBezTo>
                    <a:pt x="531029" y="504752"/>
                    <a:pt x="577384" y="471097"/>
                    <a:pt x="599609" y="467287"/>
                  </a:cubicBezTo>
                  <a:cubicBezTo>
                    <a:pt x="643424" y="424742"/>
                    <a:pt x="545634" y="460937"/>
                    <a:pt x="527219" y="465382"/>
                  </a:cubicBezTo>
                  <a:close/>
                  <a:moveTo>
                    <a:pt x="80814" y="149152"/>
                  </a:moveTo>
                  <a:cubicBezTo>
                    <a:pt x="89069" y="207572"/>
                    <a:pt x="91609" y="268532"/>
                    <a:pt x="106849" y="325682"/>
                  </a:cubicBezTo>
                  <a:cubicBezTo>
                    <a:pt x="121454" y="349812"/>
                    <a:pt x="158284" y="325047"/>
                    <a:pt x="180509" y="323777"/>
                  </a:cubicBezTo>
                  <a:cubicBezTo>
                    <a:pt x="231944" y="314887"/>
                    <a:pt x="315129" y="299647"/>
                    <a:pt x="360849" y="323777"/>
                  </a:cubicBezTo>
                  <a:cubicBezTo>
                    <a:pt x="404029" y="299647"/>
                    <a:pt x="364024" y="247577"/>
                    <a:pt x="364024" y="210112"/>
                  </a:cubicBezTo>
                  <a:cubicBezTo>
                    <a:pt x="369104" y="76127"/>
                    <a:pt x="162729" y="123752"/>
                    <a:pt x="80814" y="149152"/>
                  </a:cubicBezTo>
                  <a:close/>
                  <a:moveTo>
                    <a:pt x="354499" y="290122"/>
                  </a:moveTo>
                  <a:cubicBezTo>
                    <a:pt x="277029" y="288852"/>
                    <a:pt x="202099" y="298377"/>
                    <a:pt x="125899" y="307902"/>
                  </a:cubicBezTo>
                  <a:cubicBezTo>
                    <a:pt x="118914" y="262817"/>
                    <a:pt x="111929" y="218367"/>
                    <a:pt x="104944" y="172647"/>
                  </a:cubicBezTo>
                  <a:cubicBezTo>
                    <a:pt x="172254" y="133277"/>
                    <a:pt x="262424" y="130102"/>
                    <a:pt x="332909" y="165662"/>
                  </a:cubicBezTo>
                  <a:cubicBezTo>
                    <a:pt x="350054" y="232337"/>
                    <a:pt x="357039" y="269802"/>
                    <a:pt x="354499" y="290122"/>
                  </a:cubicBezTo>
                  <a:close/>
                  <a:moveTo>
                    <a:pt x="227499" y="369497"/>
                  </a:moveTo>
                  <a:cubicBezTo>
                    <a:pt x="222419" y="351082"/>
                    <a:pt x="220514" y="348542"/>
                    <a:pt x="210989" y="347907"/>
                  </a:cubicBezTo>
                  <a:cubicBezTo>
                    <a:pt x="187494" y="351082"/>
                    <a:pt x="103039" y="349812"/>
                    <a:pt x="130344" y="388547"/>
                  </a:cubicBezTo>
                  <a:cubicBezTo>
                    <a:pt x="161459" y="381562"/>
                    <a:pt x="191304" y="365687"/>
                    <a:pt x="227499" y="369497"/>
                  </a:cubicBezTo>
                  <a:close/>
                  <a:moveTo>
                    <a:pt x="143679" y="431727"/>
                  </a:moveTo>
                  <a:cubicBezTo>
                    <a:pt x="177334" y="419662"/>
                    <a:pt x="207814" y="421567"/>
                    <a:pt x="243374" y="420297"/>
                  </a:cubicBezTo>
                  <a:cubicBezTo>
                    <a:pt x="233849" y="382832"/>
                    <a:pt x="99864" y="399342"/>
                    <a:pt x="143679" y="431727"/>
                  </a:cubicBezTo>
                  <a:close/>
                  <a:moveTo>
                    <a:pt x="288459" y="401882"/>
                  </a:moveTo>
                  <a:cubicBezTo>
                    <a:pt x="315764" y="406327"/>
                    <a:pt x="342434" y="389817"/>
                    <a:pt x="369739" y="399977"/>
                  </a:cubicBezTo>
                  <a:cubicBezTo>
                    <a:pt x="371644" y="400612"/>
                    <a:pt x="375454" y="395532"/>
                    <a:pt x="379899" y="392357"/>
                  </a:cubicBezTo>
                  <a:cubicBezTo>
                    <a:pt x="375454" y="363147"/>
                    <a:pt x="253534" y="375212"/>
                    <a:pt x="288459" y="401882"/>
                  </a:cubicBezTo>
                  <a:close/>
                  <a:moveTo>
                    <a:pt x="207179" y="439982"/>
                  </a:moveTo>
                  <a:cubicBezTo>
                    <a:pt x="207179" y="440617"/>
                    <a:pt x="207179" y="440617"/>
                    <a:pt x="207179" y="441252"/>
                  </a:cubicBezTo>
                  <a:cubicBezTo>
                    <a:pt x="190034" y="445697"/>
                    <a:pt x="151934" y="438077"/>
                    <a:pt x="148759" y="460302"/>
                  </a:cubicBezTo>
                  <a:cubicBezTo>
                    <a:pt x="155109" y="492687"/>
                    <a:pt x="295444" y="438712"/>
                    <a:pt x="207179" y="439982"/>
                  </a:cubicBezTo>
                  <a:close/>
                  <a:moveTo>
                    <a:pt x="297984" y="448237"/>
                  </a:moveTo>
                  <a:cubicBezTo>
                    <a:pt x="320844" y="443792"/>
                    <a:pt x="368469" y="461572"/>
                    <a:pt x="371009" y="427282"/>
                  </a:cubicBezTo>
                  <a:cubicBezTo>
                    <a:pt x="350054" y="426012"/>
                    <a:pt x="270044" y="410772"/>
                    <a:pt x="297984" y="448237"/>
                  </a:cubicBezTo>
                  <a:close/>
                  <a:moveTo>
                    <a:pt x="291634" y="359972"/>
                  </a:moveTo>
                  <a:cubicBezTo>
                    <a:pt x="311954" y="347907"/>
                    <a:pt x="353864" y="361242"/>
                    <a:pt x="362754" y="339652"/>
                  </a:cubicBezTo>
                  <a:cubicBezTo>
                    <a:pt x="350054" y="319332"/>
                    <a:pt x="244009" y="335207"/>
                    <a:pt x="291634" y="359972"/>
                  </a:cubicBezTo>
                  <a:close/>
                  <a:moveTo>
                    <a:pt x="177969" y="519357"/>
                  </a:moveTo>
                  <a:cubicBezTo>
                    <a:pt x="199559" y="512372"/>
                    <a:pt x="228134" y="521897"/>
                    <a:pt x="239564" y="497132"/>
                  </a:cubicBezTo>
                  <a:cubicBezTo>
                    <a:pt x="217974" y="490147"/>
                    <a:pt x="144314" y="494592"/>
                    <a:pt x="177969" y="519357"/>
                  </a:cubicBezTo>
                  <a:close/>
                  <a:moveTo>
                    <a:pt x="332274" y="485067"/>
                  </a:moveTo>
                  <a:cubicBezTo>
                    <a:pt x="311954" y="485702"/>
                    <a:pt x="265599" y="490782"/>
                    <a:pt x="301794" y="508562"/>
                  </a:cubicBezTo>
                  <a:cubicBezTo>
                    <a:pt x="326559" y="509832"/>
                    <a:pt x="396409" y="498402"/>
                    <a:pt x="332274" y="48506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5" name="Google Shape;455;p8">
              <a:extLst>
                <a:ext uri="{FF2B5EF4-FFF2-40B4-BE49-F238E27FC236}">
                  <a16:creationId xmlns:a16="http://schemas.microsoft.com/office/drawing/2014/main" id="{C57713A8-CEA2-47F3-BD43-6ADEB3FE868B}"/>
                </a:ext>
              </a:extLst>
            </p:cNvPr>
            <p:cNvSpPr/>
            <p:nvPr/>
          </p:nvSpPr>
          <p:spPr>
            <a:xfrm>
              <a:off x="6870722" y="1009504"/>
              <a:ext cx="256151" cy="229019"/>
            </a:xfrm>
            <a:custGeom>
              <a:avLst/>
              <a:gdLst/>
              <a:ahLst/>
              <a:cxnLst/>
              <a:rect l="l" t="t" r="r" b="b"/>
              <a:pathLst>
                <a:path w="528147" h="472205" extrusionOk="0">
                  <a:moveTo>
                    <a:pt x="395469" y="177165"/>
                  </a:moveTo>
                  <a:cubicBezTo>
                    <a:pt x="443094" y="36830"/>
                    <a:pt x="381499" y="-53340"/>
                    <a:pt x="264659" y="86360"/>
                  </a:cubicBezTo>
                  <a:cubicBezTo>
                    <a:pt x="239894" y="41275"/>
                    <a:pt x="195444" y="0"/>
                    <a:pt x="143374" y="0"/>
                  </a:cubicBezTo>
                  <a:cubicBezTo>
                    <a:pt x="65269" y="15240"/>
                    <a:pt x="123054" y="139065"/>
                    <a:pt x="131944" y="187325"/>
                  </a:cubicBezTo>
                  <a:cubicBezTo>
                    <a:pt x="76064" y="179070"/>
                    <a:pt x="-40776" y="242570"/>
                    <a:pt x="14469" y="300990"/>
                  </a:cubicBezTo>
                  <a:cubicBezTo>
                    <a:pt x="41774" y="327660"/>
                    <a:pt x="81144" y="321945"/>
                    <a:pt x="109719" y="344170"/>
                  </a:cubicBezTo>
                  <a:cubicBezTo>
                    <a:pt x="102734" y="370840"/>
                    <a:pt x="109084" y="399415"/>
                    <a:pt x="92574" y="423545"/>
                  </a:cubicBezTo>
                  <a:cubicBezTo>
                    <a:pt x="86859" y="433070"/>
                    <a:pt x="90034" y="441960"/>
                    <a:pt x="95749" y="450215"/>
                  </a:cubicBezTo>
                  <a:cubicBezTo>
                    <a:pt x="112259" y="475615"/>
                    <a:pt x="147819" y="474345"/>
                    <a:pt x="159249" y="450850"/>
                  </a:cubicBezTo>
                  <a:cubicBezTo>
                    <a:pt x="175759" y="424180"/>
                    <a:pt x="207509" y="409575"/>
                    <a:pt x="235449" y="397510"/>
                  </a:cubicBezTo>
                  <a:cubicBezTo>
                    <a:pt x="289424" y="513715"/>
                    <a:pt x="403724" y="490220"/>
                    <a:pt x="379594" y="355600"/>
                  </a:cubicBezTo>
                  <a:cubicBezTo>
                    <a:pt x="470399" y="330200"/>
                    <a:pt x="493259" y="345440"/>
                    <a:pt x="525009" y="245110"/>
                  </a:cubicBezTo>
                  <a:cubicBezTo>
                    <a:pt x="549139" y="182880"/>
                    <a:pt x="427219" y="204470"/>
                    <a:pt x="395469" y="177165"/>
                  </a:cubicBezTo>
                  <a:close/>
                  <a:moveTo>
                    <a:pt x="392294" y="59055"/>
                  </a:moveTo>
                  <a:cubicBezTo>
                    <a:pt x="393564" y="106680"/>
                    <a:pt x="391659" y="133985"/>
                    <a:pt x="363719" y="175260"/>
                  </a:cubicBezTo>
                  <a:cubicBezTo>
                    <a:pt x="314824" y="185420"/>
                    <a:pt x="309744" y="137795"/>
                    <a:pt x="290059" y="103505"/>
                  </a:cubicBezTo>
                  <a:cubicBezTo>
                    <a:pt x="316094" y="73025"/>
                    <a:pt x="348479" y="12065"/>
                    <a:pt x="392294" y="59055"/>
                  </a:cubicBezTo>
                  <a:close/>
                  <a:moveTo>
                    <a:pt x="347209" y="325755"/>
                  </a:moveTo>
                  <a:cubicBezTo>
                    <a:pt x="331969" y="330835"/>
                    <a:pt x="317999" y="330200"/>
                    <a:pt x="298314" y="327025"/>
                  </a:cubicBezTo>
                  <a:cubicBezTo>
                    <a:pt x="311649" y="308610"/>
                    <a:pt x="318634" y="292100"/>
                    <a:pt x="333239" y="278130"/>
                  </a:cubicBezTo>
                  <a:cubicBezTo>
                    <a:pt x="345304" y="292735"/>
                    <a:pt x="349749" y="307975"/>
                    <a:pt x="347209" y="325755"/>
                  </a:cubicBezTo>
                  <a:close/>
                  <a:moveTo>
                    <a:pt x="271009" y="130175"/>
                  </a:moveTo>
                  <a:cubicBezTo>
                    <a:pt x="287519" y="140970"/>
                    <a:pt x="288789" y="144145"/>
                    <a:pt x="293234" y="172720"/>
                  </a:cubicBezTo>
                  <a:cubicBezTo>
                    <a:pt x="277359" y="178435"/>
                    <a:pt x="262119" y="180975"/>
                    <a:pt x="244339" y="174625"/>
                  </a:cubicBezTo>
                  <a:cubicBezTo>
                    <a:pt x="247514" y="155575"/>
                    <a:pt x="259579" y="142875"/>
                    <a:pt x="271009" y="130175"/>
                  </a:cubicBezTo>
                  <a:close/>
                  <a:moveTo>
                    <a:pt x="131309" y="77470"/>
                  </a:moveTo>
                  <a:cubicBezTo>
                    <a:pt x="173854" y="74930"/>
                    <a:pt x="176394" y="73025"/>
                    <a:pt x="187189" y="26670"/>
                  </a:cubicBezTo>
                  <a:cubicBezTo>
                    <a:pt x="208779" y="61595"/>
                    <a:pt x="240529" y="69215"/>
                    <a:pt x="250689" y="109220"/>
                  </a:cubicBezTo>
                  <a:cubicBezTo>
                    <a:pt x="229099" y="140970"/>
                    <a:pt x="209414" y="200025"/>
                    <a:pt x="161154" y="180975"/>
                  </a:cubicBezTo>
                  <a:cubicBezTo>
                    <a:pt x="144644" y="148590"/>
                    <a:pt x="124324" y="116840"/>
                    <a:pt x="131309" y="77470"/>
                  </a:cubicBezTo>
                  <a:close/>
                  <a:moveTo>
                    <a:pt x="191634" y="321310"/>
                  </a:moveTo>
                  <a:cubicBezTo>
                    <a:pt x="176394" y="325755"/>
                    <a:pt x="165599" y="326390"/>
                    <a:pt x="154169" y="320040"/>
                  </a:cubicBezTo>
                  <a:cubicBezTo>
                    <a:pt x="156074" y="305435"/>
                    <a:pt x="160519" y="293370"/>
                    <a:pt x="172584" y="283210"/>
                  </a:cubicBezTo>
                  <a:cubicBezTo>
                    <a:pt x="185284" y="292735"/>
                    <a:pt x="185919" y="306070"/>
                    <a:pt x="191634" y="321310"/>
                  </a:cubicBezTo>
                  <a:close/>
                  <a:moveTo>
                    <a:pt x="23359" y="274955"/>
                  </a:moveTo>
                  <a:cubicBezTo>
                    <a:pt x="39869" y="215265"/>
                    <a:pt x="92574" y="210185"/>
                    <a:pt x="145279" y="213995"/>
                  </a:cubicBezTo>
                  <a:cubicBezTo>
                    <a:pt x="175759" y="248285"/>
                    <a:pt x="140834" y="281305"/>
                    <a:pt x="124959" y="314960"/>
                  </a:cubicBezTo>
                  <a:cubicBezTo>
                    <a:pt x="83049" y="313690"/>
                    <a:pt x="43679" y="297815"/>
                    <a:pt x="23359" y="274955"/>
                  </a:cubicBezTo>
                  <a:close/>
                  <a:moveTo>
                    <a:pt x="163059" y="412115"/>
                  </a:moveTo>
                  <a:cubicBezTo>
                    <a:pt x="152264" y="408940"/>
                    <a:pt x="142739" y="405765"/>
                    <a:pt x="131944" y="402590"/>
                  </a:cubicBezTo>
                  <a:cubicBezTo>
                    <a:pt x="125594" y="382905"/>
                    <a:pt x="126229" y="365125"/>
                    <a:pt x="143374" y="347345"/>
                  </a:cubicBezTo>
                  <a:cubicBezTo>
                    <a:pt x="170044" y="349250"/>
                    <a:pt x="208144" y="337185"/>
                    <a:pt x="214494" y="377190"/>
                  </a:cubicBezTo>
                  <a:cubicBezTo>
                    <a:pt x="196714" y="389255"/>
                    <a:pt x="180204" y="400685"/>
                    <a:pt x="163059" y="412115"/>
                  </a:cubicBezTo>
                  <a:close/>
                  <a:moveTo>
                    <a:pt x="225289" y="327025"/>
                  </a:moveTo>
                  <a:cubicBezTo>
                    <a:pt x="170679" y="248285"/>
                    <a:pt x="196079" y="189230"/>
                    <a:pt x="295139" y="198120"/>
                  </a:cubicBezTo>
                  <a:cubicBezTo>
                    <a:pt x="326254" y="193040"/>
                    <a:pt x="331969" y="241935"/>
                    <a:pt x="314824" y="260350"/>
                  </a:cubicBezTo>
                  <a:cubicBezTo>
                    <a:pt x="285614" y="290830"/>
                    <a:pt x="279264" y="341630"/>
                    <a:pt x="225289" y="327025"/>
                  </a:cubicBezTo>
                  <a:close/>
                  <a:moveTo>
                    <a:pt x="253864" y="379095"/>
                  </a:moveTo>
                  <a:cubicBezTo>
                    <a:pt x="271644" y="343535"/>
                    <a:pt x="316729" y="349885"/>
                    <a:pt x="350384" y="355600"/>
                  </a:cubicBezTo>
                  <a:cubicBezTo>
                    <a:pt x="385309" y="470535"/>
                    <a:pt x="287519" y="482600"/>
                    <a:pt x="253864" y="379095"/>
                  </a:cubicBezTo>
                  <a:close/>
                  <a:moveTo>
                    <a:pt x="377689" y="327025"/>
                  </a:moveTo>
                  <a:cubicBezTo>
                    <a:pt x="365624" y="281305"/>
                    <a:pt x="337684" y="234950"/>
                    <a:pt x="383404" y="201295"/>
                  </a:cubicBezTo>
                  <a:cubicBezTo>
                    <a:pt x="408804" y="207645"/>
                    <a:pt x="434204" y="213360"/>
                    <a:pt x="460239" y="219710"/>
                  </a:cubicBezTo>
                  <a:cubicBezTo>
                    <a:pt x="462779" y="241300"/>
                    <a:pt x="469764" y="257175"/>
                    <a:pt x="488179" y="269875"/>
                  </a:cubicBezTo>
                  <a:cubicBezTo>
                    <a:pt x="492624" y="324485"/>
                    <a:pt x="417059" y="320675"/>
                    <a:pt x="377689" y="327025"/>
                  </a:cubicBezTo>
                  <a:close/>
                  <a:moveTo>
                    <a:pt x="257039" y="222250"/>
                  </a:moveTo>
                  <a:cubicBezTo>
                    <a:pt x="196714" y="216535"/>
                    <a:pt x="185284" y="288290"/>
                    <a:pt x="248149" y="290830"/>
                  </a:cubicBezTo>
                  <a:cubicBezTo>
                    <a:pt x="289424" y="291465"/>
                    <a:pt x="307204" y="229235"/>
                    <a:pt x="257039" y="222250"/>
                  </a:cubicBezTo>
                  <a:close/>
                  <a:moveTo>
                    <a:pt x="243069" y="266700"/>
                  </a:moveTo>
                  <a:cubicBezTo>
                    <a:pt x="215764" y="264795"/>
                    <a:pt x="229099" y="242570"/>
                    <a:pt x="248149" y="240030"/>
                  </a:cubicBezTo>
                  <a:cubicBezTo>
                    <a:pt x="272279" y="237490"/>
                    <a:pt x="262119" y="269240"/>
                    <a:pt x="243069" y="26670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6" name="Google Shape;456;p8">
              <a:extLst>
                <a:ext uri="{FF2B5EF4-FFF2-40B4-BE49-F238E27FC236}">
                  <a16:creationId xmlns:a16="http://schemas.microsoft.com/office/drawing/2014/main" id="{7E90AF16-2D94-4AA6-8F4F-BA951107600C}"/>
                </a:ext>
              </a:extLst>
            </p:cNvPr>
            <p:cNvSpPr/>
            <p:nvPr/>
          </p:nvSpPr>
          <p:spPr>
            <a:xfrm rot="-2424567">
              <a:off x="1204048" y="475241"/>
              <a:ext cx="211213" cy="278694"/>
            </a:xfrm>
            <a:custGeom>
              <a:avLst/>
              <a:gdLst/>
              <a:ahLst/>
              <a:cxnLst/>
              <a:rect l="l" t="t" r="r" b="b"/>
              <a:pathLst>
                <a:path w="434661" h="573530" extrusionOk="0">
                  <a:moveTo>
                    <a:pt x="430380" y="417373"/>
                  </a:moveTo>
                  <a:cubicBezTo>
                    <a:pt x="427840" y="354508"/>
                    <a:pt x="363705" y="334823"/>
                    <a:pt x="311635" y="329743"/>
                  </a:cubicBezTo>
                  <a:cubicBezTo>
                    <a:pt x="264010" y="315138"/>
                    <a:pt x="297665" y="236398"/>
                    <a:pt x="288775" y="197028"/>
                  </a:cubicBezTo>
                  <a:cubicBezTo>
                    <a:pt x="290680" y="118923"/>
                    <a:pt x="325605" y="15418"/>
                    <a:pt x="217655" y="178"/>
                  </a:cubicBezTo>
                  <a:cubicBezTo>
                    <a:pt x="211305" y="-1092"/>
                    <a:pt x="199875" y="4623"/>
                    <a:pt x="202415" y="11608"/>
                  </a:cubicBezTo>
                  <a:cubicBezTo>
                    <a:pt x="207495" y="87808"/>
                    <a:pt x="223370" y="169088"/>
                    <a:pt x="197335" y="242748"/>
                  </a:cubicBezTo>
                  <a:cubicBezTo>
                    <a:pt x="158600" y="220523"/>
                    <a:pt x="52555" y="59868"/>
                    <a:pt x="24615" y="87173"/>
                  </a:cubicBezTo>
                  <a:cubicBezTo>
                    <a:pt x="-68095" y="172263"/>
                    <a:pt x="127485" y="297993"/>
                    <a:pt x="175745" y="366573"/>
                  </a:cubicBezTo>
                  <a:cubicBezTo>
                    <a:pt x="205590" y="403403"/>
                    <a:pt x="41760" y="420548"/>
                    <a:pt x="141455" y="548818"/>
                  </a:cubicBezTo>
                  <a:cubicBezTo>
                    <a:pt x="221465" y="630733"/>
                    <a:pt x="298935" y="488493"/>
                    <a:pt x="240515" y="419913"/>
                  </a:cubicBezTo>
                  <a:cubicBezTo>
                    <a:pt x="234165" y="409753"/>
                    <a:pt x="241150" y="384353"/>
                    <a:pt x="256390" y="395148"/>
                  </a:cubicBezTo>
                  <a:cubicBezTo>
                    <a:pt x="288775" y="436423"/>
                    <a:pt x="313540" y="498653"/>
                    <a:pt x="379580" y="489128"/>
                  </a:cubicBezTo>
                  <a:cubicBezTo>
                    <a:pt x="412600" y="482778"/>
                    <a:pt x="446890" y="451028"/>
                    <a:pt x="430380" y="417373"/>
                  </a:cubicBezTo>
                  <a:close/>
                  <a:moveTo>
                    <a:pt x="227180" y="242748"/>
                  </a:moveTo>
                  <a:cubicBezTo>
                    <a:pt x="237975" y="171628"/>
                    <a:pt x="223370" y="100508"/>
                    <a:pt x="232260" y="30023"/>
                  </a:cubicBezTo>
                  <a:cubicBezTo>
                    <a:pt x="277980" y="26213"/>
                    <a:pt x="280520" y="81458"/>
                    <a:pt x="275440" y="113843"/>
                  </a:cubicBezTo>
                  <a:cubicBezTo>
                    <a:pt x="264645" y="171628"/>
                    <a:pt x="276075" y="233858"/>
                    <a:pt x="262105" y="290373"/>
                  </a:cubicBezTo>
                  <a:cubicBezTo>
                    <a:pt x="234800" y="280848"/>
                    <a:pt x="224640" y="268148"/>
                    <a:pt x="227180" y="242748"/>
                  </a:cubicBezTo>
                  <a:close/>
                  <a:moveTo>
                    <a:pt x="152885" y="518338"/>
                  </a:moveTo>
                  <a:cubicBezTo>
                    <a:pt x="152885" y="518338"/>
                    <a:pt x="152885" y="517703"/>
                    <a:pt x="152250" y="517703"/>
                  </a:cubicBezTo>
                  <a:cubicBezTo>
                    <a:pt x="95735" y="500558"/>
                    <a:pt x="151615" y="386258"/>
                    <a:pt x="202415" y="423088"/>
                  </a:cubicBezTo>
                  <a:cubicBezTo>
                    <a:pt x="199240" y="431978"/>
                    <a:pt x="190985" y="433883"/>
                    <a:pt x="182730" y="436423"/>
                  </a:cubicBezTo>
                  <a:cubicBezTo>
                    <a:pt x="152885" y="442773"/>
                    <a:pt x="133835" y="484683"/>
                    <a:pt x="152885" y="518338"/>
                  </a:cubicBezTo>
                  <a:cubicBezTo>
                    <a:pt x="152885" y="518338"/>
                    <a:pt x="152885" y="518338"/>
                    <a:pt x="152885" y="518338"/>
                  </a:cubicBezTo>
                  <a:close/>
                  <a:moveTo>
                    <a:pt x="211305" y="402133"/>
                  </a:moveTo>
                  <a:cubicBezTo>
                    <a:pt x="200510" y="403403"/>
                    <a:pt x="196065" y="378003"/>
                    <a:pt x="209400" y="376733"/>
                  </a:cubicBezTo>
                  <a:cubicBezTo>
                    <a:pt x="225910" y="374828"/>
                    <a:pt x="228450" y="402133"/>
                    <a:pt x="211305" y="402133"/>
                  </a:cubicBezTo>
                  <a:close/>
                  <a:moveTo>
                    <a:pt x="235435" y="458648"/>
                  </a:moveTo>
                  <a:cubicBezTo>
                    <a:pt x="227180" y="451663"/>
                    <a:pt x="220830" y="444043"/>
                    <a:pt x="220195" y="433248"/>
                  </a:cubicBezTo>
                  <a:cubicBezTo>
                    <a:pt x="237340" y="439598"/>
                    <a:pt x="237340" y="439598"/>
                    <a:pt x="235435" y="458648"/>
                  </a:cubicBezTo>
                  <a:close/>
                  <a:moveTo>
                    <a:pt x="177015" y="545008"/>
                  </a:moveTo>
                  <a:cubicBezTo>
                    <a:pt x="180825" y="545008"/>
                    <a:pt x="184000" y="545643"/>
                    <a:pt x="188445" y="545643"/>
                  </a:cubicBezTo>
                  <a:cubicBezTo>
                    <a:pt x="187175" y="555168"/>
                    <a:pt x="175110" y="553263"/>
                    <a:pt x="177015" y="545008"/>
                  </a:cubicBezTo>
                  <a:close/>
                  <a:moveTo>
                    <a:pt x="164950" y="510718"/>
                  </a:moveTo>
                  <a:cubicBezTo>
                    <a:pt x="148440" y="469443"/>
                    <a:pt x="209400" y="428803"/>
                    <a:pt x="222735" y="484048"/>
                  </a:cubicBezTo>
                  <a:cubicBezTo>
                    <a:pt x="217020" y="511988"/>
                    <a:pt x="186540" y="543738"/>
                    <a:pt x="164950" y="510718"/>
                  </a:cubicBezTo>
                  <a:close/>
                  <a:moveTo>
                    <a:pt x="241150" y="477698"/>
                  </a:moveTo>
                  <a:cubicBezTo>
                    <a:pt x="247500" y="493573"/>
                    <a:pt x="240515" y="504368"/>
                    <a:pt x="241785" y="515163"/>
                  </a:cubicBezTo>
                  <a:cubicBezTo>
                    <a:pt x="240515" y="504368"/>
                    <a:pt x="236070" y="493573"/>
                    <a:pt x="241150" y="477698"/>
                  </a:cubicBezTo>
                  <a:close/>
                  <a:moveTo>
                    <a:pt x="242420" y="515163"/>
                  </a:moveTo>
                  <a:cubicBezTo>
                    <a:pt x="237975" y="520878"/>
                    <a:pt x="233530" y="526593"/>
                    <a:pt x="228450" y="532943"/>
                  </a:cubicBezTo>
                  <a:cubicBezTo>
                    <a:pt x="229085" y="513893"/>
                    <a:pt x="229085" y="513893"/>
                    <a:pt x="242420" y="515163"/>
                  </a:cubicBezTo>
                  <a:close/>
                  <a:moveTo>
                    <a:pt x="27155" y="113208"/>
                  </a:moveTo>
                  <a:cubicBezTo>
                    <a:pt x="65890" y="91618"/>
                    <a:pt x="171300" y="284658"/>
                    <a:pt x="220195" y="293548"/>
                  </a:cubicBezTo>
                  <a:lnTo>
                    <a:pt x="219560" y="300533"/>
                  </a:lnTo>
                  <a:cubicBezTo>
                    <a:pt x="140185" y="304978"/>
                    <a:pt x="221465" y="384353"/>
                    <a:pt x="237340" y="308788"/>
                  </a:cubicBezTo>
                  <a:cubicBezTo>
                    <a:pt x="257025" y="318313"/>
                    <a:pt x="270995" y="334188"/>
                    <a:pt x="287505" y="345618"/>
                  </a:cubicBezTo>
                  <a:cubicBezTo>
                    <a:pt x="250675" y="449123"/>
                    <a:pt x="-15390" y="171628"/>
                    <a:pt x="27155" y="113208"/>
                  </a:cubicBezTo>
                  <a:close/>
                  <a:moveTo>
                    <a:pt x="361165" y="474523"/>
                  </a:moveTo>
                  <a:cubicBezTo>
                    <a:pt x="306555" y="467538"/>
                    <a:pt x="248770" y="360858"/>
                    <a:pt x="328780" y="350063"/>
                  </a:cubicBezTo>
                  <a:cubicBezTo>
                    <a:pt x="400535" y="349428"/>
                    <a:pt x="460860" y="469443"/>
                    <a:pt x="361165" y="474523"/>
                  </a:cubicBezTo>
                  <a:close/>
                  <a:moveTo>
                    <a:pt x="305285" y="380543"/>
                  </a:moveTo>
                  <a:cubicBezTo>
                    <a:pt x="314810" y="401498"/>
                    <a:pt x="324970" y="421818"/>
                    <a:pt x="340845" y="439598"/>
                  </a:cubicBezTo>
                  <a:cubicBezTo>
                    <a:pt x="368785" y="464363"/>
                    <a:pt x="409425" y="441503"/>
                    <a:pt x="387835" y="405308"/>
                  </a:cubicBezTo>
                  <a:cubicBezTo>
                    <a:pt x="365610" y="382448"/>
                    <a:pt x="336400" y="346888"/>
                    <a:pt x="305285" y="380543"/>
                  </a:cubicBezTo>
                  <a:close/>
                  <a:moveTo>
                    <a:pt x="368785" y="429438"/>
                  </a:moveTo>
                  <a:cubicBezTo>
                    <a:pt x="350370" y="433248"/>
                    <a:pt x="342115" y="409118"/>
                    <a:pt x="336400" y="390068"/>
                  </a:cubicBezTo>
                  <a:cubicBezTo>
                    <a:pt x="355450" y="395148"/>
                    <a:pt x="378310" y="411658"/>
                    <a:pt x="368785" y="42943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7" name="Google Shape;457;p8">
              <a:extLst>
                <a:ext uri="{FF2B5EF4-FFF2-40B4-BE49-F238E27FC236}">
                  <a16:creationId xmlns:a16="http://schemas.microsoft.com/office/drawing/2014/main" id="{C9486BE3-4E3B-4C58-A77A-744CDAC1B7B6}"/>
                </a:ext>
              </a:extLst>
            </p:cNvPr>
            <p:cNvSpPr/>
            <p:nvPr/>
          </p:nvSpPr>
          <p:spPr>
            <a:xfrm>
              <a:off x="7556769" y="607048"/>
              <a:ext cx="402022" cy="236475"/>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28" name="Google Shape;458;p8">
              <a:extLst>
                <a:ext uri="{FF2B5EF4-FFF2-40B4-BE49-F238E27FC236}">
                  <a16:creationId xmlns:a16="http://schemas.microsoft.com/office/drawing/2014/main" id="{3C6F0935-C1C0-463D-A543-D7A18AF418BF}"/>
                </a:ext>
              </a:extLst>
            </p:cNvPr>
            <p:cNvGrpSpPr/>
            <p:nvPr/>
          </p:nvGrpSpPr>
          <p:grpSpPr>
            <a:xfrm rot="890855">
              <a:off x="3181660" y="515636"/>
              <a:ext cx="370663" cy="217580"/>
              <a:chOff x="1429156" y="1387535"/>
              <a:chExt cx="657769" cy="386112"/>
            </a:xfrm>
          </p:grpSpPr>
          <p:sp>
            <p:nvSpPr>
              <p:cNvPr id="65" name="Google Shape;459;p8">
                <a:extLst>
                  <a:ext uri="{FF2B5EF4-FFF2-40B4-BE49-F238E27FC236}">
                    <a16:creationId xmlns:a16="http://schemas.microsoft.com/office/drawing/2014/main" id="{398577B8-887D-49A3-BAB5-913FE53A8C39}"/>
                  </a:ext>
                </a:extLst>
              </p:cNvPr>
              <p:cNvSpPr/>
              <p:nvPr/>
            </p:nvSpPr>
            <p:spPr>
              <a:xfrm>
                <a:off x="1429156" y="1387535"/>
                <a:ext cx="657769" cy="386112"/>
              </a:xfrm>
              <a:custGeom>
                <a:avLst/>
                <a:gdLst/>
                <a:ahLst/>
                <a:cxnLst/>
                <a:rect l="l" t="t" r="r" b="b"/>
                <a:pathLst>
                  <a:path w="764848" h="448968" extrusionOk="0">
                    <a:moveTo>
                      <a:pt x="741700" y="448969"/>
                    </a:moveTo>
                    <a:cubicBezTo>
                      <a:pt x="719475" y="440079"/>
                      <a:pt x="715030" y="440714"/>
                      <a:pt x="686455" y="443889"/>
                    </a:cubicBezTo>
                    <a:cubicBezTo>
                      <a:pt x="552470" y="455319"/>
                      <a:pt x="419120" y="428649"/>
                      <a:pt x="285770" y="436269"/>
                    </a:cubicBezTo>
                    <a:cubicBezTo>
                      <a:pt x="193060" y="430554"/>
                      <a:pt x="98445" y="428649"/>
                      <a:pt x="6370" y="441349"/>
                    </a:cubicBezTo>
                    <a:cubicBezTo>
                      <a:pt x="-45700" y="400709"/>
                      <a:pt x="237510" y="281329"/>
                      <a:pt x="273070" y="259739"/>
                    </a:cubicBezTo>
                    <a:cubicBezTo>
                      <a:pt x="431820" y="183539"/>
                      <a:pt x="582950" y="91464"/>
                      <a:pt x="735985" y="3834"/>
                    </a:cubicBezTo>
                    <a:cubicBezTo>
                      <a:pt x="748685" y="-3786"/>
                      <a:pt x="759480" y="24"/>
                      <a:pt x="761385" y="14629"/>
                    </a:cubicBezTo>
                    <a:cubicBezTo>
                      <a:pt x="772180" y="114324"/>
                      <a:pt x="753765" y="215924"/>
                      <a:pt x="759480" y="316889"/>
                    </a:cubicBezTo>
                    <a:cubicBezTo>
                      <a:pt x="752495" y="359434"/>
                      <a:pt x="769640" y="414044"/>
                      <a:pt x="741700" y="448969"/>
                    </a:cubicBezTo>
                    <a:close/>
                    <a:moveTo>
                      <a:pt x="615970" y="418489"/>
                    </a:moveTo>
                    <a:cubicBezTo>
                      <a:pt x="647720" y="425474"/>
                      <a:pt x="636290" y="413409"/>
                      <a:pt x="645815" y="393724"/>
                    </a:cubicBezTo>
                    <a:cubicBezTo>
                      <a:pt x="661690" y="396264"/>
                      <a:pt x="657880" y="414044"/>
                      <a:pt x="669945" y="421029"/>
                    </a:cubicBezTo>
                    <a:cubicBezTo>
                      <a:pt x="675660" y="420394"/>
                      <a:pt x="682645" y="420394"/>
                      <a:pt x="690900" y="419759"/>
                    </a:cubicBezTo>
                    <a:cubicBezTo>
                      <a:pt x="692170" y="410234"/>
                      <a:pt x="692805" y="402614"/>
                      <a:pt x="694075" y="394994"/>
                    </a:cubicBezTo>
                    <a:cubicBezTo>
                      <a:pt x="703600" y="394994"/>
                      <a:pt x="705505" y="401979"/>
                      <a:pt x="708680" y="407059"/>
                    </a:cubicBezTo>
                    <a:cubicBezTo>
                      <a:pt x="718205" y="421664"/>
                      <a:pt x="735350" y="405154"/>
                      <a:pt x="734080" y="391819"/>
                    </a:cubicBezTo>
                    <a:cubicBezTo>
                      <a:pt x="734715" y="274344"/>
                      <a:pt x="747415" y="153059"/>
                      <a:pt x="738525" y="37489"/>
                    </a:cubicBezTo>
                    <a:cubicBezTo>
                      <a:pt x="616605" y="87019"/>
                      <a:pt x="508020" y="171474"/>
                      <a:pt x="388005" y="229259"/>
                    </a:cubicBezTo>
                    <a:cubicBezTo>
                      <a:pt x="278785" y="288314"/>
                      <a:pt x="157500" y="328954"/>
                      <a:pt x="59710" y="406424"/>
                    </a:cubicBezTo>
                    <a:cubicBezTo>
                      <a:pt x="81300" y="415949"/>
                      <a:pt x="101620" y="415949"/>
                      <a:pt x="122575" y="412139"/>
                    </a:cubicBezTo>
                    <a:cubicBezTo>
                      <a:pt x="125115" y="401344"/>
                      <a:pt x="127020" y="392454"/>
                      <a:pt x="128925" y="383564"/>
                    </a:cubicBezTo>
                    <a:cubicBezTo>
                      <a:pt x="154325" y="379119"/>
                      <a:pt x="141625" y="432459"/>
                      <a:pt x="165120" y="404519"/>
                    </a:cubicBezTo>
                    <a:cubicBezTo>
                      <a:pt x="167025" y="400074"/>
                      <a:pt x="165755" y="393724"/>
                      <a:pt x="174010" y="391819"/>
                    </a:cubicBezTo>
                    <a:cubicBezTo>
                      <a:pt x="194965" y="416584"/>
                      <a:pt x="208935" y="421664"/>
                      <a:pt x="221000" y="386104"/>
                    </a:cubicBezTo>
                    <a:cubicBezTo>
                      <a:pt x="238145" y="394994"/>
                      <a:pt x="238780" y="428649"/>
                      <a:pt x="264180" y="408964"/>
                    </a:cubicBezTo>
                    <a:cubicBezTo>
                      <a:pt x="266085" y="401344"/>
                      <a:pt x="267990" y="393724"/>
                      <a:pt x="269895" y="385469"/>
                    </a:cubicBezTo>
                    <a:cubicBezTo>
                      <a:pt x="286405" y="388644"/>
                      <a:pt x="279420" y="407059"/>
                      <a:pt x="292755" y="414044"/>
                    </a:cubicBezTo>
                    <a:cubicBezTo>
                      <a:pt x="299105" y="413409"/>
                      <a:pt x="308630" y="412774"/>
                      <a:pt x="314345" y="412139"/>
                    </a:cubicBezTo>
                    <a:cubicBezTo>
                      <a:pt x="323870" y="404519"/>
                      <a:pt x="314980" y="392454"/>
                      <a:pt x="327045" y="388644"/>
                    </a:cubicBezTo>
                    <a:cubicBezTo>
                      <a:pt x="339745" y="400709"/>
                      <a:pt x="348635" y="422934"/>
                      <a:pt x="374670" y="409599"/>
                    </a:cubicBezTo>
                    <a:cubicBezTo>
                      <a:pt x="374035" y="400709"/>
                      <a:pt x="373400" y="391819"/>
                      <a:pt x="372765" y="379119"/>
                    </a:cubicBezTo>
                    <a:cubicBezTo>
                      <a:pt x="405785" y="384199"/>
                      <a:pt x="385465" y="430554"/>
                      <a:pt x="425470" y="414679"/>
                    </a:cubicBezTo>
                    <a:cubicBezTo>
                      <a:pt x="429915" y="409599"/>
                      <a:pt x="424200" y="399439"/>
                      <a:pt x="434360" y="394994"/>
                    </a:cubicBezTo>
                    <a:cubicBezTo>
                      <a:pt x="445790" y="408329"/>
                      <a:pt x="454045" y="430554"/>
                      <a:pt x="478810" y="416584"/>
                    </a:cubicBezTo>
                    <a:cubicBezTo>
                      <a:pt x="485160" y="407694"/>
                      <a:pt x="473730" y="396264"/>
                      <a:pt x="483890" y="386739"/>
                    </a:cubicBezTo>
                    <a:cubicBezTo>
                      <a:pt x="503575" y="401344"/>
                      <a:pt x="502940" y="441984"/>
                      <a:pt x="535325" y="421029"/>
                    </a:cubicBezTo>
                    <a:cubicBezTo>
                      <a:pt x="535960" y="410234"/>
                      <a:pt x="536595" y="398804"/>
                      <a:pt x="537865" y="386739"/>
                    </a:cubicBezTo>
                    <a:cubicBezTo>
                      <a:pt x="560090" y="389914"/>
                      <a:pt x="549295" y="410869"/>
                      <a:pt x="561360" y="421029"/>
                    </a:cubicBezTo>
                    <a:cubicBezTo>
                      <a:pt x="600730" y="433094"/>
                      <a:pt x="587395" y="409599"/>
                      <a:pt x="600095" y="388009"/>
                    </a:cubicBezTo>
                    <a:cubicBezTo>
                      <a:pt x="605810" y="398169"/>
                      <a:pt x="610255" y="407059"/>
                      <a:pt x="615970" y="41848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6" name="Google Shape;460;p8">
                <a:extLst>
                  <a:ext uri="{FF2B5EF4-FFF2-40B4-BE49-F238E27FC236}">
                    <a16:creationId xmlns:a16="http://schemas.microsoft.com/office/drawing/2014/main" id="{EFA2CCDF-E88F-49CB-8522-55A21ECFC218}"/>
                  </a:ext>
                </a:extLst>
              </p:cNvPr>
              <p:cNvSpPr/>
              <p:nvPr/>
            </p:nvSpPr>
            <p:spPr>
              <a:xfrm>
                <a:off x="1703617" y="1534561"/>
                <a:ext cx="308110" cy="146566"/>
              </a:xfrm>
              <a:custGeom>
                <a:avLst/>
                <a:gdLst/>
                <a:ahLst/>
                <a:cxnLst/>
                <a:rect l="l" t="t" r="r" b="b"/>
                <a:pathLst>
                  <a:path w="358267" h="170426" extrusionOk="0">
                    <a:moveTo>
                      <a:pt x="331351" y="0"/>
                    </a:moveTo>
                    <a:cubicBezTo>
                      <a:pt x="385326" y="29845"/>
                      <a:pt x="340241" y="100330"/>
                      <a:pt x="347226" y="149860"/>
                    </a:cubicBezTo>
                    <a:cubicBezTo>
                      <a:pt x="345956" y="186690"/>
                      <a:pt x="250706" y="162560"/>
                      <a:pt x="222766" y="163830"/>
                    </a:cubicBezTo>
                    <a:cubicBezTo>
                      <a:pt x="152281" y="173990"/>
                      <a:pt x="81796" y="159385"/>
                      <a:pt x="10676" y="165735"/>
                    </a:cubicBezTo>
                    <a:cubicBezTo>
                      <a:pt x="-67429" y="148590"/>
                      <a:pt x="307856" y="15240"/>
                      <a:pt x="331351" y="0"/>
                    </a:cubicBezTo>
                    <a:close/>
                    <a:moveTo>
                      <a:pt x="331986" y="27305"/>
                    </a:moveTo>
                    <a:cubicBezTo>
                      <a:pt x="281821" y="40005"/>
                      <a:pt x="86241" y="122555"/>
                      <a:pt x="64651" y="139700"/>
                    </a:cubicBezTo>
                    <a:cubicBezTo>
                      <a:pt x="146566" y="156845"/>
                      <a:pt x="236736" y="147955"/>
                      <a:pt x="321191" y="142875"/>
                    </a:cubicBezTo>
                    <a:cubicBezTo>
                      <a:pt x="327541" y="104140"/>
                      <a:pt x="333891" y="66675"/>
                      <a:pt x="331986" y="273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29" name="Google Shape;461;p8">
              <a:extLst>
                <a:ext uri="{FF2B5EF4-FFF2-40B4-BE49-F238E27FC236}">
                  <a16:creationId xmlns:a16="http://schemas.microsoft.com/office/drawing/2014/main" id="{B70BC019-5B58-4937-8117-6773BDC0F1EF}"/>
                </a:ext>
              </a:extLst>
            </p:cNvPr>
            <p:cNvSpPr/>
            <p:nvPr/>
          </p:nvSpPr>
          <p:spPr>
            <a:xfrm rot="-2499483">
              <a:off x="4165391" y="919169"/>
              <a:ext cx="428994" cy="113072"/>
            </a:xfrm>
            <a:custGeom>
              <a:avLst/>
              <a:gdLst/>
              <a:ahLst/>
              <a:cxnLst/>
              <a:rect l="l" t="t" r="r" b="b"/>
              <a:pathLst>
                <a:path w="884171" h="233045" extrusionOk="0">
                  <a:moveTo>
                    <a:pt x="857928" y="0"/>
                  </a:moveTo>
                  <a:cubicBezTo>
                    <a:pt x="574717" y="35560"/>
                    <a:pt x="287698" y="28575"/>
                    <a:pt x="3218" y="62230"/>
                  </a:cubicBezTo>
                  <a:cubicBezTo>
                    <a:pt x="6393" y="102870"/>
                    <a:pt x="-13927" y="213360"/>
                    <a:pt x="19727" y="233045"/>
                  </a:cubicBezTo>
                  <a:cubicBezTo>
                    <a:pt x="151173" y="226695"/>
                    <a:pt x="281348" y="213995"/>
                    <a:pt x="413427" y="214630"/>
                  </a:cubicBezTo>
                  <a:cubicBezTo>
                    <a:pt x="563923" y="219075"/>
                    <a:pt x="715053" y="208280"/>
                    <a:pt x="865548" y="195580"/>
                  </a:cubicBezTo>
                  <a:cubicBezTo>
                    <a:pt x="899203" y="207010"/>
                    <a:pt x="881423" y="5080"/>
                    <a:pt x="857928" y="0"/>
                  </a:cubicBezTo>
                  <a:close/>
                  <a:moveTo>
                    <a:pt x="860467" y="169545"/>
                  </a:moveTo>
                  <a:cubicBezTo>
                    <a:pt x="825542" y="180340"/>
                    <a:pt x="790617" y="177165"/>
                    <a:pt x="756328" y="185420"/>
                  </a:cubicBezTo>
                  <a:cubicBezTo>
                    <a:pt x="748707" y="175260"/>
                    <a:pt x="742357" y="167005"/>
                    <a:pt x="735373" y="157480"/>
                  </a:cubicBezTo>
                  <a:cubicBezTo>
                    <a:pt x="723942" y="175260"/>
                    <a:pt x="730928" y="186690"/>
                    <a:pt x="703623" y="183515"/>
                  </a:cubicBezTo>
                  <a:cubicBezTo>
                    <a:pt x="699813" y="175895"/>
                    <a:pt x="695367" y="168275"/>
                    <a:pt x="690923" y="160020"/>
                  </a:cubicBezTo>
                  <a:cubicBezTo>
                    <a:pt x="677588" y="164465"/>
                    <a:pt x="685842" y="179070"/>
                    <a:pt x="676317" y="184150"/>
                  </a:cubicBezTo>
                  <a:cubicBezTo>
                    <a:pt x="662982" y="182245"/>
                    <a:pt x="673778" y="159385"/>
                    <a:pt x="654092" y="161290"/>
                  </a:cubicBezTo>
                  <a:cubicBezTo>
                    <a:pt x="652188" y="168910"/>
                    <a:pt x="649648" y="177800"/>
                    <a:pt x="647742" y="186690"/>
                  </a:cubicBezTo>
                  <a:cubicBezTo>
                    <a:pt x="598213" y="209550"/>
                    <a:pt x="632503" y="132080"/>
                    <a:pt x="597578" y="128270"/>
                  </a:cubicBezTo>
                  <a:cubicBezTo>
                    <a:pt x="574717" y="146050"/>
                    <a:pt x="625517" y="198120"/>
                    <a:pt x="575988" y="194310"/>
                  </a:cubicBezTo>
                  <a:cubicBezTo>
                    <a:pt x="571542" y="184150"/>
                    <a:pt x="566463" y="172720"/>
                    <a:pt x="561382" y="160020"/>
                  </a:cubicBezTo>
                  <a:cubicBezTo>
                    <a:pt x="548682" y="168910"/>
                    <a:pt x="555667" y="180975"/>
                    <a:pt x="551223" y="189865"/>
                  </a:cubicBezTo>
                  <a:cubicBezTo>
                    <a:pt x="527727" y="199390"/>
                    <a:pt x="528363" y="180340"/>
                    <a:pt x="515663" y="167640"/>
                  </a:cubicBezTo>
                  <a:cubicBezTo>
                    <a:pt x="506138" y="172720"/>
                    <a:pt x="510582" y="179070"/>
                    <a:pt x="509948" y="184785"/>
                  </a:cubicBezTo>
                  <a:cubicBezTo>
                    <a:pt x="503598" y="211455"/>
                    <a:pt x="478832" y="184150"/>
                    <a:pt x="477563" y="168275"/>
                  </a:cubicBezTo>
                  <a:cubicBezTo>
                    <a:pt x="475657" y="168275"/>
                    <a:pt x="473118" y="168910"/>
                    <a:pt x="471213" y="168910"/>
                  </a:cubicBezTo>
                  <a:cubicBezTo>
                    <a:pt x="468673" y="176530"/>
                    <a:pt x="468038" y="185420"/>
                    <a:pt x="468673" y="192405"/>
                  </a:cubicBezTo>
                  <a:cubicBezTo>
                    <a:pt x="419143" y="222885"/>
                    <a:pt x="449623" y="139065"/>
                    <a:pt x="420413" y="134620"/>
                  </a:cubicBezTo>
                  <a:cubicBezTo>
                    <a:pt x="403268" y="157480"/>
                    <a:pt x="441368" y="204470"/>
                    <a:pt x="384852" y="194310"/>
                  </a:cubicBezTo>
                  <a:cubicBezTo>
                    <a:pt x="379773" y="186690"/>
                    <a:pt x="374057" y="178435"/>
                    <a:pt x="367707" y="168910"/>
                  </a:cubicBezTo>
                  <a:cubicBezTo>
                    <a:pt x="355643" y="175260"/>
                    <a:pt x="365802" y="188595"/>
                    <a:pt x="356277" y="194310"/>
                  </a:cubicBezTo>
                  <a:cubicBezTo>
                    <a:pt x="341038" y="190500"/>
                    <a:pt x="348023" y="171450"/>
                    <a:pt x="337227" y="164465"/>
                  </a:cubicBezTo>
                  <a:cubicBezTo>
                    <a:pt x="323893" y="161290"/>
                    <a:pt x="327702" y="179705"/>
                    <a:pt x="325798" y="187960"/>
                  </a:cubicBezTo>
                  <a:cubicBezTo>
                    <a:pt x="311827" y="185420"/>
                    <a:pt x="316907" y="161290"/>
                    <a:pt x="299763" y="167640"/>
                  </a:cubicBezTo>
                  <a:cubicBezTo>
                    <a:pt x="299127" y="175260"/>
                    <a:pt x="298493" y="183515"/>
                    <a:pt x="297857" y="193040"/>
                  </a:cubicBezTo>
                  <a:cubicBezTo>
                    <a:pt x="284523" y="198120"/>
                    <a:pt x="270552" y="196215"/>
                    <a:pt x="255313" y="193675"/>
                  </a:cubicBezTo>
                  <a:cubicBezTo>
                    <a:pt x="253407" y="123190"/>
                    <a:pt x="226102" y="121285"/>
                    <a:pt x="228643" y="193675"/>
                  </a:cubicBezTo>
                  <a:cubicBezTo>
                    <a:pt x="208957" y="210185"/>
                    <a:pt x="200068" y="191770"/>
                    <a:pt x="189907" y="181610"/>
                  </a:cubicBezTo>
                  <a:cubicBezTo>
                    <a:pt x="187368" y="183515"/>
                    <a:pt x="184827" y="184150"/>
                    <a:pt x="184193" y="185420"/>
                  </a:cubicBezTo>
                  <a:cubicBezTo>
                    <a:pt x="179748" y="215265"/>
                    <a:pt x="160063" y="195580"/>
                    <a:pt x="153713" y="178435"/>
                  </a:cubicBezTo>
                  <a:cubicBezTo>
                    <a:pt x="136568" y="176530"/>
                    <a:pt x="152443" y="219075"/>
                    <a:pt x="127043" y="200025"/>
                  </a:cubicBezTo>
                  <a:cubicBezTo>
                    <a:pt x="124502" y="193040"/>
                    <a:pt x="122598" y="184150"/>
                    <a:pt x="116248" y="179070"/>
                  </a:cubicBezTo>
                  <a:cubicBezTo>
                    <a:pt x="104818" y="182245"/>
                    <a:pt x="108627" y="191135"/>
                    <a:pt x="106088" y="197485"/>
                  </a:cubicBezTo>
                  <a:cubicBezTo>
                    <a:pt x="76877" y="236855"/>
                    <a:pt x="86402" y="157480"/>
                    <a:pt x="76877" y="144780"/>
                  </a:cubicBezTo>
                  <a:cubicBezTo>
                    <a:pt x="43857" y="125095"/>
                    <a:pt x="66718" y="187325"/>
                    <a:pt x="62273" y="203200"/>
                  </a:cubicBezTo>
                  <a:cubicBezTo>
                    <a:pt x="52113" y="213360"/>
                    <a:pt x="41318" y="208280"/>
                    <a:pt x="29888" y="208280"/>
                  </a:cubicBezTo>
                  <a:cubicBezTo>
                    <a:pt x="26077" y="177165"/>
                    <a:pt x="5123" y="95250"/>
                    <a:pt x="35602" y="78740"/>
                  </a:cubicBezTo>
                  <a:cubicBezTo>
                    <a:pt x="133393" y="58420"/>
                    <a:pt x="233723" y="57785"/>
                    <a:pt x="333418" y="53975"/>
                  </a:cubicBezTo>
                  <a:cubicBezTo>
                    <a:pt x="505502" y="41910"/>
                    <a:pt x="680763" y="26670"/>
                    <a:pt x="852213" y="30480"/>
                  </a:cubicBezTo>
                  <a:cubicBezTo>
                    <a:pt x="863007" y="74930"/>
                    <a:pt x="864913" y="125730"/>
                    <a:pt x="860467" y="169545"/>
                  </a:cubicBezTo>
                  <a:close/>
                  <a:moveTo>
                    <a:pt x="776648" y="102235"/>
                  </a:moveTo>
                  <a:cubicBezTo>
                    <a:pt x="776648" y="144780"/>
                    <a:pt x="831892" y="132080"/>
                    <a:pt x="839513" y="100965"/>
                  </a:cubicBezTo>
                  <a:cubicBezTo>
                    <a:pt x="838878" y="50800"/>
                    <a:pt x="779188" y="59055"/>
                    <a:pt x="776648" y="102235"/>
                  </a:cubicBezTo>
                  <a:close/>
                  <a:moveTo>
                    <a:pt x="796967" y="102235"/>
                  </a:moveTo>
                  <a:cubicBezTo>
                    <a:pt x="799507" y="89535"/>
                    <a:pt x="809032" y="91440"/>
                    <a:pt x="817288" y="101600"/>
                  </a:cubicBezTo>
                  <a:cubicBezTo>
                    <a:pt x="809032" y="107315"/>
                    <a:pt x="796332" y="116205"/>
                    <a:pt x="796967" y="10223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0" name="Google Shape;462;p8">
              <a:extLst>
                <a:ext uri="{FF2B5EF4-FFF2-40B4-BE49-F238E27FC236}">
                  <a16:creationId xmlns:a16="http://schemas.microsoft.com/office/drawing/2014/main" id="{037CE266-13C0-448C-A563-1454B36CFBA4}"/>
                </a:ext>
              </a:extLst>
            </p:cNvPr>
            <p:cNvSpPr/>
            <p:nvPr/>
          </p:nvSpPr>
          <p:spPr>
            <a:xfrm>
              <a:off x="674582" y="523294"/>
              <a:ext cx="375105" cy="294447"/>
            </a:xfrm>
            <a:custGeom>
              <a:avLst/>
              <a:gdLst/>
              <a:ahLst/>
              <a:cxnLst/>
              <a:rect l="l" t="t" r="r" b="b"/>
              <a:pathLst>
                <a:path w="773413" h="607108" extrusionOk="0">
                  <a:moveTo>
                    <a:pt x="330200" y="266676"/>
                  </a:moveTo>
                  <a:cubicBezTo>
                    <a:pt x="311785" y="287631"/>
                    <a:pt x="356870" y="297791"/>
                    <a:pt x="365125" y="312396"/>
                  </a:cubicBezTo>
                  <a:cubicBezTo>
                    <a:pt x="452120" y="383516"/>
                    <a:pt x="374650" y="271121"/>
                    <a:pt x="330200" y="266676"/>
                  </a:cubicBezTo>
                  <a:close/>
                  <a:moveTo>
                    <a:pt x="345440" y="379706"/>
                  </a:moveTo>
                  <a:cubicBezTo>
                    <a:pt x="343535" y="361291"/>
                    <a:pt x="321945" y="360021"/>
                    <a:pt x="318770" y="343511"/>
                  </a:cubicBezTo>
                  <a:cubicBezTo>
                    <a:pt x="320675" y="320016"/>
                    <a:pt x="302260" y="323826"/>
                    <a:pt x="288925" y="317476"/>
                  </a:cubicBezTo>
                  <a:cubicBezTo>
                    <a:pt x="288290" y="309856"/>
                    <a:pt x="287655" y="302871"/>
                    <a:pt x="287020" y="295886"/>
                  </a:cubicBezTo>
                  <a:cubicBezTo>
                    <a:pt x="256540" y="302871"/>
                    <a:pt x="237490" y="313031"/>
                    <a:pt x="245745" y="340336"/>
                  </a:cubicBezTo>
                  <a:cubicBezTo>
                    <a:pt x="258445" y="358116"/>
                    <a:pt x="277495" y="337796"/>
                    <a:pt x="294005" y="347956"/>
                  </a:cubicBezTo>
                  <a:cubicBezTo>
                    <a:pt x="292100" y="368911"/>
                    <a:pt x="304800" y="377801"/>
                    <a:pt x="325120" y="377801"/>
                  </a:cubicBezTo>
                  <a:cubicBezTo>
                    <a:pt x="336550" y="404471"/>
                    <a:pt x="335915" y="405106"/>
                    <a:pt x="358775" y="416536"/>
                  </a:cubicBezTo>
                  <a:cubicBezTo>
                    <a:pt x="372110" y="422251"/>
                    <a:pt x="386715" y="457176"/>
                    <a:pt x="400050" y="436221"/>
                  </a:cubicBezTo>
                  <a:cubicBezTo>
                    <a:pt x="391795" y="396851"/>
                    <a:pt x="360680" y="405106"/>
                    <a:pt x="345440" y="379706"/>
                  </a:cubicBezTo>
                  <a:close/>
                  <a:moveTo>
                    <a:pt x="507365" y="428601"/>
                  </a:moveTo>
                  <a:cubicBezTo>
                    <a:pt x="495935" y="401296"/>
                    <a:pt x="474345" y="382881"/>
                    <a:pt x="453390" y="364466"/>
                  </a:cubicBezTo>
                  <a:cubicBezTo>
                    <a:pt x="431165" y="346051"/>
                    <a:pt x="431165" y="391136"/>
                    <a:pt x="451485" y="393676"/>
                  </a:cubicBezTo>
                  <a:cubicBezTo>
                    <a:pt x="487045" y="408916"/>
                    <a:pt x="488315" y="451461"/>
                    <a:pt x="525145" y="467336"/>
                  </a:cubicBezTo>
                  <a:cubicBezTo>
                    <a:pt x="542925" y="447651"/>
                    <a:pt x="513715" y="441301"/>
                    <a:pt x="507365" y="428601"/>
                  </a:cubicBezTo>
                  <a:close/>
                  <a:moveTo>
                    <a:pt x="504825" y="315571"/>
                  </a:moveTo>
                  <a:cubicBezTo>
                    <a:pt x="500380" y="301601"/>
                    <a:pt x="481965" y="299061"/>
                    <a:pt x="480060" y="284456"/>
                  </a:cubicBezTo>
                  <a:cubicBezTo>
                    <a:pt x="474980" y="258421"/>
                    <a:pt x="442595" y="265406"/>
                    <a:pt x="434340" y="241276"/>
                  </a:cubicBezTo>
                  <a:cubicBezTo>
                    <a:pt x="421005" y="238101"/>
                    <a:pt x="410210" y="251436"/>
                    <a:pt x="398145" y="240006"/>
                  </a:cubicBezTo>
                  <a:cubicBezTo>
                    <a:pt x="403860" y="233656"/>
                    <a:pt x="408940" y="232386"/>
                    <a:pt x="417195" y="228576"/>
                  </a:cubicBezTo>
                  <a:cubicBezTo>
                    <a:pt x="400050" y="175871"/>
                    <a:pt x="313690" y="272391"/>
                    <a:pt x="419735" y="267311"/>
                  </a:cubicBezTo>
                  <a:cubicBezTo>
                    <a:pt x="422275" y="289536"/>
                    <a:pt x="445770" y="278741"/>
                    <a:pt x="461645" y="288266"/>
                  </a:cubicBezTo>
                  <a:cubicBezTo>
                    <a:pt x="460375" y="315571"/>
                    <a:pt x="490855" y="330176"/>
                    <a:pt x="508000" y="347321"/>
                  </a:cubicBezTo>
                  <a:cubicBezTo>
                    <a:pt x="532130" y="360656"/>
                    <a:pt x="526415" y="399391"/>
                    <a:pt x="563245" y="392406"/>
                  </a:cubicBezTo>
                  <a:cubicBezTo>
                    <a:pt x="560070" y="370181"/>
                    <a:pt x="537210" y="365101"/>
                    <a:pt x="537210" y="340971"/>
                  </a:cubicBezTo>
                  <a:cubicBezTo>
                    <a:pt x="524510" y="334621"/>
                    <a:pt x="509270" y="329541"/>
                    <a:pt x="504825" y="315571"/>
                  </a:cubicBezTo>
                  <a:close/>
                  <a:moveTo>
                    <a:pt x="744220" y="156186"/>
                  </a:moveTo>
                  <a:cubicBezTo>
                    <a:pt x="658495" y="119991"/>
                    <a:pt x="573405" y="78081"/>
                    <a:pt x="509270" y="8231"/>
                  </a:cubicBezTo>
                  <a:cubicBezTo>
                    <a:pt x="478155" y="-22249"/>
                    <a:pt x="454660" y="40616"/>
                    <a:pt x="430530" y="55856"/>
                  </a:cubicBezTo>
                  <a:cubicBezTo>
                    <a:pt x="309880" y="170156"/>
                    <a:pt x="172720" y="286361"/>
                    <a:pt x="0" y="294616"/>
                  </a:cubicBezTo>
                  <a:cubicBezTo>
                    <a:pt x="14605" y="319381"/>
                    <a:pt x="14605" y="318746"/>
                    <a:pt x="29845" y="328271"/>
                  </a:cubicBezTo>
                  <a:cubicBezTo>
                    <a:pt x="91440" y="365736"/>
                    <a:pt x="144780" y="415901"/>
                    <a:pt x="205740" y="454001"/>
                  </a:cubicBezTo>
                  <a:cubicBezTo>
                    <a:pt x="279400" y="483211"/>
                    <a:pt x="368935" y="638786"/>
                    <a:pt x="440690" y="601322"/>
                  </a:cubicBezTo>
                  <a:cubicBezTo>
                    <a:pt x="623570" y="562586"/>
                    <a:pt x="855980" y="342876"/>
                    <a:pt x="744220" y="156186"/>
                  </a:cubicBezTo>
                  <a:close/>
                  <a:moveTo>
                    <a:pt x="412750" y="585447"/>
                  </a:moveTo>
                  <a:cubicBezTo>
                    <a:pt x="372110" y="579731"/>
                    <a:pt x="340995" y="535916"/>
                    <a:pt x="308610" y="511786"/>
                  </a:cubicBezTo>
                  <a:cubicBezTo>
                    <a:pt x="229235" y="438761"/>
                    <a:pt x="133985" y="389866"/>
                    <a:pt x="57150" y="314301"/>
                  </a:cubicBezTo>
                  <a:cubicBezTo>
                    <a:pt x="231140" y="271756"/>
                    <a:pt x="370840" y="152376"/>
                    <a:pt x="493395" y="26646"/>
                  </a:cubicBezTo>
                  <a:cubicBezTo>
                    <a:pt x="561975" y="90781"/>
                    <a:pt x="644525" y="126976"/>
                    <a:pt x="723265" y="173966"/>
                  </a:cubicBezTo>
                  <a:cubicBezTo>
                    <a:pt x="699135" y="203176"/>
                    <a:pt x="664210" y="216511"/>
                    <a:pt x="643255" y="243816"/>
                  </a:cubicBezTo>
                  <a:cubicBezTo>
                    <a:pt x="660400" y="283186"/>
                    <a:pt x="710565" y="292076"/>
                    <a:pt x="733425" y="327636"/>
                  </a:cubicBezTo>
                  <a:cubicBezTo>
                    <a:pt x="689610" y="466701"/>
                    <a:pt x="548005" y="554966"/>
                    <a:pt x="412750" y="585447"/>
                  </a:cubicBezTo>
                  <a:close/>
                  <a:moveTo>
                    <a:pt x="674370" y="250166"/>
                  </a:moveTo>
                  <a:cubicBezTo>
                    <a:pt x="697865" y="229211"/>
                    <a:pt x="714375" y="205716"/>
                    <a:pt x="743585" y="197461"/>
                  </a:cubicBezTo>
                  <a:cubicBezTo>
                    <a:pt x="744855" y="232386"/>
                    <a:pt x="751205" y="265406"/>
                    <a:pt x="738505" y="299061"/>
                  </a:cubicBezTo>
                  <a:cubicBezTo>
                    <a:pt x="712470" y="288266"/>
                    <a:pt x="697865" y="265406"/>
                    <a:pt x="674370" y="250166"/>
                  </a:cubicBezTo>
                  <a:close/>
                  <a:moveTo>
                    <a:pt x="641985" y="310491"/>
                  </a:moveTo>
                  <a:cubicBezTo>
                    <a:pt x="619760" y="306681"/>
                    <a:pt x="605790" y="289536"/>
                    <a:pt x="589280" y="280011"/>
                  </a:cubicBezTo>
                  <a:cubicBezTo>
                    <a:pt x="587375" y="270486"/>
                    <a:pt x="586105" y="263501"/>
                    <a:pt x="584835" y="255881"/>
                  </a:cubicBezTo>
                  <a:cubicBezTo>
                    <a:pt x="541020" y="246356"/>
                    <a:pt x="568960" y="223496"/>
                    <a:pt x="506095" y="215241"/>
                  </a:cubicBezTo>
                  <a:cubicBezTo>
                    <a:pt x="534670" y="166346"/>
                    <a:pt x="490220" y="189841"/>
                    <a:pt x="461645" y="186031"/>
                  </a:cubicBezTo>
                  <a:cubicBezTo>
                    <a:pt x="436245" y="172061"/>
                    <a:pt x="474345" y="158726"/>
                    <a:pt x="487045" y="156186"/>
                  </a:cubicBezTo>
                  <a:cubicBezTo>
                    <a:pt x="502920" y="130786"/>
                    <a:pt x="456565" y="133961"/>
                    <a:pt x="447040" y="148566"/>
                  </a:cubicBezTo>
                  <a:cubicBezTo>
                    <a:pt x="419100" y="174601"/>
                    <a:pt x="444500" y="210796"/>
                    <a:pt x="478790" y="206986"/>
                  </a:cubicBezTo>
                  <a:cubicBezTo>
                    <a:pt x="490855" y="245086"/>
                    <a:pt x="502285" y="234291"/>
                    <a:pt x="534670" y="244451"/>
                  </a:cubicBezTo>
                  <a:cubicBezTo>
                    <a:pt x="539115" y="264771"/>
                    <a:pt x="565785" y="269851"/>
                    <a:pt x="571500" y="292711"/>
                  </a:cubicBezTo>
                  <a:cubicBezTo>
                    <a:pt x="590550" y="305411"/>
                    <a:pt x="613410" y="332081"/>
                    <a:pt x="638175" y="329541"/>
                  </a:cubicBezTo>
                  <a:cubicBezTo>
                    <a:pt x="647700" y="327636"/>
                    <a:pt x="648335" y="313666"/>
                    <a:pt x="641985" y="31049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31" name="Google Shape;463;p8">
              <a:extLst>
                <a:ext uri="{FF2B5EF4-FFF2-40B4-BE49-F238E27FC236}">
                  <a16:creationId xmlns:a16="http://schemas.microsoft.com/office/drawing/2014/main" id="{27EDFF7F-5034-4BC9-BE8B-3E6D7C6197BC}"/>
                </a:ext>
              </a:extLst>
            </p:cNvPr>
            <p:cNvGrpSpPr/>
            <p:nvPr/>
          </p:nvGrpSpPr>
          <p:grpSpPr>
            <a:xfrm>
              <a:off x="3707787" y="505390"/>
              <a:ext cx="212392" cy="256778"/>
              <a:chOff x="1010452" y="1144365"/>
              <a:chExt cx="376916" cy="455685"/>
            </a:xfrm>
          </p:grpSpPr>
          <p:sp>
            <p:nvSpPr>
              <p:cNvPr id="63" name="Google Shape;464;p8">
                <a:extLst>
                  <a:ext uri="{FF2B5EF4-FFF2-40B4-BE49-F238E27FC236}">
                    <a16:creationId xmlns:a16="http://schemas.microsoft.com/office/drawing/2014/main" id="{2FFF5DD8-0F93-4F46-AD24-11024FDF3236}"/>
                  </a:ext>
                </a:extLst>
              </p:cNvPr>
              <p:cNvSpPr/>
              <p:nvPr/>
            </p:nvSpPr>
            <p:spPr>
              <a:xfrm>
                <a:off x="1010452" y="1144365"/>
                <a:ext cx="376916" cy="455685"/>
              </a:xfrm>
              <a:custGeom>
                <a:avLst/>
                <a:gdLst/>
                <a:ahLst/>
                <a:cxnLst/>
                <a:rect l="l" t="t" r="r" b="b"/>
                <a:pathLst>
                  <a:path w="438274" h="529866" extrusionOk="0">
                    <a:moveTo>
                      <a:pt x="42669" y="358775"/>
                    </a:moveTo>
                    <a:cubicBezTo>
                      <a:pt x="32509" y="365760"/>
                      <a:pt x="24889" y="370840"/>
                      <a:pt x="16634" y="376555"/>
                    </a:cubicBezTo>
                    <a:cubicBezTo>
                      <a:pt x="759" y="367030"/>
                      <a:pt x="-511" y="353060"/>
                      <a:pt x="124" y="337820"/>
                    </a:cubicBezTo>
                    <a:cubicBezTo>
                      <a:pt x="25524" y="336550"/>
                      <a:pt x="44574" y="340360"/>
                      <a:pt x="69339" y="353060"/>
                    </a:cubicBezTo>
                    <a:cubicBezTo>
                      <a:pt x="81404" y="349250"/>
                      <a:pt x="94739" y="345440"/>
                      <a:pt x="107439" y="340995"/>
                    </a:cubicBezTo>
                    <a:cubicBezTo>
                      <a:pt x="139189" y="224155"/>
                      <a:pt x="129029" y="254000"/>
                      <a:pt x="172209" y="186055"/>
                    </a:cubicBezTo>
                    <a:cubicBezTo>
                      <a:pt x="136014" y="133985"/>
                      <a:pt x="101089" y="64770"/>
                      <a:pt x="130934" y="0"/>
                    </a:cubicBezTo>
                    <a:cubicBezTo>
                      <a:pt x="181099" y="8255"/>
                      <a:pt x="230629" y="101600"/>
                      <a:pt x="237614" y="151130"/>
                    </a:cubicBezTo>
                    <a:cubicBezTo>
                      <a:pt x="282699" y="160020"/>
                      <a:pt x="330324" y="148590"/>
                      <a:pt x="366519" y="186055"/>
                    </a:cubicBezTo>
                    <a:cubicBezTo>
                      <a:pt x="391284" y="211455"/>
                      <a:pt x="430654" y="226695"/>
                      <a:pt x="438274" y="264795"/>
                    </a:cubicBezTo>
                    <a:cubicBezTo>
                      <a:pt x="363344" y="320040"/>
                      <a:pt x="256029" y="259080"/>
                      <a:pt x="195704" y="205740"/>
                    </a:cubicBezTo>
                    <a:cubicBezTo>
                      <a:pt x="153794" y="228600"/>
                      <a:pt x="141094" y="292100"/>
                      <a:pt x="136649" y="332740"/>
                    </a:cubicBezTo>
                    <a:cubicBezTo>
                      <a:pt x="143634" y="339090"/>
                      <a:pt x="151889" y="345440"/>
                      <a:pt x="160779" y="353060"/>
                    </a:cubicBezTo>
                    <a:cubicBezTo>
                      <a:pt x="169669" y="349885"/>
                      <a:pt x="178559" y="346075"/>
                      <a:pt x="188084" y="342900"/>
                    </a:cubicBezTo>
                    <a:cubicBezTo>
                      <a:pt x="193799" y="347345"/>
                      <a:pt x="199514" y="351790"/>
                      <a:pt x="205864" y="357505"/>
                    </a:cubicBezTo>
                    <a:cubicBezTo>
                      <a:pt x="238249" y="346710"/>
                      <a:pt x="275079" y="366395"/>
                      <a:pt x="310004" y="365125"/>
                    </a:cubicBezTo>
                    <a:cubicBezTo>
                      <a:pt x="348104" y="407670"/>
                      <a:pt x="245869" y="379095"/>
                      <a:pt x="227454" y="375285"/>
                    </a:cubicBezTo>
                    <a:cubicBezTo>
                      <a:pt x="220469" y="379095"/>
                      <a:pt x="212849" y="384175"/>
                      <a:pt x="203959" y="388620"/>
                    </a:cubicBezTo>
                    <a:cubicBezTo>
                      <a:pt x="196974" y="386080"/>
                      <a:pt x="188719" y="381000"/>
                      <a:pt x="184274" y="375920"/>
                    </a:cubicBezTo>
                    <a:cubicBezTo>
                      <a:pt x="167129" y="374650"/>
                      <a:pt x="151889" y="373380"/>
                      <a:pt x="134744" y="372110"/>
                    </a:cubicBezTo>
                    <a:cubicBezTo>
                      <a:pt x="134744" y="381000"/>
                      <a:pt x="139189" y="389890"/>
                      <a:pt x="145539" y="395605"/>
                    </a:cubicBezTo>
                    <a:cubicBezTo>
                      <a:pt x="186179" y="433070"/>
                      <a:pt x="166494" y="499110"/>
                      <a:pt x="128394" y="528955"/>
                    </a:cubicBezTo>
                    <a:cubicBezTo>
                      <a:pt x="69974" y="541020"/>
                      <a:pt x="67434" y="429895"/>
                      <a:pt x="99819" y="396875"/>
                    </a:cubicBezTo>
                    <a:cubicBezTo>
                      <a:pt x="113154" y="386715"/>
                      <a:pt x="109979" y="361315"/>
                      <a:pt x="90294" y="370205"/>
                    </a:cubicBezTo>
                    <a:cubicBezTo>
                      <a:pt x="71244" y="380365"/>
                      <a:pt x="57909" y="368300"/>
                      <a:pt x="42669" y="358775"/>
                    </a:cubicBezTo>
                    <a:close/>
                    <a:moveTo>
                      <a:pt x="111884" y="481965"/>
                    </a:moveTo>
                    <a:cubicBezTo>
                      <a:pt x="107439" y="512445"/>
                      <a:pt x="133474" y="506095"/>
                      <a:pt x="111249" y="482600"/>
                    </a:cubicBezTo>
                    <a:cubicBezTo>
                      <a:pt x="110614" y="470535"/>
                      <a:pt x="109979" y="458470"/>
                      <a:pt x="108709" y="446405"/>
                    </a:cubicBezTo>
                    <a:cubicBezTo>
                      <a:pt x="105534" y="458470"/>
                      <a:pt x="99184" y="471805"/>
                      <a:pt x="111884" y="481965"/>
                    </a:cubicBezTo>
                    <a:close/>
                    <a:moveTo>
                      <a:pt x="200784" y="171450"/>
                    </a:moveTo>
                    <a:cubicBezTo>
                      <a:pt x="233804" y="126365"/>
                      <a:pt x="188084" y="57785"/>
                      <a:pt x="148079" y="34290"/>
                    </a:cubicBezTo>
                    <a:cubicBezTo>
                      <a:pt x="130934" y="70485"/>
                      <a:pt x="156334" y="168910"/>
                      <a:pt x="200784" y="171450"/>
                    </a:cubicBezTo>
                    <a:lnTo>
                      <a:pt x="200784" y="171450"/>
                    </a:lnTo>
                    <a:close/>
                    <a:moveTo>
                      <a:pt x="241424" y="220980"/>
                    </a:moveTo>
                    <a:lnTo>
                      <a:pt x="242059" y="219075"/>
                    </a:lnTo>
                    <a:lnTo>
                      <a:pt x="240154" y="220345"/>
                    </a:lnTo>
                    <a:cubicBezTo>
                      <a:pt x="289684" y="245110"/>
                      <a:pt x="363979" y="292100"/>
                      <a:pt x="412239" y="248920"/>
                    </a:cubicBezTo>
                    <a:cubicBezTo>
                      <a:pt x="370964" y="205740"/>
                      <a:pt x="304289" y="149860"/>
                      <a:pt x="243964" y="186690"/>
                    </a:cubicBezTo>
                    <a:cubicBezTo>
                      <a:pt x="269999" y="217170"/>
                      <a:pt x="344294" y="203835"/>
                      <a:pt x="353819" y="244475"/>
                    </a:cubicBezTo>
                    <a:cubicBezTo>
                      <a:pt x="318259" y="237490"/>
                      <a:pt x="280159" y="214630"/>
                      <a:pt x="241424" y="220980"/>
                    </a:cubicBezTo>
                    <a:close/>
                    <a:moveTo>
                      <a:pt x="139189" y="431165"/>
                    </a:moveTo>
                    <a:cubicBezTo>
                      <a:pt x="135379" y="450215"/>
                      <a:pt x="134744" y="450215"/>
                      <a:pt x="140459" y="465455"/>
                    </a:cubicBezTo>
                    <a:cubicBezTo>
                      <a:pt x="146809" y="453390"/>
                      <a:pt x="145539" y="443230"/>
                      <a:pt x="139189" y="43116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4" name="Google Shape;465;p8">
                <a:extLst>
                  <a:ext uri="{FF2B5EF4-FFF2-40B4-BE49-F238E27FC236}">
                    <a16:creationId xmlns:a16="http://schemas.microsoft.com/office/drawing/2014/main" id="{747E638D-D925-4CD5-BA8E-12E806D795E9}"/>
                  </a:ext>
                </a:extLst>
              </p:cNvPr>
              <p:cNvSpPr/>
              <p:nvPr/>
            </p:nvSpPr>
            <p:spPr>
              <a:xfrm>
                <a:off x="1151008" y="1222803"/>
                <a:ext cx="35003" cy="68520"/>
              </a:xfrm>
              <a:custGeom>
                <a:avLst/>
                <a:gdLst/>
                <a:ahLst/>
                <a:cxnLst/>
                <a:rect l="l" t="t" r="r" b="b"/>
                <a:pathLst>
                  <a:path w="40701" h="79674" extrusionOk="0">
                    <a:moveTo>
                      <a:pt x="38100" y="79674"/>
                    </a:moveTo>
                    <a:cubicBezTo>
                      <a:pt x="20320" y="56179"/>
                      <a:pt x="8255" y="30144"/>
                      <a:pt x="0" y="2840"/>
                    </a:cubicBezTo>
                    <a:cubicBezTo>
                      <a:pt x="24130" y="-16210"/>
                      <a:pt x="48895" y="66340"/>
                      <a:pt x="38100" y="79674"/>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32" name="Google Shape;466;p8">
              <a:extLst>
                <a:ext uri="{FF2B5EF4-FFF2-40B4-BE49-F238E27FC236}">
                  <a16:creationId xmlns:a16="http://schemas.microsoft.com/office/drawing/2014/main" id="{4DFA9240-E771-4987-974F-DCEF5FC6723C}"/>
                </a:ext>
              </a:extLst>
            </p:cNvPr>
            <p:cNvSpPr/>
            <p:nvPr/>
          </p:nvSpPr>
          <p:spPr>
            <a:xfrm rot="-1100489">
              <a:off x="8420309" y="672386"/>
              <a:ext cx="223722" cy="226855"/>
            </a:xfrm>
            <a:custGeom>
              <a:avLst/>
              <a:gdLst/>
              <a:ahLst/>
              <a:cxnLst/>
              <a:rect l="l" t="t" r="r" b="b"/>
              <a:pathLst>
                <a:path w="461644" h="468109" extrusionOk="0">
                  <a:moveTo>
                    <a:pt x="313055" y="28998"/>
                  </a:moveTo>
                  <a:cubicBezTo>
                    <a:pt x="261620" y="-13547"/>
                    <a:pt x="187960" y="-4022"/>
                    <a:pt x="131445" y="23918"/>
                  </a:cubicBezTo>
                  <a:cubicBezTo>
                    <a:pt x="158750" y="209973"/>
                    <a:pt x="74295" y="277918"/>
                    <a:pt x="0" y="435398"/>
                  </a:cubicBezTo>
                  <a:cubicBezTo>
                    <a:pt x="26670" y="495088"/>
                    <a:pt x="107314" y="453178"/>
                    <a:pt x="158750" y="461433"/>
                  </a:cubicBezTo>
                  <a:cubicBezTo>
                    <a:pt x="257810" y="439208"/>
                    <a:pt x="367664" y="470323"/>
                    <a:pt x="461645" y="435398"/>
                  </a:cubicBezTo>
                  <a:cubicBezTo>
                    <a:pt x="369570" y="280458"/>
                    <a:pt x="297814" y="222038"/>
                    <a:pt x="313055" y="28998"/>
                  </a:cubicBezTo>
                  <a:close/>
                  <a:moveTo>
                    <a:pt x="270510" y="39158"/>
                  </a:moveTo>
                  <a:cubicBezTo>
                    <a:pt x="237489" y="54398"/>
                    <a:pt x="205105" y="51858"/>
                    <a:pt x="172085" y="38523"/>
                  </a:cubicBezTo>
                  <a:cubicBezTo>
                    <a:pt x="197485" y="14393"/>
                    <a:pt x="243205" y="16933"/>
                    <a:pt x="270510" y="39158"/>
                  </a:cubicBezTo>
                  <a:close/>
                  <a:moveTo>
                    <a:pt x="160655" y="63923"/>
                  </a:moveTo>
                  <a:cubicBezTo>
                    <a:pt x="203835" y="69638"/>
                    <a:pt x="242570" y="70273"/>
                    <a:pt x="287020" y="64558"/>
                  </a:cubicBezTo>
                  <a:cubicBezTo>
                    <a:pt x="301625" y="119803"/>
                    <a:pt x="283845" y="182033"/>
                    <a:pt x="306070" y="232833"/>
                  </a:cubicBezTo>
                  <a:cubicBezTo>
                    <a:pt x="314325" y="244898"/>
                    <a:pt x="330835" y="258868"/>
                    <a:pt x="321310" y="274743"/>
                  </a:cubicBezTo>
                  <a:cubicBezTo>
                    <a:pt x="258445" y="376978"/>
                    <a:pt x="194310" y="273473"/>
                    <a:pt x="116839" y="281728"/>
                  </a:cubicBezTo>
                  <a:cubicBezTo>
                    <a:pt x="172085" y="168063"/>
                    <a:pt x="155575" y="180763"/>
                    <a:pt x="160655" y="63923"/>
                  </a:cubicBezTo>
                  <a:close/>
                  <a:moveTo>
                    <a:pt x="350520" y="430318"/>
                  </a:moveTo>
                  <a:cubicBezTo>
                    <a:pt x="243839" y="425238"/>
                    <a:pt x="137795" y="444923"/>
                    <a:pt x="31750" y="441113"/>
                  </a:cubicBezTo>
                  <a:cubicBezTo>
                    <a:pt x="123189" y="141393"/>
                    <a:pt x="212089" y="450003"/>
                    <a:pt x="340360" y="284903"/>
                  </a:cubicBezTo>
                  <a:cubicBezTo>
                    <a:pt x="373380" y="329353"/>
                    <a:pt x="400685" y="368088"/>
                    <a:pt x="425450" y="415713"/>
                  </a:cubicBezTo>
                  <a:cubicBezTo>
                    <a:pt x="418464" y="425238"/>
                    <a:pt x="368935" y="431588"/>
                    <a:pt x="350520" y="430318"/>
                  </a:cubicBezTo>
                  <a:close/>
                  <a:moveTo>
                    <a:pt x="275589" y="413173"/>
                  </a:moveTo>
                  <a:cubicBezTo>
                    <a:pt x="280670" y="396663"/>
                    <a:pt x="275589" y="382058"/>
                    <a:pt x="274320" y="363643"/>
                  </a:cubicBezTo>
                  <a:cubicBezTo>
                    <a:pt x="203200" y="347768"/>
                    <a:pt x="209550" y="449368"/>
                    <a:pt x="275589" y="413173"/>
                  </a:cubicBezTo>
                  <a:close/>
                  <a:moveTo>
                    <a:pt x="250189" y="403648"/>
                  </a:moveTo>
                  <a:cubicBezTo>
                    <a:pt x="236855" y="403013"/>
                    <a:pt x="242570" y="390313"/>
                    <a:pt x="252095" y="387773"/>
                  </a:cubicBezTo>
                  <a:cubicBezTo>
                    <a:pt x="264160" y="389678"/>
                    <a:pt x="259714" y="403013"/>
                    <a:pt x="250189" y="403648"/>
                  </a:cubicBezTo>
                  <a:close/>
                  <a:moveTo>
                    <a:pt x="160020" y="336338"/>
                  </a:moveTo>
                  <a:cubicBezTo>
                    <a:pt x="121920" y="334433"/>
                    <a:pt x="120014" y="387138"/>
                    <a:pt x="158750" y="385233"/>
                  </a:cubicBezTo>
                  <a:cubicBezTo>
                    <a:pt x="191770" y="387773"/>
                    <a:pt x="194310" y="335703"/>
                    <a:pt x="160020" y="336338"/>
                  </a:cubicBezTo>
                  <a:close/>
                  <a:moveTo>
                    <a:pt x="153035" y="363008"/>
                  </a:moveTo>
                  <a:cubicBezTo>
                    <a:pt x="160020" y="361103"/>
                    <a:pt x="163830" y="354118"/>
                    <a:pt x="167639" y="365548"/>
                  </a:cubicBezTo>
                  <a:cubicBezTo>
                    <a:pt x="161289" y="366183"/>
                    <a:pt x="155575" y="370628"/>
                    <a:pt x="153035" y="363008"/>
                  </a:cubicBezTo>
                  <a:close/>
                  <a:moveTo>
                    <a:pt x="235585" y="262678"/>
                  </a:moveTo>
                  <a:cubicBezTo>
                    <a:pt x="268605" y="265218"/>
                    <a:pt x="281305" y="215053"/>
                    <a:pt x="240030" y="211243"/>
                  </a:cubicBezTo>
                  <a:cubicBezTo>
                    <a:pt x="203200" y="206798"/>
                    <a:pt x="203835" y="257598"/>
                    <a:pt x="235585" y="262678"/>
                  </a:cubicBezTo>
                  <a:close/>
                  <a:moveTo>
                    <a:pt x="248285" y="235373"/>
                  </a:moveTo>
                  <a:cubicBezTo>
                    <a:pt x="242570" y="240453"/>
                    <a:pt x="237489" y="246803"/>
                    <a:pt x="232410" y="238548"/>
                  </a:cubicBezTo>
                  <a:cubicBezTo>
                    <a:pt x="231139" y="228388"/>
                    <a:pt x="240664" y="230293"/>
                    <a:pt x="248285" y="235373"/>
                  </a:cubicBezTo>
                  <a:close/>
                  <a:moveTo>
                    <a:pt x="224155" y="133138"/>
                  </a:moveTo>
                  <a:cubicBezTo>
                    <a:pt x="224789" y="115993"/>
                    <a:pt x="196214" y="108373"/>
                    <a:pt x="193675" y="129328"/>
                  </a:cubicBezTo>
                  <a:cubicBezTo>
                    <a:pt x="190500" y="154093"/>
                    <a:pt x="222250" y="155998"/>
                    <a:pt x="224155" y="13313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3" name="Google Shape;467;p8">
              <a:extLst>
                <a:ext uri="{FF2B5EF4-FFF2-40B4-BE49-F238E27FC236}">
                  <a16:creationId xmlns:a16="http://schemas.microsoft.com/office/drawing/2014/main" id="{5FE706DA-1126-4F4C-8BBA-DC7AC43A2500}"/>
                </a:ext>
              </a:extLst>
            </p:cNvPr>
            <p:cNvSpPr/>
            <p:nvPr/>
          </p:nvSpPr>
          <p:spPr>
            <a:xfrm>
              <a:off x="3572521" y="981550"/>
              <a:ext cx="255529" cy="288428"/>
            </a:xfrm>
            <a:custGeom>
              <a:avLst/>
              <a:gdLst/>
              <a:ahLst/>
              <a:cxnLst/>
              <a:rect l="l" t="t" r="r" b="b"/>
              <a:pathLst>
                <a:path w="526864" h="594697" extrusionOk="0">
                  <a:moveTo>
                    <a:pt x="476936" y="348155"/>
                  </a:moveTo>
                  <a:cubicBezTo>
                    <a:pt x="414706" y="390065"/>
                    <a:pt x="352476" y="373555"/>
                    <a:pt x="427406" y="306880"/>
                  </a:cubicBezTo>
                  <a:cubicBezTo>
                    <a:pt x="588696" y="206550"/>
                    <a:pt x="435661" y="-15065"/>
                    <a:pt x="280086" y="810"/>
                  </a:cubicBezTo>
                  <a:cubicBezTo>
                    <a:pt x="137211" y="13510"/>
                    <a:pt x="14656" y="153845"/>
                    <a:pt x="51" y="293545"/>
                  </a:cubicBezTo>
                  <a:cubicBezTo>
                    <a:pt x="-3759" y="510080"/>
                    <a:pt x="205791" y="675815"/>
                    <a:pt x="402641" y="552625"/>
                  </a:cubicBezTo>
                  <a:cubicBezTo>
                    <a:pt x="461061" y="528495"/>
                    <a:pt x="601396" y="353870"/>
                    <a:pt x="476936" y="348155"/>
                  </a:cubicBezTo>
                  <a:close/>
                  <a:moveTo>
                    <a:pt x="205156" y="568500"/>
                  </a:moveTo>
                  <a:cubicBezTo>
                    <a:pt x="39421" y="529765"/>
                    <a:pt x="-27254" y="296085"/>
                    <a:pt x="67996" y="162735"/>
                  </a:cubicBezTo>
                  <a:cubicBezTo>
                    <a:pt x="139116" y="53515"/>
                    <a:pt x="294691" y="-44275"/>
                    <a:pt x="410896" y="59865"/>
                  </a:cubicBezTo>
                  <a:cubicBezTo>
                    <a:pt x="457251" y="97965"/>
                    <a:pt x="501066" y="170990"/>
                    <a:pt x="469316" y="230045"/>
                  </a:cubicBezTo>
                  <a:cubicBezTo>
                    <a:pt x="447726" y="280845"/>
                    <a:pt x="340411" y="315135"/>
                    <a:pt x="379146" y="376095"/>
                  </a:cubicBezTo>
                  <a:cubicBezTo>
                    <a:pt x="412801" y="414830"/>
                    <a:pt x="457886" y="371650"/>
                    <a:pt x="497256" y="369745"/>
                  </a:cubicBezTo>
                  <a:cubicBezTo>
                    <a:pt x="507416" y="503095"/>
                    <a:pt x="323901" y="594535"/>
                    <a:pt x="205156" y="568500"/>
                  </a:cubicBezTo>
                  <a:close/>
                  <a:moveTo>
                    <a:pt x="132766" y="332915"/>
                  </a:moveTo>
                  <a:cubicBezTo>
                    <a:pt x="154991" y="341805"/>
                    <a:pt x="200076" y="333550"/>
                    <a:pt x="181026" y="301165"/>
                  </a:cubicBezTo>
                  <a:cubicBezTo>
                    <a:pt x="172136" y="286560"/>
                    <a:pt x="167691" y="270050"/>
                    <a:pt x="172771" y="252270"/>
                  </a:cubicBezTo>
                  <a:cubicBezTo>
                    <a:pt x="176581" y="210995"/>
                    <a:pt x="122606" y="217345"/>
                    <a:pt x="95936" y="212900"/>
                  </a:cubicBezTo>
                  <a:cubicBezTo>
                    <a:pt x="30531" y="204645"/>
                    <a:pt x="20371" y="327200"/>
                    <a:pt x="76886" y="346885"/>
                  </a:cubicBezTo>
                  <a:cubicBezTo>
                    <a:pt x="96571" y="336090"/>
                    <a:pt x="109906" y="322755"/>
                    <a:pt x="132766" y="332915"/>
                  </a:cubicBezTo>
                  <a:close/>
                  <a:moveTo>
                    <a:pt x="283261" y="118920"/>
                  </a:moveTo>
                  <a:cubicBezTo>
                    <a:pt x="299771" y="35735"/>
                    <a:pt x="146101" y="25575"/>
                    <a:pt x="179756" y="118920"/>
                  </a:cubicBezTo>
                  <a:cubicBezTo>
                    <a:pt x="116256" y="200835"/>
                    <a:pt x="250241" y="230045"/>
                    <a:pt x="283261" y="118920"/>
                  </a:cubicBezTo>
                  <a:close/>
                  <a:moveTo>
                    <a:pt x="263576" y="96695"/>
                  </a:moveTo>
                  <a:cubicBezTo>
                    <a:pt x="261671" y="99870"/>
                    <a:pt x="260401" y="101775"/>
                    <a:pt x="259766" y="103045"/>
                  </a:cubicBezTo>
                  <a:cubicBezTo>
                    <a:pt x="249606" y="96060"/>
                    <a:pt x="253416" y="87170"/>
                    <a:pt x="263576" y="96695"/>
                  </a:cubicBezTo>
                  <a:close/>
                  <a:moveTo>
                    <a:pt x="229286" y="144320"/>
                  </a:moveTo>
                  <a:cubicBezTo>
                    <a:pt x="232461" y="131620"/>
                    <a:pt x="239446" y="126540"/>
                    <a:pt x="255321" y="121460"/>
                  </a:cubicBezTo>
                  <a:cubicBezTo>
                    <a:pt x="248336" y="136065"/>
                    <a:pt x="245161" y="146225"/>
                    <a:pt x="229286" y="144320"/>
                  </a:cubicBezTo>
                  <a:close/>
                  <a:moveTo>
                    <a:pt x="201346" y="404035"/>
                  </a:moveTo>
                  <a:cubicBezTo>
                    <a:pt x="199441" y="358315"/>
                    <a:pt x="131496" y="364030"/>
                    <a:pt x="106731" y="386890"/>
                  </a:cubicBezTo>
                  <a:cubicBezTo>
                    <a:pt x="81331" y="451660"/>
                    <a:pt x="128956" y="520240"/>
                    <a:pt x="190551" y="461185"/>
                  </a:cubicBezTo>
                  <a:cubicBezTo>
                    <a:pt x="208966" y="445945"/>
                    <a:pt x="200076" y="424355"/>
                    <a:pt x="201346" y="404035"/>
                  </a:cubicBezTo>
                  <a:close/>
                  <a:moveTo>
                    <a:pt x="424866" y="139875"/>
                  </a:moveTo>
                  <a:cubicBezTo>
                    <a:pt x="413436" y="53515"/>
                    <a:pt x="334696" y="68120"/>
                    <a:pt x="334061" y="151305"/>
                  </a:cubicBezTo>
                  <a:cubicBezTo>
                    <a:pt x="334061" y="216075"/>
                    <a:pt x="445821" y="205915"/>
                    <a:pt x="424866" y="139875"/>
                  </a:cubicBezTo>
                  <a:close/>
                  <a:moveTo>
                    <a:pt x="259131" y="467535"/>
                  </a:moveTo>
                  <a:cubicBezTo>
                    <a:pt x="194361" y="477060"/>
                    <a:pt x="205156" y="565960"/>
                    <a:pt x="274371" y="560880"/>
                  </a:cubicBezTo>
                  <a:cubicBezTo>
                    <a:pt x="332791" y="531035"/>
                    <a:pt x="342316" y="461185"/>
                    <a:pt x="259131" y="467535"/>
                  </a:cubicBezTo>
                  <a:close/>
                  <a:moveTo>
                    <a:pt x="410261" y="407210"/>
                  </a:moveTo>
                  <a:cubicBezTo>
                    <a:pt x="370891" y="406575"/>
                    <a:pt x="327711" y="466265"/>
                    <a:pt x="364541" y="497380"/>
                  </a:cubicBezTo>
                  <a:cubicBezTo>
                    <a:pt x="418516" y="538655"/>
                    <a:pt x="504876" y="406575"/>
                    <a:pt x="410261" y="407210"/>
                  </a:cubicBezTo>
                  <a:close/>
                  <a:moveTo>
                    <a:pt x="390576" y="483410"/>
                  </a:moveTo>
                  <a:cubicBezTo>
                    <a:pt x="351206" y="484680"/>
                    <a:pt x="389306" y="425625"/>
                    <a:pt x="413436" y="428165"/>
                  </a:cubicBezTo>
                  <a:cubicBezTo>
                    <a:pt x="455346" y="434515"/>
                    <a:pt x="410261" y="476425"/>
                    <a:pt x="390576" y="4834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4" name="Google Shape;468;p8">
              <a:extLst>
                <a:ext uri="{FF2B5EF4-FFF2-40B4-BE49-F238E27FC236}">
                  <a16:creationId xmlns:a16="http://schemas.microsoft.com/office/drawing/2014/main" id="{663F8069-EBEA-4D62-B798-7843177FF1CB}"/>
                </a:ext>
              </a:extLst>
            </p:cNvPr>
            <p:cNvSpPr/>
            <p:nvPr/>
          </p:nvSpPr>
          <p:spPr>
            <a:xfrm rot="1800079">
              <a:off x="8229930" y="1002016"/>
              <a:ext cx="198020" cy="248076"/>
            </a:xfrm>
            <a:custGeom>
              <a:avLst/>
              <a:gdLst/>
              <a:ahLst/>
              <a:cxnLst/>
              <a:rect l="l" t="t" r="r" b="b"/>
              <a:pathLst>
                <a:path w="408305" h="511517" extrusionOk="0">
                  <a:moveTo>
                    <a:pt x="89536" y="14843"/>
                  </a:moveTo>
                  <a:cubicBezTo>
                    <a:pt x="68580" y="20558"/>
                    <a:pt x="76200" y="45323"/>
                    <a:pt x="70486" y="61198"/>
                  </a:cubicBezTo>
                  <a:cubicBezTo>
                    <a:pt x="48261" y="207248"/>
                    <a:pt x="12700" y="352663"/>
                    <a:pt x="0" y="499348"/>
                  </a:cubicBezTo>
                  <a:cubicBezTo>
                    <a:pt x="80011" y="540623"/>
                    <a:pt x="333375" y="470138"/>
                    <a:pt x="377190" y="389493"/>
                  </a:cubicBezTo>
                  <a:cubicBezTo>
                    <a:pt x="321945" y="291068"/>
                    <a:pt x="245111" y="207248"/>
                    <a:pt x="178436" y="117078"/>
                  </a:cubicBezTo>
                  <a:cubicBezTo>
                    <a:pt x="146050" y="88503"/>
                    <a:pt x="130811" y="26273"/>
                    <a:pt x="89536" y="14843"/>
                  </a:cubicBezTo>
                  <a:close/>
                  <a:moveTo>
                    <a:pt x="344805" y="390763"/>
                  </a:moveTo>
                  <a:cubicBezTo>
                    <a:pt x="313055" y="461248"/>
                    <a:pt x="111761" y="499348"/>
                    <a:pt x="36830" y="494268"/>
                  </a:cubicBezTo>
                  <a:cubicBezTo>
                    <a:pt x="33655" y="423148"/>
                    <a:pt x="287655" y="318373"/>
                    <a:pt x="344805" y="390763"/>
                  </a:cubicBezTo>
                  <a:close/>
                  <a:moveTo>
                    <a:pt x="184150" y="362188"/>
                  </a:moveTo>
                  <a:cubicBezTo>
                    <a:pt x="176530" y="351393"/>
                    <a:pt x="170180" y="341868"/>
                    <a:pt x="161290" y="329803"/>
                  </a:cubicBezTo>
                  <a:cubicBezTo>
                    <a:pt x="150495" y="343773"/>
                    <a:pt x="154305" y="353933"/>
                    <a:pt x="156211" y="369808"/>
                  </a:cubicBezTo>
                  <a:cubicBezTo>
                    <a:pt x="114300" y="394573"/>
                    <a:pt x="70486" y="415528"/>
                    <a:pt x="33655" y="447913"/>
                  </a:cubicBezTo>
                  <a:cubicBezTo>
                    <a:pt x="18415" y="439023"/>
                    <a:pt x="32386" y="417433"/>
                    <a:pt x="31750" y="403463"/>
                  </a:cubicBezTo>
                  <a:cubicBezTo>
                    <a:pt x="55880" y="288528"/>
                    <a:pt x="65405" y="170418"/>
                    <a:pt x="95886" y="57388"/>
                  </a:cubicBezTo>
                  <a:cubicBezTo>
                    <a:pt x="111125" y="52308"/>
                    <a:pt x="112395" y="68183"/>
                    <a:pt x="118111" y="78978"/>
                  </a:cubicBezTo>
                  <a:cubicBezTo>
                    <a:pt x="111761" y="80883"/>
                    <a:pt x="104775" y="82153"/>
                    <a:pt x="97155" y="84693"/>
                  </a:cubicBezTo>
                  <a:cubicBezTo>
                    <a:pt x="99695" y="98663"/>
                    <a:pt x="100330" y="123428"/>
                    <a:pt x="120015" y="112633"/>
                  </a:cubicBezTo>
                  <a:cubicBezTo>
                    <a:pt x="121286" y="104378"/>
                    <a:pt x="123190" y="96123"/>
                    <a:pt x="124461" y="87233"/>
                  </a:cubicBezTo>
                  <a:cubicBezTo>
                    <a:pt x="189230" y="173593"/>
                    <a:pt x="263525" y="252968"/>
                    <a:pt x="317500" y="346948"/>
                  </a:cubicBezTo>
                  <a:cubicBezTo>
                    <a:pt x="271780" y="346313"/>
                    <a:pt x="229870" y="353933"/>
                    <a:pt x="184150" y="362188"/>
                  </a:cubicBezTo>
                  <a:close/>
                  <a:moveTo>
                    <a:pt x="326390" y="268208"/>
                  </a:moveTo>
                  <a:cubicBezTo>
                    <a:pt x="326390" y="285988"/>
                    <a:pt x="349250" y="302498"/>
                    <a:pt x="354330" y="321548"/>
                  </a:cubicBezTo>
                  <a:cubicBezTo>
                    <a:pt x="360680" y="330438"/>
                    <a:pt x="370205" y="339328"/>
                    <a:pt x="382270" y="330438"/>
                  </a:cubicBezTo>
                  <a:cubicBezTo>
                    <a:pt x="373380" y="307578"/>
                    <a:pt x="350520" y="297418"/>
                    <a:pt x="344805" y="272018"/>
                  </a:cubicBezTo>
                  <a:cubicBezTo>
                    <a:pt x="341630" y="264398"/>
                    <a:pt x="332740" y="265033"/>
                    <a:pt x="326390" y="268208"/>
                  </a:cubicBezTo>
                  <a:close/>
                  <a:moveTo>
                    <a:pt x="160020" y="26908"/>
                  </a:moveTo>
                  <a:cubicBezTo>
                    <a:pt x="147320" y="1508"/>
                    <a:pt x="137161" y="-8652"/>
                    <a:pt x="119380" y="8493"/>
                  </a:cubicBezTo>
                  <a:cubicBezTo>
                    <a:pt x="132715" y="18653"/>
                    <a:pt x="144145" y="46593"/>
                    <a:pt x="160020" y="26908"/>
                  </a:cubicBezTo>
                  <a:close/>
                  <a:moveTo>
                    <a:pt x="280670" y="188198"/>
                  </a:moveTo>
                  <a:cubicBezTo>
                    <a:pt x="285115" y="164068"/>
                    <a:pt x="281305" y="158353"/>
                    <a:pt x="252730" y="155813"/>
                  </a:cubicBezTo>
                  <a:cubicBezTo>
                    <a:pt x="259080" y="172323"/>
                    <a:pt x="266700" y="182483"/>
                    <a:pt x="280670" y="188198"/>
                  </a:cubicBezTo>
                  <a:close/>
                  <a:moveTo>
                    <a:pt x="245111" y="131683"/>
                  </a:moveTo>
                  <a:cubicBezTo>
                    <a:pt x="254636" y="116443"/>
                    <a:pt x="235586" y="105648"/>
                    <a:pt x="218440" y="110093"/>
                  </a:cubicBezTo>
                  <a:cubicBezTo>
                    <a:pt x="226061" y="126603"/>
                    <a:pt x="231775" y="138033"/>
                    <a:pt x="245111" y="131683"/>
                  </a:cubicBezTo>
                  <a:close/>
                  <a:moveTo>
                    <a:pt x="290830" y="209788"/>
                  </a:moveTo>
                  <a:cubicBezTo>
                    <a:pt x="284480" y="219313"/>
                    <a:pt x="295275" y="227568"/>
                    <a:pt x="300990" y="234553"/>
                  </a:cubicBezTo>
                  <a:cubicBezTo>
                    <a:pt x="328295" y="239633"/>
                    <a:pt x="310515" y="205343"/>
                    <a:pt x="290830" y="209788"/>
                  </a:cubicBezTo>
                  <a:close/>
                  <a:moveTo>
                    <a:pt x="202565" y="76438"/>
                  </a:moveTo>
                  <a:cubicBezTo>
                    <a:pt x="202565" y="63103"/>
                    <a:pt x="183515" y="56118"/>
                    <a:pt x="176530" y="65643"/>
                  </a:cubicBezTo>
                  <a:cubicBezTo>
                    <a:pt x="174625" y="77708"/>
                    <a:pt x="193040" y="87233"/>
                    <a:pt x="202565" y="76438"/>
                  </a:cubicBezTo>
                  <a:close/>
                  <a:moveTo>
                    <a:pt x="389890" y="366633"/>
                  </a:moveTo>
                  <a:cubicBezTo>
                    <a:pt x="393700" y="375523"/>
                    <a:pt x="399415" y="371078"/>
                    <a:pt x="408305" y="366633"/>
                  </a:cubicBezTo>
                  <a:cubicBezTo>
                    <a:pt x="398145" y="357743"/>
                    <a:pt x="395605" y="355838"/>
                    <a:pt x="389890" y="366633"/>
                  </a:cubicBezTo>
                  <a:close/>
                  <a:moveTo>
                    <a:pt x="119380" y="157718"/>
                  </a:moveTo>
                  <a:cubicBezTo>
                    <a:pt x="102870" y="164703"/>
                    <a:pt x="128905" y="203438"/>
                    <a:pt x="139700" y="179308"/>
                  </a:cubicBezTo>
                  <a:cubicBezTo>
                    <a:pt x="134620" y="170418"/>
                    <a:pt x="132715" y="155178"/>
                    <a:pt x="119380" y="157718"/>
                  </a:cubicBezTo>
                  <a:close/>
                  <a:moveTo>
                    <a:pt x="146686" y="244078"/>
                  </a:moveTo>
                  <a:cubicBezTo>
                    <a:pt x="157480" y="238998"/>
                    <a:pt x="151130" y="216773"/>
                    <a:pt x="139700" y="214868"/>
                  </a:cubicBezTo>
                  <a:cubicBezTo>
                    <a:pt x="126365" y="219313"/>
                    <a:pt x="131445" y="247888"/>
                    <a:pt x="146686" y="244078"/>
                  </a:cubicBezTo>
                  <a:close/>
                  <a:moveTo>
                    <a:pt x="142875" y="287258"/>
                  </a:moveTo>
                  <a:cubicBezTo>
                    <a:pt x="142875" y="305673"/>
                    <a:pt x="164465" y="305673"/>
                    <a:pt x="163195" y="289798"/>
                  </a:cubicBezTo>
                  <a:cubicBezTo>
                    <a:pt x="161290" y="275828"/>
                    <a:pt x="147320" y="277098"/>
                    <a:pt x="142875" y="287258"/>
                  </a:cubicBezTo>
                  <a:close/>
                  <a:moveTo>
                    <a:pt x="172086" y="402193"/>
                  </a:moveTo>
                  <a:cubicBezTo>
                    <a:pt x="160655" y="407908"/>
                    <a:pt x="168911" y="423783"/>
                    <a:pt x="180975" y="426323"/>
                  </a:cubicBezTo>
                  <a:cubicBezTo>
                    <a:pt x="191136" y="415528"/>
                    <a:pt x="185420" y="402193"/>
                    <a:pt x="172086" y="402193"/>
                  </a:cubicBezTo>
                  <a:close/>
                  <a:moveTo>
                    <a:pt x="187961" y="447913"/>
                  </a:moveTo>
                  <a:cubicBezTo>
                    <a:pt x="184786" y="451088"/>
                    <a:pt x="182245" y="453628"/>
                    <a:pt x="180340" y="456168"/>
                  </a:cubicBezTo>
                  <a:cubicBezTo>
                    <a:pt x="187961" y="468868"/>
                    <a:pt x="201930" y="458073"/>
                    <a:pt x="187961" y="44791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5" name="Google Shape;469;p8">
              <a:extLst>
                <a:ext uri="{FF2B5EF4-FFF2-40B4-BE49-F238E27FC236}">
                  <a16:creationId xmlns:a16="http://schemas.microsoft.com/office/drawing/2014/main" id="{6D8D561E-D592-4F4A-A43C-EC6417F3F195}"/>
                </a:ext>
              </a:extLst>
            </p:cNvPr>
            <p:cNvSpPr/>
            <p:nvPr/>
          </p:nvSpPr>
          <p:spPr>
            <a:xfrm>
              <a:off x="3943429" y="927518"/>
              <a:ext cx="163399" cy="257295"/>
            </a:xfrm>
            <a:custGeom>
              <a:avLst/>
              <a:gdLst/>
              <a:ahLst/>
              <a:cxnLst/>
              <a:rect l="l" t="t" r="r" b="b"/>
              <a:pathLst>
                <a:path w="336906" h="530506" extrusionOk="0">
                  <a:moveTo>
                    <a:pt x="136525" y="96168"/>
                  </a:moveTo>
                  <a:cubicBezTo>
                    <a:pt x="113030" y="223803"/>
                    <a:pt x="24130" y="329848"/>
                    <a:pt x="0" y="458118"/>
                  </a:cubicBezTo>
                  <a:cubicBezTo>
                    <a:pt x="60960" y="713388"/>
                    <a:pt x="264795" y="217453"/>
                    <a:pt x="278765" y="141253"/>
                  </a:cubicBezTo>
                  <a:cubicBezTo>
                    <a:pt x="291465" y="75213"/>
                    <a:pt x="152400" y="18698"/>
                    <a:pt x="136525" y="96168"/>
                  </a:cubicBezTo>
                  <a:close/>
                  <a:moveTo>
                    <a:pt x="69850" y="504473"/>
                  </a:moveTo>
                  <a:cubicBezTo>
                    <a:pt x="-16510" y="531778"/>
                    <a:pt x="43815" y="378743"/>
                    <a:pt x="63500" y="342548"/>
                  </a:cubicBezTo>
                  <a:cubicBezTo>
                    <a:pt x="111760" y="336833"/>
                    <a:pt x="138430" y="339373"/>
                    <a:pt x="164465" y="352073"/>
                  </a:cubicBezTo>
                  <a:cubicBezTo>
                    <a:pt x="137795" y="404778"/>
                    <a:pt x="107315" y="458753"/>
                    <a:pt x="69850" y="504473"/>
                  </a:cubicBezTo>
                  <a:close/>
                  <a:moveTo>
                    <a:pt x="182245" y="318418"/>
                  </a:moveTo>
                  <a:cubicBezTo>
                    <a:pt x="149860" y="327308"/>
                    <a:pt x="116205" y="321593"/>
                    <a:pt x="80645" y="319053"/>
                  </a:cubicBezTo>
                  <a:cubicBezTo>
                    <a:pt x="100330" y="253013"/>
                    <a:pt x="133350" y="192053"/>
                    <a:pt x="159385" y="127918"/>
                  </a:cubicBezTo>
                  <a:cubicBezTo>
                    <a:pt x="189230" y="139348"/>
                    <a:pt x="217170" y="150143"/>
                    <a:pt x="245110" y="161573"/>
                  </a:cubicBezTo>
                  <a:cubicBezTo>
                    <a:pt x="244475" y="190148"/>
                    <a:pt x="216535" y="259998"/>
                    <a:pt x="182245" y="318418"/>
                  </a:cubicBezTo>
                  <a:close/>
                  <a:moveTo>
                    <a:pt x="248285" y="134268"/>
                  </a:moveTo>
                  <a:cubicBezTo>
                    <a:pt x="222885" y="140618"/>
                    <a:pt x="121920" y="93628"/>
                    <a:pt x="187960" y="80928"/>
                  </a:cubicBezTo>
                  <a:cubicBezTo>
                    <a:pt x="208915" y="83468"/>
                    <a:pt x="281940" y="105693"/>
                    <a:pt x="248285" y="134268"/>
                  </a:cubicBezTo>
                  <a:close/>
                  <a:moveTo>
                    <a:pt x="295275" y="283"/>
                  </a:moveTo>
                  <a:cubicBezTo>
                    <a:pt x="224155" y="-6067"/>
                    <a:pt x="259715" y="96803"/>
                    <a:pt x="311785" y="73308"/>
                  </a:cubicBezTo>
                  <a:cubicBezTo>
                    <a:pt x="353695" y="53623"/>
                    <a:pt x="339725" y="-1622"/>
                    <a:pt x="295275" y="283"/>
                  </a:cubicBezTo>
                  <a:close/>
                  <a:moveTo>
                    <a:pt x="274320" y="30763"/>
                  </a:moveTo>
                  <a:cubicBezTo>
                    <a:pt x="290830" y="26318"/>
                    <a:pt x="303530" y="14253"/>
                    <a:pt x="317500" y="26318"/>
                  </a:cubicBezTo>
                  <a:cubicBezTo>
                    <a:pt x="329565" y="56163"/>
                    <a:pt x="273685" y="75848"/>
                    <a:pt x="274320" y="30763"/>
                  </a:cubicBezTo>
                  <a:close/>
                  <a:moveTo>
                    <a:pt x="210820" y="187608"/>
                  </a:moveTo>
                  <a:cubicBezTo>
                    <a:pt x="212090" y="151413"/>
                    <a:pt x="158115" y="146333"/>
                    <a:pt x="156210" y="186338"/>
                  </a:cubicBezTo>
                  <a:cubicBezTo>
                    <a:pt x="155575" y="216183"/>
                    <a:pt x="209550" y="217453"/>
                    <a:pt x="210820" y="187608"/>
                  </a:cubicBezTo>
                  <a:close/>
                  <a:moveTo>
                    <a:pt x="187960" y="180623"/>
                  </a:moveTo>
                  <a:cubicBezTo>
                    <a:pt x="193040" y="185068"/>
                    <a:pt x="189230" y="186973"/>
                    <a:pt x="186055" y="190783"/>
                  </a:cubicBezTo>
                  <a:cubicBezTo>
                    <a:pt x="179705" y="185068"/>
                    <a:pt x="183515" y="184433"/>
                    <a:pt x="187960" y="180623"/>
                  </a:cubicBezTo>
                  <a:close/>
                  <a:moveTo>
                    <a:pt x="167005" y="229518"/>
                  </a:moveTo>
                  <a:cubicBezTo>
                    <a:pt x="139700" y="230153"/>
                    <a:pt x="128270" y="275873"/>
                    <a:pt x="164465" y="276508"/>
                  </a:cubicBezTo>
                  <a:cubicBezTo>
                    <a:pt x="196215" y="277143"/>
                    <a:pt x="193675" y="232058"/>
                    <a:pt x="167005" y="22951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6" name="Google Shape;470;p8">
              <a:extLst>
                <a:ext uri="{FF2B5EF4-FFF2-40B4-BE49-F238E27FC236}">
                  <a16:creationId xmlns:a16="http://schemas.microsoft.com/office/drawing/2014/main" id="{A2209A31-DFA2-4D5E-AC37-61A897B80BA2}"/>
                </a:ext>
              </a:extLst>
            </p:cNvPr>
            <p:cNvSpPr/>
            <p:nvPr/>
          </p:nvSpPr>
          <p:spPr>
            <a:xfrm>
              <a:off x="4038156" y="505004"/>
              <a:ext cx="340006" cy="361563"/>
            </a:xfrm>
            <a:custGeom>
              <a:avLst/>
              <a:gdLst/>
              <a:ahLst/>
              <a:cxnLst/>
              <a:rect l="l" t="t" r="r" b="b"/>
              <a:pathLst>
                <a:path w="701044" h="745490" extrusionOk="0">
                  <a:moveTo>
                    <a:pt x="690343" y="116840"/>
                  </a:moveTo>
                  <a:cubicBezTo>
                    <a:pt x="663037" y="55245"/>
                    <a:pt x="674468" y="90170"/>
                    <a:pt x="624302" y="72390"/>
                  </a:cubicBezTo>
                  <a:cubicBezTo>
                    <a:pt x="483968" y="55880"/>
                    <a:pt x="352522" y="0"/>
                    <a:pt x="209647" y="0"/>
                  </a:cubicBezTo>
                  <a:cubicBezTo>
                    <a:pt x="-38003" y="735330"/>
                    <a:pt x="-186592" y="579120"/>
                    <a:pt x="475712" y="745490"/>
                  </a:cubicBezTo>
                  <a:cubicBezTo>
                    <a:pt x="548102" y="622935"/>
                    <a:pt x="579218" y="475615"/>
                    <a:pt x="631922" y="342900"/>
                  </a:cubicBezTo>
                  <a:cubicBezTo>
                    <a:pt x="640812" y="299720"/>
                    <a:pt x="731618" y="134620"/>
                    <a:pt x="690343" y="116840"/>
                  </a:cubicBezTo>
                  <a:close/>
                  <a:moveTo>
                    <a:pt x="219172" y="41275"/>
                  </a:moveTo>
                  <a:cubicBezTo>
                    <a:pt x="230602" y="-11430"/>
                    <a:pt x="585568" y="92075"/>
                    <a:pt x="641447" y="107950"/>
                  </a:cubicBezTo>
                  <a:cubicBezTo>
                    <a:pt x="585568" y="295910"/>
                    <a:pt x="517622" y="479425"/>
                    <a:pt x="438247" y="658495"/>
                  </a:cubicBezTo>
                  <a:cubicBezTo>
                    <a:pt x="294102" y="639445"/>
                    <a:pt x="169643" y="583565"/>
                    <a:pt x="30577" y="553085"/>
                  </a:cubicBezTo>
                  <a:cubicBezTo>
                    <a:pt x="79472" y="377190"/>
                    <a:pt x="160118" y="213995"/>
                    <a:pt x="219172" y="41275"/>
                  </a:cubicBezTo>
                  <a:close/>
                  <a:moveTo>
                    <a:pt x="612872" y="333375"/>
                  </a:moveTo>
                  <a:cubicBezTo>
                    <a:pt x="569058" y="462280"/>
                    <a:pt x="518893" y="588010"/>
                    <a:pt x="469997" y="715645"/>
                  </a:cubicBezTo>
                  <a:cubicBezTo>
                    <a:pt x="320772" y="690245"/>
                    <a:pt x="174087" y="657860"/>
                    <a:pt x="30577" y="610235"/>
                  </a:cubicBezTo>
                  <a:cubicBezTo>
                    <a:pt x="24227" y="600710"/>
                    <a:pt x="22958" y="591820"/>
                    <a:pt x="30577" y="581660"/>
                  </a:cubicBezTo>
                  <a:cubicBezTo>
                    <a:pt x="151227" y="589915"/>
                    <a:pt x="265527" y="648335"/>
                    <a:pt x="384272" y="674370"/>
                  </a:cubicBezTo>
                  <a:cubicBezTo>
                    <a:pt x="461108" y="708025"/>
                    <a:pt x="464283" y="661035"/>
                    <a:pt x="487143" y="600710"/>
                  </a:cubicBezTo>
                  <a:cubicBezTo>
                    <a:pt x="563343" y="445770"/>
                    <a:pt x="599537" y="280035"/>
                    <a:pt x="664943" y="121920"/>
                  </a:cubicBezTo>
                  <a:cubicBezTo>
                    <a:pt x="691612" y="187960"/>
                    <a:pt x="622397" y="264795"/>
                    <a:pt x="612872" y="333375"/>
                  </a:cubicBezTo>
                  <a:close/>
                  <a:moveTo>
                    <a:pt x="533497" y="298450"/>
                  </a:moveTo>
                  <a:cubicBezTo>
                    <a:pt x="540483" y="255270"/>
                    <a:pt x="596362" y="196850"/>
                    <a:pt x="565883" y="157480"/>
                  </a:cubicBezTo>
                  <a:cubicBezTo>
                    <a:pt x="503018" y="130810"/>
                    <a:pt x="431262" y="120650"/>
                    <a:pt x="363952" y="105410"/>
                  </a:cubicBezTo>
                  <a:cubicBezTo>
                    <a:pt x="329662" y="93980"/>
                    <a:pt x="291562" y="78105"/>
                    <a:pt x="254733" y="90805"/>
                  </a:cubicBezTo>
                  <a:cubicBezTo>
                    <a:pt x="231872" y="146685"/>
                    <a:pt x="221712" y="208280"/>
                    <a:pt x="191233" y="264160"/>
                  </a:cubicBezTo>
                  <a:cubicBezTo>
                    <a:pt x="285847" y="318135"/>
                    <a:pt x="410308" y="321310"/>
                    <a:pt x="511908" y="368300"/>
                  </a:cubicBezTo>
                  <a:cubicBezTo>
                    <a:pt x="534768" y="354965"/>
                    <a:pt x="522702" y="320040"/>
                    <a:pt x="533497" y="298450"/>
                  </a:cubicBezTo>
                  <a:close/>
                  <a:moveTo>
                    <a:pt x="224252" y="257175"/>
                  </a:moveTo>
                  <a:cubicBezTo>
                    <a:pt x="268702" y="73025"/>
                    <a:pt x="257272" y="105410"/>
                    <a:pt x="427452" y="140335"/>
                  </a:cubicBezTo>
                  <a:cubicBezTo>
                    <a:pt x="619222" y="183515"/>
                    <a:pt x="536037" y="178435"/>
                    <a:pt x="504287" y="334010"/>
                  </a:cubicBezTo>
                  <a:cubicBezTo>
                    <a:pt x="408402" y="320040"/>
                    <a:pt x="312518" y="288290"/>
                    <a:pt x="224252" y="257175"/>
                  </a:cubicBezTo>
                  <a:close/>
                  <a:moveTo>
                    <a:pt x="297912" y="153670"/>
                  </a:moveTo>
                  <a:cubicBezTo>
                    <a:pt x="239493" y="175260"/>
                    <a:pt x="427452" y="197485"/>
                    <a:pt x="442693" y="207645"/>
                  </a:cubicBezTo>
                  <a:cubicBezTo>
                    <a:pt x="456662" y="171450"/>
                    <a:pt x="325218" y="168275"/>
                    <a:pt x="297912" y="153670"/>
                  </a:cubicBezTo>
                  <a:close/>
                  <a:moveTo>
                    <a:pt x="280768" y="226060"/>
                  </a:moveTo>
                  <a:cubicBezTo>
                    <a:pt x="305533" y="227965"/>
                    <a:pt x="325852" y="247650"/>
                    <a:pt x="348077" y="226695"/>
                  </a:cubicBezTo>
                  <a:cubicBezTo>
                    <a:pt x="327122" y="221615"/>
                    <a:pt x="259812" y="190500"/>
                    <a:pt x="280768" y="22606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7" name="Google Shape;471;p8">
              <a:extLst>
                <a:ext uri="{FF2B5EF4-FFF2-40B4-BE49-F238E27FC236}">
                  <a16:creationId xmlns:a16="http://schemas.microsoft.com/office/drawing/2014/main" id="{5129EA7F-C30F-425A-947A-D527198CD2FD}"/>
                </a:ext>
              </a:extLst>
            </p:cNvPr>
            <p:cNvSpPr/>
            <p:nvPr/>
          </p:nvSpPr>
          <p:spPr>
            <a:xfrm>
              <a:off x="2854633" y="688547"/>
              <a:ext cx="416637" cy="259709"/>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8" name="Google Shape;472;p8">
              <a:extLst>
                <a:ext uri="{FF2B5EF4-FFF2-40B4-BE49-F238E27FC236}">
                  <a16:creationId xmlns:a16="http://schemas.microsoft.com/office/drawing/2014/main" id="{5881CFEE-ADE8-48E5-AB7C-68CB9039AA11}"/>
                </a:ext>
              </a:extLst>
            </p:cNvPr>
            <p:cNvSpPr/>
            <p:nvPr/>
          </p:nvSpPr>
          <p:spPr>
            <a:xfrm rot="-1252057">
              <a:off x="6497159" y="534061"/>
              <a:ext cx="204722" cy="302187"/>
            </a:xfrm>
            <a:custGeom>
              <a:avLst/>
              <a:gdLst/>
              <a:ahLst/>
              <a:cxnLst/>
              <a:rect l="l" t="t" r="r" b="b"/>
              <a:pathLst>
                <a:path w="422747" h="624012" extrusionOk="0">
                  <a:moveTo>
                    <a:pt x="410845" y="259621"/>
                  </a:moveTo>
                  <a:cubicBezTo>
                    <a:pt x="398145" y="183421"/>
                    <a:pt x="422275" y="81821"/>
                    <a:pt x="377825" y="18321"/>
                  </a:cubicBezTo>
                  <a:cubicBezTo>
                    <a:pt x="294640" y="-22319"/>
                    <a:pt x="191770" y="15781"/>
                    <a:pt x="103505" y="26576"/>
                  </a:cubicBezTo>
                  <a:cubicBezTo>
                    <a:pt x="76836" y="36101"/>
                    <a:pt x="38100" y="32291"/>
                    <a:pt x="17780" y="51976"/>
                  </a:cubicBezTo>
                  <a:cubicBezTo>
                    <a:pt x="17145" y="62771"/>
                    <a:pt x="5715" y="62771"/>
                    <a:pt x="0" y="72931"/>
                  </a:cubicBezTo>
                  <a:cubicBezTo>
                    <a:pt x="19686" y="229776"/>
                    <a:pt x="7620" y="389161"/>
                    <a:pt x="13970" y="547276"/>
                  </a:cubicBezTo>
                  <a:cubicBezTo>
                    <a:pt x="-6350" y="657766"/>
                    <a:pt x="162561" y="615856"/>
                    <a:pt x="227330" y="617761"/>
                  </a:cubicBezTo>
                  <a:cubicBezTo>
                    <a:pt x="270511" y="592361"/>
                    <a:pt x="426086" y="628556"/>
                    <a:pt x="422275" y="570771"/>
                  </a:cubicBezTo>
                  <a:cubicBezTo>
                    <a:pt x="424815" y="467266"/>
                    <a:pt x="416561" y="363126"/>
                    <a:pt x="410845" y="259621"/>
                  </a:cubicBezTo>
                  <a:close/>
                  <a:moveTo>
                    <a:pt x="353061" y="579026"/>
                  </a:moveTo>
                  <a:cubicBezTo>
                    <a:pt x="288925" y="577121"/>
                    <a:pt x="60961" y="637446"/>
                    <a:pt x="38736" y="575851"/>
                  </a:cubicBezTo>
                  <a:cubicBezTo>
                    <a:pt x="143511" y="579026"/>
                    <a:pt x="248286" y="572676"/>
                    <a:pt x="353061" y="574581"/>
                  </a:cubicBezTo>
                  <a:cubicBezTo>
                    <a:pt x="353061" y="575851"/>
                    <a:pt x="353061" y="577121"/>
                    <a:pt x="353061" y="579026"/>
                  </a:cubicBezTo>
                  <a:close/>
                  <a:moveTo>
                    <a:pt x="361315" y="547911"/>
                  </a:moveTo>
                  <a:cubicBezTo>
                    <a:pt x="252095" y="555531"/>
                    <a:pt x="144145" y="561881"/>
                    <a:pt x="35561" y="551086"/>
                  </a:cubicBezTo>
                  <a:cubicBezTo>
                    <a:pt x="39370" y="392971"/>
                    <a:pt x="33020" y="236761"/>
                    <a:pt x="27305" y="79281"/>
                  </a:cubicBezTo>
                  <a:cubicBezTo>
                    <a:pt x="112395" y="27846"/>
                    <a:pt x="231775" y="25941"/>
                    <a:pt x="329565" y="25941"/>
                  </a:cubicBezTo>
                  <a:cubicBezTo>
                    <a:pt x="369570" y="197391"/>
                    <a:pt x="365761" y="373286"/>
                    <a:pt x="361315" y="547911"/>
                  </a:cubicBezTo>
                  <a:close/>
                  <a:moveTo>
                    <a:pt x="377190" y="141511"/>
                  </a:moveTo>
                  <a:cubicBezTo>
                    <a:pt x="360045" y="110396"/>
                    <a:pt x="364490" y="76106"/>
                    <a:pt x="356870" y="41816"/>
                  </a:cubicBezTo>
                  <a:cubicBezTo>
                    <a:pt x="381000" y="13241"/>
                    <a:pt x="381000" y="121826"/>
                    <a:pt x="377190" y="141511"/>
                  </a:cubicBezTo>
                  <a:close/>
                  <a:moveTo>
                    <a:pt x="397511" y="544736"/>
                  </a:moveTo>
                  <a:cubicBezTo>
                    <a:pt x="372745" y="497746"/>
                    <a:pt x="394336" y="431071"/>
                    <a:pt x="387350" y="376461"/>
                  </a:cubicBezTo>
                  <a:cubicBezTo>
                    <a:pt x="401955" y="370746"/>
                    <a:pt x="402590" y="530766"/>
                    <a:pt x="397511" y="544736"/>
                  </a:cubicBezTo>
                  <a:close/>
                  <a:moveTo>
                    <a:pt x="302895" y="182786"/>
                  </a:moveTo>
                  <a:cubicBezTo>
                    <a:pt x="313690" y="183421"/>
                    <a:pt x="331470" y="173896"/>
                    <a:pt x="320675" y="162466"/>
                  </a:cubicBezTo>
                  <a:cubicBezTo>
                    <a:pt x="297180" y="138336"/>
                    <a:pt x="309880" y="104046"/>
                    <a:pt x="300355" y="74836"/>
                  </a:cubicBezTo>
                  <a:cubicBezTo>
                    <a:pt x="307340" y="35466"/>
                    <a:pt x="90170" y="76741"/>
                    <a:pt x="59690" y="81821"/>
                  </a:cubicBezTo>
                  <a:cubicBezTo>
                    <a:pt x="48261" y="119921"/>
                    <a:pt x="77470" y="152941"/>
                    <a:pt x="62865" y="194851"/>
                  </a:cubicBezTo>
                  <a:cubicBezTo>
                    <a:pt x="148590" y="206916"/>
                    <a:pt x="211455" y="177071"/>
                    <a:pt x="302895" y="182786"/>
                  </a:cubicBezTo>
                  <a:close/>
                  <a:moveTo>
                    <a:pt x="282575" y="83091"/>
                  </a:moveTo>
                  <a:cubicBezTo>
                    <a:pt x="292100" y="105316"/>
                    <a:pt x="287655" y="127541"/>
                    <a:pt x="290830" y="149131"/>
                  </a:cubicBezTo>
                  <a:cubicBezTo>
                    <a:pt x="227965" y="172626"/>
                    <a:pt x="154940" y="172626"/>
                    <a:pt x="87630" y="174531"/>
                  </a:cubicBezTo>
                  <a:cubicBezTo>
                    <a:pt x="75565" y="151671"/>
                    <a:pt x="83820" y="128176"/>
                    <a:pt x="72390" y="104046"/>
                  </a:cubicBezTo>
                  <a:cubicBezTo>
                    <a:pt x="140970" y="86266"/>
                    <a:pt x="212725" y="81821"/>
                    <a:pt x="282575" y="83091"/>
                  </a:cubicBezTo>
                  <a:close/>
                  <a:moveTo>
                    <a:pt x="274955" y="383446"/>
                  </a:moveTo>
                  <a:cubicBezTo>
                    <a:pt x="257811" y="411386"/>
                    <a:pt x="281305" y="441866"/>
                    <a:pt x="268605" y="477426"/>
                  </a:cubicBezTo>
                  <a:cubicBezTo>
                    <a:pt x="244475" y="452026"/>
                    <a:pt x="215900" y="479331"/>
                    <a:pt x="189865" y="461551"/>
                  </a:cubicBezTo>
                  <a:cubicBezTo>
                    <a:pt x="175261" y="454566"/>
                    <a:pt x="163195" y="458376"/>
                    <a:pt x="153036" y="471076"/>
                  </a:cubicBezTo>
                  <a:cubicBezTo>
                    <a:pt x="159386" y="509176"/>
                    <a:pt x="156845" y="525686"/>
                    <a:pt x="204470" y="518066"/>
                  </a:cubicBezTo>
                  <a:cubicBezTo>
                    <a:pt x="208280" y="509811"/>
                    <a:pt x="212725" y="500921"/>
                    <a:pt x="218440" y="490761"/>
                  </a:cubicBezTo>
                  <a:cubicBezTo>
                    <a:pt x="223520" y="501556"/>
                    <a:pt x="227330" y="510446"/>
                    <a:pt x="232411" y="521241"/>
                  </a:cubicBezTo>
                  <a:cubicBezTo>
                    <a:pt x="243840" y="517431"/>
                    <a:pt x="253365" y="513621"/>
                    <a:pt x="263525" y="510446"/>
                  </a:cubicBezTo>
                  <a:cubicBezTo>
                    <a:pt x="290195" y="526321"/>
                    <a:pt x="290195" y="526321"/>
                    <a:pt x="328295" y="509811"/>
                  </a:cubicBezTo>
                  <a:cubicBezTo>
                    <a:pt x="327661" y="468536"/>
                    <a:pt x="347345" y="349791"/>
                    <a:pt x="274955" y="383446"/>
                  </a:cubicBezTo>
                  <a:close/>
                  <a:moveTo>
                    <a:pt x="193040" y="500921"/>
                  </a:moveTo>
                  <a:cubicBezTo>
                    <a:pt x="177800" y="500921"/>
                    <a:pt x="173990" y="498381"/>
                    <a:pt x="173355" y="489491"/>
                  </a:cubicBezTo>
                  <a:cubicBezTo>
                    <a:pt x="176530" y="469806"/>
                    <a:pt x="203836" y="475521"/>
                    <a:pt x="193040" y="500921"/>
                  </a:cubicBezTo>
                  <a:close/>
                  <a:moveTo>
                    <a:pt x="309245" y="497111"/>
                  </a:moveTo>
                  <a:cubicBezTo>
                    <a:pt x="302261" y="498381"/>
                    <a:pt x="296545" y="499016"/>
                    <a:pt x="290830" y="499651"/>
                  </a:cubicBezTo>
                  <a:cubicBezTo>
                    <a:pt x="267970" y="379636"/>
                    <a:pt x="323215" y="357411"/>
                    <a:pt x="309245" y="497111"/>
                  </a:cubicBezTo>
                  <a:close/>
                  <a:moveTo>
                    <a:pt x="296545" y="210091"/>
                  </a:moveTo>
                  <a:cubicBezTo>
                    <a:pt x="233680" y="208186"/>
                    <a:pt x="267970" y="301531"/>
                    <a:pt x="319405" y="275496"/>
                  </a:cubicBezTo>
                  <a:cubicBezTo>
                    <a:pt x="336550" y="264066"/>
                    <a:pt x="332740" y="203741"/>
                    <a:pt x="296545" y="210091"/>
                  </a:cubicBezTo>
                  <a:close/>
                  <a:moveTo>
                    <a:pt x="297815" y="259621"/>
                  </a:moveTo>
                  <a:cubicBezTo>
                    <a:pt x="281940" y="260891"/>
                    <a:pt x="273050" y="230411"/>
                    <a:pt x="294640" y="229141"/>
                  </a:cubicBezTo>
                  <a:cubicBezTo>
                    <a:pt x="314961" y="225331"/>
                    <a:pt x="313690" y="259621"/>
                    <a:pt x="297815" y="259621"/>
                  </a:cubicBezTo>
                  <a:close/>
                  <a:moveTo>
                    <a:pt x="244475" y="359316"/>
                  </a:moveTo>
                  <a:cubicBezTo>
                    <a:pt x="244475" y="342171"/>
                    <a:pt x="245111" y="327566"/>
                    <a:pt x="244475" y="312961"/>
                  </a:cubicBezTo>
                  <a:cubicBezTo>
                    <a:pt x="243205" y="288196"/>
                    <a:pt x="198120" y="286926"/>
                    <a:pt x="201930" y="315501"/>
                  </a:cubicBezTo>
                  <a:cubicBezTo>
                    <a:pt x="203836" y="344076"/>
                    <a:pt x="207645" y="372651"/>
                    <a:pt x="244475" y="359316"/>
                  </a:cubicBezTo>
                  <a:close/>
                  <a:moveTo>
                    <a:pt x="89536" y="305976"/>
                  </a:moveTo>
                  <a:cubicBezTo>
                    <a:pt x="83186" y="326296"/>
                    <a:pt x="95886" y="344711"/>
                    <a:pt x="95250" y="365666"/>
                  </a:cubicBezTo>
                  <a:cubicBezTo>
                    <a:pt x="164465" y="385986"/>
                    <a:pt x="142240" y="276131"/>
                    <a:pt x="89536" y="305976"/>
                  </a:cubicBezTo>
                  <a:close/>
                  <a:moveTo>
                    <a:pt x="111125" y="321851"/>
                  </a:moveTo>
                  <a:cubicBezTo>
                    <a:pt x="123190" y="324391"/>
                    <a:pt x="117475" y="335186"/>
                    <a:pt x="118745" y="345346"/>
                  </a:cubicBezTo>
                  <a:cubicBezTo>
                    <a:pt x="105411" y="341536"/>
                    <a:pt x="100965" y="326931"/>
                    <a:pt x="111125" y="321851"/>
                  </a:cubicBezTo>
                  <a:close/>
                  <a:moveTo>
                    <a:pt x="136525" y="446946"/>
                  </a:moveTo>
                  <a:cubicBezTo>
                    <a:pt x="143511" y="375191"/>
                    <a:pt x="60961" y="365031"/>
                    <a:pt x="86995" y="447581"/>
                  </a:cubicBezTo>
                  <a:cubicBezTo>
                    <a:pt x="114300" y="460916"/>
                    <a:pt x="114300" y="460916"/>
                    <a:pt x="136525" y="446946"/>
                  </a:cubicBezTo>
                  <a:close/>
                  <a:moveTo>
                    <a:pt x="100330" y="420911"/>
                  </a:moveTo>
                  <a:cubicBezTo>
                    <a:pt x="104775" y="394876"/>
                    <a:pt x="135255" y="420276"/>
                    <a:pt x="120650" y="436151"/>
                  </a:cubicBezTo>
                  <a:cubicBezTo>
                    <a:pt x="109220" y="446946"/>
                    <a:pt x="99061" y="432976"/>
                    <a:pt x="100330" y="420911"/>
                  </a:cubicBezTo>
                  <a:close/>
                  <a:moveTo>
                    <a:pt x="195580" y="443136"/>
                  </a:moveTo>
                  <a:cubicBezTo>
                    <a:pt x="203200" y="439961"/>
                    <a:pt x="205105" y="432341"/>
                    <a:pt x="201295" y="418371"/>
                  </a:cubicBezTo>
                  <a:cubicBezTo>
                    <a:pt x="196850" y="387891"/>
                    <a:pt x="176530" y="387891"/>
                    <a:pt x="149861" y="392336"/>
                  </a:cubicBezTo>
                  <a:cubicBezTo>
                    <a:pt x="140336" y="422181"/>
                    <a:pt x="160655" y="461551"/>
                    <a:pt x="195580" y="443136"/>
                  </a:cubicBezTo>
                  <a:close/>
                  <a:moveTo>
                    <a:pt x="167640" y="418371"/>
                  </a:moveTo>
                  <a:cubicBezTo>
                    <a:pt x="172086" y="406306"/>
                    <a:pt x="187961" y="408846"/>
                    <a:pt x="187961" y="424086"/>
                  </a:cubicBezTo>
                  <a:cubicBezTo>
                    <a:pt x="182245" y="432341"/>
                    <a:pt x="165736" y="429801"/>
                    <a:pt x="167640" y="418371"/>
                  </a:cubicBezTo>
                  <a:close/>
                  <a:moveTo>
                    <a:pt x="153670" y="298356"/>
                  </a:moveTo>
                  <a:cubicBezTo>
                    <a:pt x="156211" y="323756"/>
                    <a:pt x="149861" y="351696"/>
                    <a:pt x="179705" y="368206"/>
                  </a:cubicBezTo>
                  <a:cubicBezTo>
                    <a:pt x="205105" y="341536"/>
                    <a:pt x="201930" y="284386"/>
                    <a:pt x="153670" y="298356"/>
                  </a:cubicBezTo>
                  <a:close/>
                  <a:moveTo>
                    <a:pt x="281940" y="293276"/>
                  </a:moveTo>
                  <a:cubicBezTo>
                    <a:pt x="253365" y="305341"/>
                    <a:pt x="274955" y="359951"/>
                    <a:pt x="304165" y="356141"/>
                  </a:cubicBezTo>
                  <a:cubicBezTo>
                    <a:pt x="340995" y="335186"/>
                    <a:pt x="321311" y="295181"/>
                    <a:pt x="281940" y="293276"/>
                  </a:cubicBezTo>
                  <a:close/>
                  <a:moveTo>
                    <a:pt x="295911" y="331376"/>
                  </a:moveTo>
                  <a:cubicBezTo>
                    <a:pt x="282575" y="330741"/>
                    <a:pt x="287020" y="317406"/>
                    <a:pt x="297180" y="311691"/>
                  </a:cubicBezTo>
                  <a:cubicBezTo>
                    <a:pt x="304800" y="321216"/>
                    <a:pt x="306070" y="326931"/>
                    <a:pt x="295911" y="331376"/>
                  </a:cubicBezTo>
                  <a:close/>
                  <a:moveTo>
                    <a:pt x="123825" y="282481"/>
                  </a:moveTo>
                  <a:cubicBezTo>
                    <a:pt x="137795" y="226601"/>
                    <a:pt x="78740" y="200566"/>
                    <a:pt x="79375" y="252001"/>
                  </a:cubicBezTo>
                  <a:cubicBezTo>
                    <a:pt x="79375" y="279306"/>
                    <a:pt x="96520" y="290101"/>
                    <a:pt x="123825" y="282481"/>
                  </a:cubicBezTo>
                  <a:close/>
                  <a:moveTo>
                    <a:pt x="98425" y="248826"/>
                  </a:moveTo>
                  <a:cubicBezTo>
                    <a:pt x="99695" y="250096"/>
                    <a:pt x="100330" y="251366"/>
                    <a:pt x="101600" y="252636"/>
                  </a:cubicBezTo>
                  <a:cubicBezTo>
                    <a:pt x="100330" y="253906"/>
                    <a:pt x="99061" y="254541"/>
                    <a:pt x="97155" y="255811"/>
                  </a:cubicBezTo>
                  <a:cubicBezTo>
                    <a:pt x="94615" y="252636"/>
                    <a:pt x="97155" y="250731"/>
                    <a:pt x="98425" y="248826"/>
                  </a:cubicBezTo>
                  <a:close/>
                  <a:moveTo>
                    <a:pt x="92075" y="494571"/>
                  </a:moveTo>
                  <a:cubicBezTo>
                    <a:pt x="85090" y="528861"/>
                    <a:pt x="130811" y="542831"/>
                    <a:pt x="140336" y="509176"/>
                  </a:cubicBezTo>
                  <a:cubicBezTo>
                    <a:pt x="157480" y="470441"/>
                    <a:pt x="92075" y="442501"/>
                    <a:pt x="92075" y="494571"/>
                  </a:cubicBezTo>
                  <a:close/>
                  <a:moveTo>
                    <a:pt x="120650" y="509176"/>
                  </a:moveTo>
                  <a:cubicBezTo>
                    <a:pt x="103505" y="511081"/>
                    <a:pt x="111125" y="487586"/>
                    <a:pt x="123190" y="483141"/>
                  </a:cubicBezTo>
                  <a:cubicBezTo>
                    <a:pt x="133986" y="490126"/>
                    <a:pt x="130811" y="503461"/>
                    <a:pt x="120650" y="509176"/>
                  </a:cubicBezTo>
                  <a:close/>
                  <a:moveTo>
                    <a:pt x="202565" y="236126"/>
                  </a:moveTo>
                  <a:cubicBezTo>
                    <a:pt x="179070" y="285656"/>
                    <a:pt x="231140" y="297721"/>
                    <a:pt x="239395" y="257716"/>
                  </a:cubicBezTo>
                  <a:cubicBezTo>
                    <a:pt x="245111" y="238666"/>
                    <a:pt x="234315" y="207551"/>
                    <a:pt x="211455" y="216441"/>
                  </a:cubicBezTo>
                  <a:cubicBezTo>
                    <a:pt x="207011" y="231046"/>
                    <a:pt x="232411" y="231046"/>
                    <a:pt x="218440" y="250731"/>
                  </a:cubicBezTo>
                  <a:cubicBezTo>
                    <a:pt x="213995" y="245651"/>
                    <a:pt x="210186" y="242476"/>
                    <a:pt x="202565" y="236126"/>
                  </a:cubicBezTo>
                  <a:close/>
                  <a:moveTo>
                    <a:pt x="168911" y="271686"/>
                  </a:moveTo>
                  <a:cubicBezTo>
                    <a:pt x="217805" y="236126"/>
                    <a:pt x="125730" y="175801"/>
                    <a:pt x="143511" y="248826"/>
                  </a:cubicBezTo>
                  <a:cubicBezTo>
                    <a:pt x="134620" y="267241"/>
                    <a:pt x="151765" y="288831"/>
                    <a:pt x="168911" y="271686"/>
                  </a:cubicBezTo>
                  <a:close/>
                  <a:moveTo>
                    <a:pt x="161925" y="243111"/>
                  </a:moveTo>
                  <a:cubicBezTo>
                    <a:pt x="161290" y="244381"/>
                    <a:pt x="161290" y="245016"/>
                    <a:pt x="160655" y="246921"/>
                  </a:cubicBezTo>
                  <a:cubicBezTo>
                    <a:pt x="159386" y="243746"/>
                    <a:pt x="158750" y="243111"/>
                    <a:pt x="161925" y="243111"/>
                  </a:cubicBezTo>
                  <a:close/>
                  <a:moveTo>
                    <a:pt x="238125" y="450121"/>
                  </a:moveTo>
                  <a:cubicBezTo>
                    <a:pt x="280036" y="441866"/>
                    <a:pt x="257811" y="388526"/>
                    <a:pt x="221615" y="387256"/>
                  </a:cubicBezTo>
                  <a:cubicBezTo>
                    <a:pt x="212725" y="409481"/>
                    <a:pt x="210820" y="448216"/>
                    <a:pt x="238125" y="450121"/>
                  </a:cubicBezTo>
                  <a:close/>
                  <a:moveTo>
                    <a:pt x="241936" y="415831"/>
                  </a:moveTo>
                  <a:cubicBezTo>
                    <a:pt x="243840" y="417736"/>
                    <a:pt x="245745" y="419641"/>
                    <a:pt x="248920" y="422816"/>
                  </a:cubicBezTo>
                  <a:cubicBezTo>
                    <a:pt x="245111" y="425991"/>
                    <a:pt x="241936" y="427896"/>
                    <a:pt x="239395" y="429801"/>
                  </a:cubicBezTo>
                  <a:cubicBezTo>
                    <a:pt x="235586" y="424086"/>
                    <a:pt x="235586" y="420276"/>
                    <a:pt x="241936" y="415831"/>
                  </a:cubicBezTo>
                  <a:close/>
                  <a:moveTo>
                    <a:pt x="272415" y="107856"/>
                  </a:moveTo>
                  <a:cubicBezTo>
                    <a:pt x="263525" y="83091"/>
                    <a:pt x="234315" y="98966"/>
                    <a:pt x="234950" y="120556"/>
                  </a:cubicBezTo>
                  <a:cubicBezTo>
                    <a:pt x="233045" y="161196"/>
                    <a:pt x="292736" y="142781"/>
                    <a:pt x="272415" y="10785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9" name="Google Shape;473;p8">
              <a:extLst>
                <a:ext uri="{FF2B5EF4-FFF2-40B4-BE49-F238E27FC236}">
                  <a16:creationId xmlns:a16="http://schemas.microsoft.com/office/drawing/2014/main" id="{69E898E1-6FA4-4718-AFF7-3DC996848B50}"/>
                </a:ext>
              </a:extLst>
            </p:cNvPr>
            <p:cNvSpPr/>
            <p:nvPr/>
          </p:nvSpPr>
          <p:spPr>
            <a:xfrm>
              <a:off x="2537776" y="539860"/>
              <a:ext cx="230803" cy="290180"/>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0" name="Google Shape;474;p8">
              <a:extLst>
                <a:ext uri="{FF2B5EF4-FFF2-40B4-BE49-F238E27FC236}">
                  <a16:creationId xmlns:a16="http://schemas.microsoft.com/office/drawing/2014/main" id="{F154A736-934B-41BD-A76B-8E0C52C1AE46}"/>
                </a:ext>
              </a:extLst>
            </p:cNvPr>
            <p:cNvSpPr/>
            <p:nvPr/>
          </p:nvSpPr>
          <p:spPr>
            <a:xfrm>
              <a:off x="5713194" y="743996"/>
              <a:ext cx="256984" cy="244039"/>
            </a:xfrm>
            <a:custGeom>
              <a:avLst/>
              <a:gdLst/>
              <a:ahLst/>
              <a:cxnLst/>
              <a:rect l="l" t="t" r="r" b="b"/>
              <a:pathLst>
                <a:path w="529863" h="503173" extrusionOk="0">
                  <a:moveTo>
                    <a:pt x="284791" y="7"/>
                  </a:moveTo>
                  <a:cubicBezTo>
                    <a:pt x="128581" y="-1263"/>
                    <a:pt x="-16834" y="165107"/>
                    <a:pt x="1581" y="320047"/>
                  </a:cubicBezTo>
                  <a:cubicBezTo>
                    <a:pt x="39046" y="421647"/>
                    <a:pt x="142551" y="523247"/>
                    <a:pt x="258756" y="499752"/>
                  </a:cubicBezTo>
                  <a:cubicBezTo>
                    <a:pt x="592766" y="480702"/>
                    <a:pt x="637216" y="23502"/>
                    <a:pt x="284791" y="7"/>
                  </a:cubicBezTo>
                  <a:close/>
                  <a:moveTo>
                    <a:pt x="19996" y="279407"/>
                  </a:moveTo>
                  <a:cubicBezTo>
                    <a:pt x="54921" y="-23488"/>
                    <a:pt x="481641" y="-98418"/>
                    <a:pt x="510216" y="240037"/>
                  </a:cubicBezTo>
                  <a:cubicBezTo>
                    <a:pt x="498786" y="520707"/>
                    <a:pt x="47936" y="583572"/>
                    <a:pt x="19996" y="279407"/>
                  </a:cubicBezTo>
                  <a:close/>
                  <a:moveTo>
                    <a:pt x="420681" y="98432"/>
                  </a:moveTo>
                  <a:cubicBezTo>
                    <a:pt x="381311" y="71127"/>
                    <a:pt x="348926" y="18422"/>
                    <a:pt x="295586" y="25407"/>
                  </a:cubicBezTo>
                  <a:cubicBezTo>
                    <a:pt x="53651" y="36837"/>
                    <a:pt x="-66364" y="403867"/>
                    <a:pt x="216211" y="458477"/>
                  </a:cubicBezTo>
                  <a:cubicBezTo>
                    <a:pt x="395916" y="493402"/>
                    <a:pt x="611181" y="219082"/>
                    <a:pt x="420681" y="98432"/>
                  </a:cubicBezTo>
                  <a:close/>
                  <a:moveTo>
                    <a:pt x="448621" y="292742"/>
                  </a:moveTo>
                  <a:cubicBezTo>
                    <a:pt x="448621" y="321952"/>
                    <a:pt x="428301" y="340367"/>
                    <a:pt x="413061" y="361957"/>
                  </a:cubicBezTo>
                  <a:cubicBezTo>
                    <a:pt x="404171" y="358782"/>
                    <a:pt x="396551" y="356242"/>
                    <a:pt x="385756" y="353067"/>
                  </a:cubicBezTo>
                  <a:cubicBezTo>
                    <a:pt x="387026" y="363227"/>
                    <a:pt x="387661" y="371482"/>
                    <a:pt x="388931" y="381007"/>
                  </a:cubicBezTo>
                  <a:cubicBezTo>
                    <a:pt x="376866" y="389262"/>
                    <a:pt x="363531" y="398152"/>
                    <a:pt x="354006" y="405137"/>
                  </a:cubicBezTo>
                  <a:cubicBezTo>
                    <a:pt x="338131" y="406407"/>
                    <a:pt x="337496" y="387357"/>
                    <a:pt x="321621" y="391167"/>
                  </a:cubicBezTo>
                  <a:cubicBezTo>
                    <a:pt x="324796" y="427362"/>
                    <a:pt x="291776" y="441967"/>
                    <a:pt x="249231" y="436887"/>
                  </a:cubicBezTo>
                  <a:cubicBezTo>
                    <a:pt x="251771" y="392437"/>
                    <a:pt x="220656" y="385452"/>
                    <a:pt x="220656" y="434982"/>
                  </a:cubicBezTo>
                  <a:cubicBezTo>
                    <a:pt x="184461" y="439427"/>
                    <a:pt x="133661" y="422917"/>
                    <a:pt x="131121" y="384182"/>
                  </a:cubicBezTo>
                  <a:cubicBezTo>
                    <a:pt x="123501" y="374022"/>
                    <a:pt x="104451" y="381007"/>
                    <a:pt x="100641" y="363862"/>
                  </a:cubicBezTo>
                  <a:cubicBezTo>
                    <a:pt x="126676" y="342907"/>
                    <a:pt x="106356" y="340367"/>
                    <a:pt x="84131" y="337192"/>
                  </a:cubicBezTo>
                  <a:cubicBezTo>
                    <a:pt x="71431" y="309887"/>
                    <a:pt x="63176" y="283217"/>
                    <a:pt x="75241" y="253372"/>
                  </a:cubicBezTo>
                  <a:cubicBezTo>
                    <a:pt x="119691" y="255277"/>
                    <a:pt x="140011" y="238132"/>
                    <a:pt x="83496" y="227972"/>
                  </a:cubicBezTo>
                  <a:cubicBezTo>
                    <a:pt x="84131" y="196857"/>
                    <a:pt x="95561" y="172092"/>
                    <a:pt x="115246" y="151137"/>
                  </a:cubicBezTo>
                  <a:cubicBezTo>
                    <a:pt x="136836" y="150502"/>
                    <a:pt x="150171" y="158122"/>
                    <a:pt x="136201" y="127642"/>
                  </a:cubicBezTo>
                  <a:cubicBezTo>
                    <a:pt x="174301" y="55252"/>
                    <a:pt x="207321" y="129547"/>
                    <a:pt x="205416" y="75572"/>
                  </a:cubicBezTo>
                  <a:cubicBezTo>
                    <a:pt x="230181" y="48267"/>
                    <a:pt x="263201" y="50172"/>
                    <a:pt x="297491" y="50172"/>
                  </a:cubicBezTo>
                  <a:cubicBezTo>
                    <a:pt x="295586" y="66682"/>
                    <a:pt x="308921" y="107957"/>
                    <a:pt x="323526" y="78747"/>
                  </a:cubicBezTo>
                  <a:cubicBezTo>
                    <a:pt x="319716" y="17152"/>
                    <a:pt x="382581" y="87637"/>
                    <a:pt x="399726" y="104147"/>
                  </a:cubicBezTo>
                  <a:cubicBezTo>
                    <a:pt x="394646" y="118117"/>
                    <a:pt x="385121" y="125102"/>
                    <a:pt x="399726" y="135262"/>
                  </a:cubicBezTo>
                  <a:cubicBezTo>
                    <a:pt x="409251" y="131452"/>
                    <a:pt x="417506" y="128277"/>
                    <a:pt x="427031" y="124467"/>
                  </a:cubicBezTo>
                  <a:cubicBezTo>
                    <a:pt x="440366" y="138437"/>
                    <a:pt x="451161" y="153042"/>
                    <a:pt x="461956" y="168917"/>
                  </a:cubicBezTo>
                  <a:cubicBezTo>
                    <a:pt x="451796" y="175267"/>
                    <a:pt x="444176" y="179712"/>
                    <a:pt x="436556" y="184157"/>
                  </a:cubicBezTo>
                  <a:cubicBezTo>
                    <a:pt x="444176" y="199397"/>
                    <a:pt x="459416" y="190507"/>
                    <a:pt x="470846" y="199397"/>
                  </a:cubicBezTo>
                  <a:cubicBezTo>
                    <a:pt x="475926" y="240037"/>
                    <a:pt x="467036" y="281947"/>
                    <a:pt x="416871" y="266707"/>
                  </a:cubicBezTo>
                  <a:cubicBezTo>
                    <a:pt x="388931" y="285757"/>
                    <a:pt x="434651" y="288297"/>
                    <a:pt x="448621" y="292742"/>
                  </a:cubicBezTo>
                  <a:close/>
                  <a:moveTo>
                    <a:pt x="304476" y="222892"/>
                  </a:moveTo>
                  <a:cubicBezTo>
                    <a:pt x="320351" y="55887"/>
                    <a:pt x="287966" y="104782"/>
                    <a:pt x="251771" y="225432"/>
                  </a:cubicBezTo>
                  <a:cubicBezTo>
                    <a:pt x="240341" y="251467"/>
                    <a:pt x="258121" y="281312"/>
                    <a:pt x="287966" y="270517"/>
                  </a:cubicBezTo>
                  <a:cubicBezTo>
                    <a:pt x="318446" y="260357"/>
                    <a:pt x="343846" y="239402"/>
                    <a:pt x="374961" y="232417"/>
                  </a:cubicBezTo>
                  <a:cubicBezTo>
                    <a:pt x="383216" y="231147"/>
                    <a:pt x="386391" y="223527"/>
                    <a:pt x="384486" y="215272"/>
                  </a:cubicBezTo>
                  <a:cubicBezTo>
                    <a:pt x="370516" y="186062"/>
                    <a:pt x="329241" y="220987"/>
                    <a:pt x="304476" y="222892"/>
                  </a:cubicBezTo>
                  <a:close/>
                  <a:moveTo>
                    <a:pt x="273996" y="229242"/>
                  </a:moveTo>
                  <a:cubicBezTo>
                    <a:pt x="273996" y="219717"/>
                    <a:pt x="273996" y="209557"/>
                    <a:pt x="282886" y="201937"/>
                  </a:cubicBezTo>
                  <a:cubicBezTo>
                    <a:pt x="282251" y="220352"/>
                    <a:pt x="282251" y="220987"/>
                    <a:pt x="273996" y="22924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1" name="Google Shape;475;p8">
              <a:extLst>
                <a:ext uri="{FF2B5EF4-FFF2-40B4-BE49-F238E27FC236}">
                  <a16:creationId xmlns:a16="http://schemas.microsoft.com/office/drawing/2014/main" id="{C3AC04FE-8671-498F-828D-203CBC0BB635}"/>
                </a:ext>
              </a:extLst>
            </p:cNvPr>
            <p:cNvSpPr/>
            <p:nvPr/>
          </p:nvSpPr>
          <p:spPr>
            <a:xfrm>
              <a:off x="2507283" y="945803"/>
              <a:ext cx="99390" cy="211075"/>
            </a:xfrm>
            <a:custGeom>
              <a:avLst/>
              <a:gdLst/>
              <a:ahLst/>
              <a:cxnLst/>
              <a:rect l="l" t="t" r="r" b="b"/>
              <a:pathLst>
                <a:path w="342723" h="727844" extrusionOk="0">
                  <a:moveTo>
                    <a:pt x="45039" y="381062"/>
                  </a:moveTo>
                  <a:cubicBezTo>
                    <a:pt x="-1317" y="378522"/>
                    <a:pt x="-11476" y="360107"/>
                    <a:pt x="12653" y="325182"/>
                  </a:cubicBezTo>
                  <a:cubicBezTo>
                    <a:pt x="39958" y="272477"/>
                    <a:pt x="46308" y="211517"/>
                    <a:pt x="66628" y="156272"/>
                  </a:cubicBezTo>
                  <a:cubicBezTo>
                    <a:pt x="88853" y="99757"/>
                    <a:pt x="95203" y="15302"/>
                    <a:pt x="167594" y="3237"/>
                  </a:cubicBezTo>
                  <a:cubicBezTo>
                    <a:pt x="221569" y="-5653"/>
                    <a:pt x="288878" y="2602"/>
                    <a:pt x="328249" y="42607"/>
                  </a:cubicBezTo>
                  <a:cubicBezTo>
                    <a:pt x="373333" y="154367"/>
                    <a:pt x="300944" y="280097"/>
                    <a:pt x="276178" y="390587"/>
                  </a:cubicBezTo>
                  <a:cubicBezTo>
                    <a:pt x="243158" y="499807"/>
                    <a:pt x="232999" y="643317"/>
                    <a:pt x="145369" y="722058"/>
                  </a:cubicBezTo>
                  <a:cubicBezTo>
                    <a:pt x="-64181" y="765872"/>
                    <a:pt x="59008" y="549972"/>
                    <a:pt x="74883" y="441387"/>
                  </a:cubicBezTo>
                  <a:cubicBezTo>
                    <a:pt x="96474" y="381062"/>
                    <a:pt x="117428" y="174052"/>
                    <a:pt x="175849" y="160082"/>
                  </a:cubicBezTo>
                  <a:cubicBezTo>
                    <a:pt x="205058" y="153097"/>
                    <a:pt x="234269" y="157542"/>
                    <a:pt x="230458" y="194372"/>
                  </a:cubicBezTo>
                  <a:cubicBezTo>
                    <a:pt x="240619" y="221677"/>
                    <a:pt x="129494" y="694752"/>
                    <a:pt x="133303" y="503617"/>
                  </a:cubicBezTo>
                  <a:cubicBezTo>
                    <a:pt x="150449" y="416622"/>
                    <a:pt x="184103" y="330262"/>
                    <a:pt x="181564" y="240727"/>
                  </a:cubicBezTo>
                  <a:cubicBezTo>
                    <a:pt x="130764" y="306132"/>
                    <a:pt x="137749" y="399477"/>
                    <a:pt x="109174" y="476312"/>
                  </a:cubicBezTo>
                  <a:cubicBezTo>
                    <a:pt x="105999" y="530922"/>
                    <a:pt x="19639" y="685862"/>
                    <a:pt x="116158" y="683957"/>
                  </a:cubicBezTo>
                  <a:cubicBezTo>
                    <a:pt x="208869" y="661732"/>
                    <a:pt x="231094" y="334707"/>
                    <a:pt x="270464" y="240092"/>
                  </a:cubicBezTo>
                  <a:cubicBezTo>
                    <a:pt x="276178" y="187387"/>
                    <a:pt x="298403" y="109917"/>
                    <a:pt x="252683" y="71182"/>
                  </a:cubicBezTo>
                  <a:cubicBezTo>
                    <a:pt x="213314" y="45147"/>
                    <a:pt x="172674" y="52767"/>
                    <a:pt x="144099" y="91502"/>
                  </a:cubicBezTo>
                  <a:cubicBezTo>
                    <a:pt x="95203" y="181037"/>
                    <a:pt x="85678" y="287717"/>
                    <a:pt x="45039" y="381062"/>
                  </a:cubicBezTo>
                  <a:close/>
                  <a:moveTo>
                    <a:pt x="300944" y="198182"/>
                  </a:moveTo>
                  <a:cubicBezTo>
                    <a:pt x="321899" y="177227"/>
                    <a:pt x="309833" y="138492"/>
                    <a:pt x="314914" y="110552"/>
                  </a:cubicBezTo>
                  <a:cubicBezTo>
                    <a:pt x="319358" y="81342"/>
                    <a:pt x="322533" y="48322"/>
                    <a:pt x="288878" y="37527"/>
                  </a:cubicBezTo>
                  <a:cubicBezTo>
                    <a:pt x="246969" y="18477"/>
                    <a:pt x="137749" y="1332"/>
                    <a:pt x="133303" y="62292"/>
                  </a:cubicBezTo>
                  <a:cubicBezTo>
                    <a:pt x="243794" y="-24703"/>
                    <a:pt x="324439" y="87692"/>
                    <a:pt x="300944" y="200722"/>
                  </a:cubicBezTo>
                  <a:cubicBezTo>
                    <a:pt x="300944" y="200087"/>
                    <a:pt x="300944" y="199452"/>
                    <a:pt x="300944" y="198182"/>
                  </a:cubicBezTo>
                  <a:close/>
                  <a:moveTo>
                    <a:pt x="124414" y="705547"/>
                  </a:moveTo>
                  <a:cubicBezTo>
                    <a:pt x="92028" y="697927"/>
                    <a:pt x="73614" y="690942"/>
                    <a:pt x="47578" y="676972"/>
                  </a:cubicBezTo>
                  <a:cubicBezTo>
                    <a:pt x="39958" y="705547"/>
                    <a:pt x="97744" y="711897"/>
                    <a:pt x="124414" y="70554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2" name="Google Shape;476;p8">
              <a:extLst>
                <a:ext uri="{FF2B5EF4-FFF2-40B4-BE49-F238E27FC236}">
                  <a16:creationId xmlns:a16="http://schemas.microsoft.com/office/drawing/2014/main" id="{63F18C92-17B7-43A5-A68C-C450B779DADC}"/>
                </a:ext>
              </a:extLst>
            </p:cNvPr>
            <p:cNvSpPr/>
            <p:nvPr/>
          </p:nvSpPr>
          <p:spPr>
            <a:xfrm>
              <a:off x="8045390" y="829868"/>
              <a:ext cx="135793" cy="114511"/>
            </a:xfrm>
            <a:custGeom>
              <a:avLst/>
              <a:gdLst/>
              <a:ahLst/>
              <a:cxnLst/>
              <a:rect l="l" t="t" r="r" b="b"/>
              <a:pathLst>
                <a:path w="279985" h="236105" extrusionOk="0">
                  <a:moveTo>
                    <a:pt x="224300" y="47511"/>
                  </a:moveTo>
                  <a:cubicBezTo>
                    <a:pt x="226204" y="79261"/>
                    <a:pt x="221125" y="105931"/>
                    <a:pt x="208425" y="131331"/>
                  </a:cubicBezTo>
                  <a:cubicBezTo>
                    <a:pt x="221759" y="154826"/>
                    <a:pt x="285895" y="220866"/>
                    <a:pt x="279545" y="236106"/>
                  </a:cubicBezTo>
                  <a:cubicBezTo>
                    <a:pt x="240175" y="235471"/>
                    <a:pt x="211600" y="195466"/>
                    <a:pt x="177309" y="177686"/>
                  </a:cubicBezTo>
                  <a:cubicBezTo>
                    <a:pt x="143654" y="201816"/>
                    <a:pt x="92220" y="247536"/>
                    <a:pt x="79520" y="180226"/>
                  </a:cubicBezTo>
                  <a:cubicBezTo>
                    <a:pt x="76979" y="116091"/>
                    <a:pt x="-26525" y="129426"/>
                    <a:pt x="6495" y="57671"/>
                  </a:cubicBezTo>
                  <a:cubicBezTo>
                    <a:pt x="60470" y="-73774"/>
                    <a:pt x="91584" y="62116"/>
                    <a:pt x="169054" y="51321"/>
                  </a:cubicBezTo>
                  <a:cubicBezTo>
                    <a:pt x="187470" y="48781"/>
                    <a:pt x="205884" y="39891"/>
                    <a:pt x="224300" y="47511"/>
                  </a:cubicBezTo>
                  <a:close/>
                  <a:moveTo>
                    <a:pt x="217950" y="187211"/>
                  </a:moveTo>
                  <a:cubicBezTo>
                    <a:pt x="218584" y="187211"/>
                    <a:pt x="218584" y="186576"/>
                    <a:pt x="219220" y="186576"/>
                  </a:cubicBezTo>
                  <a:cubicBezTo>
                    <a:pt x="218584" y="186576"/>
                    <a:pt x="217950" y="187211"/>
                    <a:pt x="217315" y="187211"/>
                  </a:cubicBezTo>
                  <a:cubicBezTo>
                    <a:pt x="224300" y="172606"/>
                    <a:pt x="211600" y="156096"/>
                    <a:pt x="196995" y="158636"/>
                  </a:cubicBezTo>
                  <a:cubicBezTo>
                    <a:pt x="196359" y="171336"/>
                    <a:pt x="210329" y="177686"/>
                    <a:pt x="217950" y="187211"/>
                  </a:cubicBezTo>
                  <a:close/>
                  <a:moveTo>
                    <a:pt x="87140" y="47511"/>
                  </a:moveTo>
                  <a:cubicBezTo>
                    <a:pt x="75075" y="65926"/>
                    <a:pt x="63009" y="84341"/>
                    <a:pt x="50945" y="103391"/>
                  </a:cubicBezTo>
                  <a:cubicBezTo>
                    <a:pt x="66820" y="119901"/>
                    <a:pt x="82059" y="135776"/>
                    <a:pt x="96665" y="151016"/>
                  </a:cubicBezTo>
                  <a:cubicBezTo>
                    <a:pt x="125875" y="135776"/>
                    <a:pt x="153815" y="112281"/>
                    <a:pt x="149370" y="78626"/>
                  </a:cubicBezTo>
                  <a:cubicBezTo>
                    <a:pt x="129684" y="69101"/>
                    <a:pt x="110634" y="59576"/>
                    <a:pt x="87140" y="47511"/>
                  </a:cubicBezTo>
                  <a:close/>
                  <a:moveTo>
                    <a:pt x="202075" y="76721"/>
                  </a:moveTo>
                  <a:cubicBezTo>
                    <a:pt x="174770" y="65291"/>
                    <a:pt x="153179" y="156096"/>
                    <a:pt x="103650" y="180861"/>
                  </a:cubicBezTo>
                  <a:cubicBezTo>
                    <a:pt x="118890" y="218961"/>
                    <a:pt x="213504" y="108471"/>
                    <a:pt x="202075" y="76721"/>
                  </a:cubicBezTo>
                  <a:close/>
                  <a:moveTo>
                    <a:pt x="22370" y="86246"/>
                  </a:moveTo>
                  <a:cubicBezTo>
                    <a:pt x="54120" y="77356"/>
                    <a:pt x="60470" y="54496"/>
                    <a:pt x="67454" y="32271"/>
                  </a:cubicBezTo>
                  <a:cubicBezTo>
                    <a:pt x="47134" y="4331"/>
                    <a:pt x="24909" y="63386"/>
                    <a:pt x="22370" y="8624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3" name="Google Shape;477;p8">
              <a:extLst>
                <a:ext uri="{FF2B5EF4-FFF2-40B4-BE49-F238E27FC236}">
                  <a16:creationId xmlns:a16="http://schemas.microsoft.com/office/drawing/2014/main" id="{417EB980-32D0-4DC4-A6C4-7E6D846EC924}"/>
                </a:ext>
              </a:extLst>
            </p:cNvPr>
            <p:cNvSpPr/>
            <p:nvPr/>
          </p:nvSpPr>
          <p:spPr>
            <a:xfrm>
              <a:off x="5019180" y="1018026"/>
              <a:ext cx="99190" cy="98538"/>
            </a:xfrm>
            <a:custGeom>
              <a:avLst/>
              <a:gdLst/>
              <a:ahLst/>
              <a:cxnLst/>
              <a:rect l="l" t="t" r="r" b="b"/>
              <a:pathLst>
                <a:path w="204516" h="203172" extrusionOk="0">
                  <a:moveTo>
                    <a:pt x="139555" y="137768"/>
                  </a:moveTo>
                  <a:cubicBezTo>
                    <a:pt x="146541" y="154278"/>
                    <a:pt x="194166" y="201903"/>
                    <a:pt x="157971" y="203173"/>
                  </a:cubicBezTo>
                  <a:cubicBezTo>
                    <a:pt x="139555" y="186028"/>
                    <a:pt x="135746" y="163168"/>
                    <a:pt x="112250" y="148563"/>
                  </a:cubicBezTo>
                  <a:cubicBezTo>
                    <a:pt x="-110000" y="230478"/>
                    <a:pt x="44941" y="-27967"/>
                    <a:pt x="173210" y="2513"/>
                  </a:cubicBezTo>
                  <a:cubicBezTo>
                    <a:pt x="245600" y="34898"/>
                    <a:pt x="174480" y="104113"/>
                    <a:pt x="139555" y="137768"/>
                  </a:cubicBezTo>
                  <a:close/>
                  <a:moveTo>
                    <a:pt x="184005" y="29183"/>
                  </a:moveTo>
                  <a:cubicBezTo>
                    <a:pt x="117330" y="1243"/>
                    <a:pt x="46846" y="67283"/>
                    <a:pt x="20175" y="123163"/>
                  </a:cubicBezTo>
                  <a:cubicBezTo>
                    <a:pt x="32875" y="190473"/>
                    <a:pt x="196705" y="83158"/>
                    <a:pt x="184005" y="2918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4" name="Google Shape;478;p8">
              <a:extLst>
                <a:ext uri="{FF2B5EF4-FFF2-40B4-BE49-F238E27FC236}">
                  <a16:creationId xmlns:a16="http://schemas.microsoft.com/office/drawing/2014/main" id="{381163EF-7629-4CFF-B559-9851352F5ACF}"/>
                </a:ext>
              </a:extLst>
            </p:cNvPr>
            <p:cNvSpPr/>
            <p:nvPr/>
          </p:nvSpPr>
          <p:spPr>
            <a:xfrm rot="9301126">
              <a:off x="6297718" y="732778"/>
              <a:ext cx="123698" cy="266216"/>
            </a:xfrm>
            <a:custGeom>
              <a:avLst/>
              <a:gdLst/>
              <a:ahLst/>
              <a:cxnLst/>
              <a:rect l="l" t="t" r="r" b="b"/>
              <a:pathLst>
                <a:path w="254831" h="548433" extrusionOk="0">
                  <a:moveTo>
                    <a:pt x="1225" y="243944"/>
                  </a:moveTo>
                  <a:cubicBezTo>
                    <a:pt x="-2584" y="153774"/>
                    <a:pt x="42500" y="76304"/>
                    <a:pt x="97110" y="7724"/>
                  </a:cubicBezTo>
                  <a:cubicBezTo>
                    <a:pt x="171406" y="-39901"/>
                    <a:pt x="226016" y="146154"/>
                    <a:pt x="245700" y="198859"/>
                  </a:cubicBezTo>
                  <a:cubicBezTo>
                    <a:pt x="276816" y="301729"/>
                    <a:pt x="217125" y="404599"/>
                    <a:pt x="233000" y="508104"/>
                  </a:cubicBezTo>
                  <a:cubicBezTo>
                    <a:pt x="238716" y="550014"/>
                    <a:pt x="205696" y="569064"/>
                    <a:pt x="201250" y="516359"/>
                  </a:cubicBezTo>
                  <a:cubicBezTo>
                    <a:pt x="164421" y="394439"/>
                    <a:pt x="-16554" y="432539"/>
                    <a:pt x="1225" y="243944"/>
                  </a:cubicBezTo>
                  <a:close/>
                  <a:moveTo>
                    <a:pt x="114891" y="236959"/>
                  </a:moveTo>
                  <a:cubicBezTo>
                    <a:pt x="103460" y="228704"/>
                    <a:pt x="21546" y="208384"/>
                    <a:pt x="57741" y="193144"/>
                  </a:cubicBezTo>
                  <a:cubicBezTo>
                    <a:pt x="78060" y="196954"/>
                    <a:pt x="88856" y="214734"/>
                    <a:pt x="111081" y="216639"/>
                  </a:cubicBezTo>
                  <a:cubicBezTo>
                    <a:pt x="108541" y="178539"/>
                    <a:pt x="97110" y="143614"/>
                    <a:pt x="105366" y="106784"/>
                  </a:cubicBezTo>
                  <a:cubicBezTo>
                    <a:pt x="111081" y="107419"/>
                    <a:pt x="116160" y="108054"/>
                    <a:pt x="120606" y="108054"/>
                  </a:cubicBezTo>
                  <a:cubicBezTo>
                    <a:pt x="123781" y="120754"/>
                    <a:pt x="126321" y="131549"/>
                    <a:pt x="129496" y="144249"/>
                  </a:cubicBezTo>
                  <a:cubicBezTo>
                    <a:pt x="182200" y="111229"/>
                    <a:pt x="146641" y="163934"/>
                    <a:pt x="130766" y="183619"/>
                  </a:cubicBezTo>
                  <a:cubicBezTo>
                    <a:pt x="135210" y="210924"/>
                    <a:pt x="135846" y="238229"/>
                    <a:pt x="149181" y="265534"/>
                  </a:cubicBezTo>
                  <a:cubicBezTo>
                    <a:pt x="163785" y="256009"/>
                    <a:pt x="167596" y="243309"/>
                    <a:pt x="186646" y="248389"/>
                  </a:cubicBezTo>
                  <a:cubicBezTo>
                    <a:pt x="175216" y="271249"/>
                    <a:pt x="149181" y="286489"/>
                    <a:pt x="154896" y="311254"/>
                  </a:cubicBezTo>
                  <a:cubicBezTo>
                    <a:pt x="171406" y="348719"/>
                    <a:pt x="172675" y="392534"/>
                    <a:pt x="204425" y="422379"/>
                  </a:cubicBezTo>
                  <a:cubicBezTo>
                    <a:pt x="252050" y="285219"/>
                    <a:pt x="233635" y="137264"/>
                    <a:pt x="136481" y="27409"/>
                  </a:cubicBezTo>
                  <a:cubicBezTo>
                    <a:pt x="86950" y="-1166"/>
                    <a:pt x="19006" y="177269"/>
                    <a:pt x="24721" y="219814"/>
                  </a:cubicBezTo>
                  <a:cubicBezTo>
                    <a:pt x="8846" y="328399"/>
                    <a:pt x="72346" y="405869"/>
                    <a:pt x="175216" y="431269"/>
                  </a:cubicBezTo>
                  <a:cubicBezTo>
                    <a:pt x="170135" y="362689"/>
                    <a:pt x="112350" y="366499"/>
                    <a:pt x="80600" y="323954"/>
                  </a:cubicBezTo>
                  <a:cubicBezTo>
                    <a:pt x="106635" y="317604"/>
                    <a:pt x="118700" y="347449"/>
                    <a:pt x="140925" y="338559"/>
                  </a:cubicBezTo>
                  <a:cubicBezTo>
                    <a:pt x="128225" y="305539"/>
                    <a:pt x="128860" y="270614"/>
                    <a:pt x="114891" y="23695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5" name="Google Shape;479;p8">
              <a:extLst>
                <a:ext uri="{FF2B5EF4-FFF2-40B4-BE49-F238E27FC236}">
                  <a16:creationId xmlns:a16="http://schemas.microsoft.com/office/drawing/2014/main" id="{0F50E663-39E1-4AD0-93A3-1908DAE033F1}"/>
                </a:ext>
              </a:extLst>
            </p:cNvPr>
            <p:cNvSpPr/>
            <p:nvPr/>
          </p:nvSpPr>
          <p:spPr>
            <a:xfrm>
              <a:off x="1756780" y="575182"/>
              <a:ext cx="134585" cy="137354"/>
            </a:xfrm>
            <a:custGeom>
              <a:avLst/>
              <a:gdLst/>
              <a:ahLst/>
              <a:cxnLst/>
              <a:rect l="l" t="t" r="r" b="b"/>
              <a:pathLst>
                <a:path w="277495" h="283204" extrusionOk="0">
                  <a:moveTo>
                    <a:pt x="208280" y="49133"/>
                  </a:moveTo>
                  <a:cubicBezTo>
                    <a:pt x="137795" y="91043"/>
                    <a:pt x="68580" y="136763"/>
                    <a:pt x="0" y="179943"/>
                  </a:cubicBezTo>
                  <a:cubicBezTo>
                    <a:pt x="8890" y="202168"/>
                    <a:pt x="26670" y="266938"/>
                    <a:pt x="57150" y="247888"/>
                  </a:cubicBezTo>
                  <a:cubicBezTo>
                    <a:pt x="130175" y="204708"/>
                    <a:pt x="208280" y="168513"/>
                    <a:pt x="277495" y="120888"/>
                  </a:cubicBezTo>
                  <a:cubicBezTo>
                    <a:pt x="258445" y="97393"/>
                    <a:pt x="247650" y="28178"/>
                    <a:pt x="208280" y="49133"/>
                  </a:cubicBezTo>
                  <a:close/>
                  <a:moveTo>
                    <a:pt x="46355" y="226933"/>
                  </a:moveTo>
                  <a:cubicBezTo>
                    <a:pt x="33655" y="218043"/>
                    <a:pt x="29210" y="206613"/>
                    <a:pt x="25400" y="192643"/>
                  </a:cubicBezTo>
                  <a:cubicBezTo>
                    <a:pt x="88265" y="150733"/>
                    <a:pt x="149225" y="105648"/>
                    <a:pt x="218440" y="71358"/>
                  </a:cubicBezTo>
                  <a:cubicBezTo>
                    <a:pt x="236220" y="75803"/>
                    <a:pt x="240030" y="91678"/>
                    <a:pt x="247015" y="107553"/>
                  </a:cubicBezTo>
                  <a:cubicBezTo>
                    <a:pt x="186055" y="158353"/>
                    <a:pt x="114300" y="189468"/>
                    <a:pt x="46355" y="226933"/>
                  </a:cubicBezTo>
                  <a:close/>
                  <a:moveTo>
                    <a:pt x="181610" y="200898"/>
                  </a:moveTo>
                  <a:cubicBezTo>
                    <a:pt x="130810" y="200898"/>
                    <a:pt x="120650" y="289798"/>
                    <a:pt x="181610" y="282813"/>
                  </a:cubicBezTo>
                  <a:cubicBezTo>
                    <a:pt x="240665" y="284083"/>
                    <a:pt x="243840" y="201533"/>
                    <a:pt x="181610" y="200898"/>
                  </a:cubicBezTo>
                  <a:close/>
                  <a:moveTo>
                    <a:pt x="163830" y="259318"/>
                  </a:moveTo>
                  <a:cubicBezTo>
                    <a:pt x="159385" y="227568"/>
                    <a:pt x="184785" y="232013"/>
                    <a:pt x="205105" y="234553"/>
                  </a:cubicBezTo>
                  <a:cubicBezTo>
                    <a:pt x="208280" y="258683"/>
                    <a:pt x="182245" y="268843"/>
                    <a:pt x="163830" y="259318"/>
                  </a:cubicBezTo>
                  <a:close/>
                  <a:moveTo>
                    <a:pt x="123190" y="32623"/>
                  </a:moveTo>
                  <a:cubicBezTo>
                    <a:pt x="104140" y="-16272"/>
                    <a:pt x="28575" y="-9922"/>
                    <a:pt x="29210" y="49768"/>
                  </a:cubicBezTo>
                  <a:cubicBezTo>
                    <a:pt x="38735" y="111998"/>
                    <a:pt x="126365" y="90408"/>
                    <a:pt x="123190" y="32623"/>
                  </a:cubicBezTo>
                  <a:close/>
                  <a:moveTo>
                    <a:pt x="81280" y="20558"/>
                  </a:moveTo>
                  <a:cubicBezTo>
                    <a:pt x="127635" y="19923"/>
                    <a:pt x="81915" y="87868"/>
                    <a:pt x="55880" y="63103"/>
                  </a:cubicBezTo>
                  <a:cubicBezTo>
                    <a:pt x="37465" y="47228"/>
                    <a:pt x="61595" y="16748"/>
                    <a:pt x="81280" y="2055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6" name="Google Shape;480;p8">
              <a:extLst>
                <a:ext uri="{FF2B5EF4-FFF2-40B4-BE49-F238E27FC236}">
                  <a16:creationId xmlns:a16="http://schemas.microsoft.com/office/drawing/2014/main" id="{71494E0A-A727-4295-A68E-7B51FCE149E5}"/>
                </a:ext>
              </a:extLst>
            </p:cNvPr>
            <p:cNvSpPr/>
            <p:nvPr/>
          </p:nvSpPr>
          <p:spPr>
            <a:xfrm>
              <a:off x="4716478" y="737980"/>
              <a:ext cx="145419" cy="160635"/>
            </a:xfrm>
            <a:custGeom>
              <a:avLst/>
              <a:gdLst/>
              <a:ahLst/>
              <a:cxnLst/>
              <a:rect l="l" t="t" r="r" b="b"/>
              <a:pathLst>
                <a:path w="299833" h="331207" extrusionOk="0">
                  <a:moveTo>
                    <a:pt x="209405" y="209687"/>
                  </a:moveTo>
                  <a:cubicBezTo>
                    <a:pt x="197340" y="292237"/>
                    <a:pt x="224645" y="334782"/>
                    <a:pt x="116695" y="330972"/>
                  </a:cubicBezTo>
                  <a:cubicBezTo>
                    <a:pt x="76690" y="318272"/>
                    <a:pt x="105900" y="251597"/>
                    <a:pt x="82405" y="221752"/>
                  </a:cubicBezTo>
                  <a:cubicBezTo>
                    <a:pt x="-9670" y="236992"/>
                    <a:pt x="-780" y="222387"/>
                    <a:pt x="1125" y="136662"/>
                  </a:cubicBezTo>
                  <a:cubicBezTo>
                    <a:pt x="15730" y="118882"/>
                    <a:pt x="46210" y="123327"/>
                    <a:pt x="67800" y="118247"/>
                  </a:cubicBezTo>
                  <a:cubicBezTo>
                    <a:pt x="113520" y="107452"/>
                    <a:pt x="65895" y="38872"/>
                    <a:pt x="89390" y="5852"/>
                  </a:cubicBezTo>
                  <a:cubicBezTo>
                    <a:pt x="202420" y="-15103"/>
                    <a:pt x="175750" y="20457"/>
                    <a:pt x="194165" y="108722"/>
                  </a:cubicBezTo>
                  <a:cubicBezTo>
                    <a:pt x="225280" y="118247"/>
                    <a:pt x="286240" y="96022"/>
                    <a:pt x="293225" y="135392"/>
                  </a:cubicBezTo>
                  <a:cubicBezTo>
                    <a:pt x="318625" y="214767"/>
                    <a:pt x="266555" y="199527"/>
                    <a:pt x="209405" y="209687"/>
                  </a:cubicBezTo>
                  <a:close/>
                  <a:moveTo>
                    <a:pt x="27795" y="202067"/>
                  </a:moveTo>
                  <a:cubicBezTo>
                    <a:pt x="155430" y="169682"/>
                    <a:pt x="92565" y="223657"/>
                    <a:pt x="125585" y="302397"/>
                  </a:cubicBezTo>
                  <a:cubicBezTo>
                    <a:pt x="140190" y="304302"/>
                    <a:pt x="156065" y="306842"/>
                    <a:pt x="171305" y="301127"/>
                  </a:cubicBezTo>
                  <a:cubicBezTo>
                    <a:pt x="195435" y="266202"/>
                    <a:pt x="166860" y="221752"/>
                    <a:pt x="189720" y="188097"/>
                  </a:cubicBezTo>
                  <a:cubicBezTo>
                    <a:pt x="215755" y="184287"/>
                    <a:pt x="243695" y="179842"/>
                    <a:pt x="271635" y="175397"/>
                  </a:cubicBezTo>
                  <a:cubicBezTo>
                    <a:pt x="276715" y="160792"/>
                    <a:pt x="276715" y="149362"/>
                    <a:pt x="267825" y="137932"/>
                  </a:cubicBezTo>
                  <a:cubicBezTo>
                    <a:pt x="176385" y="125867"/>
                    <a:pt x="163050" y="146187"/>
                    <a:pt x="160510" y="40142"/>
                  </a:cubicBezTo>
                  <a:cubicBezTo>
                    <a:pt x="158605" y="17917"/>
                    <a:pt x="136380" y="21092"/>
                    <a:pt x="120505" y="26172"/>
                  </a:cubicBezTo>
                  <a:cubicBezTo>
                    <a:pt x="85580" y="45857"/>
                    <a:pt x="120505" y="101737"/>
                    <a:pt x="108440" y="134757"/>
                  </a:cubicBezTo>
                  <a:cubicBezTo>
                    <a:pt x="77325" y="141742"/>
                    <a:pt x="53195" y="136662"/>
                    <a:pt x="23350" y="153172"/>
                  </a:cubicBezTo>
                  <a:cubicBezTo>
                    <a:pt x="23350" y="172857"/>
                    <a:pt x="23350" y="182382"/>
                    <a:pt x="27795" y="20206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7" name="Google Shape;481;p8">
              <a:extLst>
                <a:ext uri="{FF2B5EF4-FFF2-40B4-BE49-F238E27FC236}">
                  <a16:creationId xmlns:a16="http://schemas.microsoft.com/office/drawing/2014/main" id="{631DB046-E1DA-46FF-B77D-914F220E12DF}"/>
                </a:ext>
              </a:extLst>
            </p:cNvPr>
            <p:cNvSpPr/>
            <p:nvPr/>
          </p:nvSpPr>
          <p:spPr>
            <a:xfrm>
              <a:off x="1639378" y="819333"/>
              <a:ext cx="126045" cy="135687"/>
            </a:xfrm>
            <a:custGeom>
              <a:avLst/>
              <a:gdLst/>
              <a:ahLst/>
              <a:cxnLst/>
              <a:rect l="l" t="t" r="r" b="b"/>
              <a:pathLst>
                <a:path w="259887" h="279767" extrusionOk="0">
                  <a:moveTo>
                    <a:pt x="226736" y="166830"/>
                  </a:moveTo>
                  <a:cubicBezTo>
                    <a:pt x="228641" y="137620"/>
                    <a:pt x="231180" y="110950"/>
                    <a:pt x="233086" y="83010"/>
                  </a:cubicBezTo>
                  <a:cubicBezTo>
                    <a:pt x="187366" y="68405"/>
                    <a:pt x="153711" y="96345"/>
                    <a:pt x="111166" y="110315"/>
                  </a:cubicBezTo>
                  <a:cubicBezTo>
                    <a:pt x="97195" y="152860"/>
                    <a:pt x="133391" y="210010"/>
                    <a:pt x="90211" y="242395"/>
                  </a:cubicBezTo>
                  <a:cubicBezTo>
                    <a:pt x="-25359" y="349710"/>
                    <a:pt x="-34250" y="191595"/>
                    <a:pt x="88941" y="193500"/>
                  </a:cubicBezTo>
                  <a:cubicBezTo>
                    <a:pt x="97195" y="143970"/>
                    <a:pt x="63541" y="67135"/>
                    <a:pt x="101005" y="31575"/>
                  </a:cubicBezTo>
                  <a:cubicBezTo>
                    <a:pt x="208320" y="6175"/>
                    <a:pt x="274995" y="-51610"/>
                    <a:pt x="252770" y="105870"/>
                  </a:cubicBezTo>
                  <a:cubicBezTo>
                    <a:pt x="241975" y="140160"/>
                    <a:pt x="264200" y="170005"/>
                    <a:pt x="259120" y="201120"/>
                  </a:cubicBezTo>
                  <a:cubicBezTo>
                    <a:pt x="198161" y="328120"/>
                    <a:pt x="109261" y="242395"/>
                    <a:pt x="226736" y="166830"/>
                  </a:cubicBezTo>
                  <a:close/>
                  <a:moveTo>
                    <a:pt x="115611" y="79835"/>
                  </a:moveTo>
                  <a:cubicBezTo>
                    <a:pt x="146091" y="80470"/>
                    <a:pt x="172125" y="56975"/>
                    <a:pt x="203875" y="58245"/>
                  </a:cubicBezTo>
                  <a:cubicBezTo>
                    <a:pt x="229275" y="60150"/>
                    <a:pt x="238800" y="46180"/>
                    <a:pt x="229911" y="22050"/>
                  </a:cubicBezTo>
                  <a:cubicBezTo>
                    <a:pt x="198161" y="38560"/>
                    <a:pt x="97195" y="29035"/>
                    <a:pt x="115611" y="7983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8" name="Google Shape;482;p8">
              <a:extLst>
                <a:ext uri="{FF2B5EF4-FFF2-40B4-BE49-F238E27FC236}">
                  <a16:creationId xmlns:a16="http://schemas.microsoft.com/office/drawing/2014/main" id="{6C3F2E69-7F19-4BB4-9196-BC1986750B11}"/>
                </a:ext>
              </a:extLst>
            </p:cNvPr>
            <p:cNvSpPr/>
            <p:nvPr/>
          </p:nvSpPr>
          <p:spPr>
            <a:xfrm>
              <a:off x="8172573" y="555140"/>
              <a:ext cx="115263" cy="157296"/>
            </a:xfrm>
            <a:custGeom>
              <a:avLst/>
              <a:gdLst/>
              <a:ahLst/>
              <a:cxnLst/>
              <a:rect l="l" t="t" r="r" b="b"/>
              <a:pathLst>
                <a:path w="237655" h="324321" extrusionOk="0">
                  <a:moveTo>
                    <a:pt x="103670" y="224422"/>
                  </a:moveTo>
                  <a:cubicBezTo>
                    <a:pt x="118910" y="164097"/>
                    <a:pt x="80810" y="37097"/>
                    <a:pt x="129070" y="1537"/>
                  </a:cubicBezTo>
                  <a:cubicBezTo>
                    <a:pt x="197650" y="-13703"/>
                    <a:pt x="200190" y="88532"/>
                    <a:pt x="237655" y="124092"/>
                  </a:cubicBezTo>
                  <a:cubicBezTo>
                    <a:pt x="219875" y="178702"/>
                    <a:pt x="165900" y="59957"/>
                    <a:pt x="132245" y="71387"/>
                  </a:cubicBezTo>
                  <a:cubicBezTo>
                    <a:pt x="115735" y="135522"/>
                    <a:pt x="151930" y="215532"/>
                    <a:pt x="110655" y="271412"/>
                  </a:cubicBezTo>
                  <a:cubicBezTo>
                    <a:pt x="-25235" y="413017"/>
                    <a:pt x="-45555" y="225692"/>
                    <a:pt x="103670" y="224422"/>
                  </a:cubicBezTo>
                  <a:close/>
                  <a:moveTo>
                    <a:pt x="176060" y="65672"/>
                  </a:moveTo>
                  <a:cubicBezTo>
                    <a:pt x="170980" y="47892"/>
                    <a:pt x="167170" y="29477"/>
                    <a:pt x="146850" y="25032"/>
                  </a:cubicBezTo>
                  <a:cubicBezTo>
                    <a:pt x="136690" y="33922"/>
                    <a:pt x="136690" y="33922"/>
                    <a:pt x="134785" y="44082"/>
                  </a:cubicBezTo>
                  <a:cubicBezTo>
                    <a:pt x="148755" y="51067"/>
                    <a:pt x="162090" y="58687"/>
                    <a:pt x="176060" y="6567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9" name="Google Shape;483;p8">
              <a:extLst>
                <a:ext uri="{FF2B5EF4-FFF2-40B4-BE49-F238E27FC236}">
                  <a16:creationId xmlns:a16="http://schemas.microsoft.com/office/drawing/2014/main" id="{9B2453D0-FA03-4643-84F5-9E3C91A5CBC8}"/>
                </a:ext>
              </a:extLst>
            </p:cNvPr>
            <p:cNvSpPr/>
            <p:nvPr/>
          </p:nvSpPr>
          <p:spPr>
            <a:xfrm>
              <a:off x="4481735" y="547509"/>
              <a:ext cx="87093" cy="153839"/>
            </a:xfrm>
            <a:custGeom>
              <a:avLst/>
              <a:gdLst/>
              <a:ahLst/>
              <a:cxnLst/>
              <a:rect l="l" t="t" r="r" b="b"/>
              <a:pathLst>
                <a:path w="179573" h="317193" extrusionOk="0">
                  <a:moveTo>
                    <a:pt x="48300" y="7056"/>
                  </a:moveTo>
                  <a:cubicBezTo>
                    <a:pt x="85130" y="8961"/>
                    <a:pt x="155616" y="-21519"/>
                    <a:pt x="159425" y="31186"/>
                  </a:cubicBezTo>
                  <a:cubicBezTo>
                    <a:pt x="167680" y="121356"/>
                    <a:pt x="186096" y="212796"/>
                    <a:pt x="177205" y="302966"/>
                  </a:cubicBezTo>
                  <a:cubicBezTo>
                    <a:pt x="142280" y="316301"/>
                    <a:pt x="114975" y="320111"/>
                    <a:pt x="85766" y="315031"/>
                  </a:cubicBezTo>
                  <a:cubicBezTo>
                    <a:pt x="69255" y="264231"/>
                    <a:pt x="90211" y="208351"/>
                    <a:pt x="78780" y="154376"/>
                  </a:cubicBezTo>
                  <a:cubicBezTo>
                    <a:pt x="-62189" y="192476"/>
                    <a:pt x="24171" y="74366"/>
                    <a:pt x="48300" y="7056"/>
                  </a:cubicBezTo>
                  <a:close/>
                  <a:moveTo>
                    <a:pt x="109261" y="290901"/>
                  </a:moveTo>
                  <a:cubicBezTo>
                    <a:pt x="134025" y="291536"/>
                    <a:pt x="134025" y="291536"/>
                    <a:pt x="154346" y="278836"/>
                  </a:cubicBezTo>
                  <a:cubicBezTo>
                    <a:pt x="153075" y="219781"/>
                    <a:pt x="167680" y="54046"/>
                    <a:pt x="118786" y="24201"/>
                  </a:cubicBezTo>
                  <a:cubicBezTo>
                    <a:pt x="53380" y="10231"/>
                    <a:pt x="40046" y="82621"/>
                    <a:pt x="20996" y="128976"/>
                  </a:cubicBezTo>
                  <a:cubicBezTo>
                    <a:pt x="48936" y="149931"/>
                    <a:pt x="55921" y="133421"/>
                    <a:pt x="69891" y="115641"/>
                  </a:cubicBezTo>
                  <a:cubicBezTo>
                    <a:pt x="135296" y="72461"/>
                    <a:pt x="83861" y="261691"/>
                    <a:pt x="109261" y="29090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0" name="Google Shape;484;p8">
              <a:extLst>
                <a:ext uri="{FF2B5EF4-FFF2-40B4-BE49-F238E27FC236}">
                  <a16:creationId xmlns:a16="http://schemas.microsoft.com/office/drawing/2014/main" id="{9807AEC3-39CD-4D14-B42A-CD3D9393FE2E}"/>
                </a:ext>
              </a:extLst>
            </p:cNvPr>
            <p:cNvSpPr/>
            <p:nvPr/>
          </p:nvSpPr>
          <p:spPr>
            <a:xfrm>
              <a:off x="2048182" y="505004"/>
              <a:ext cx="126077" cy="173483"/>
            </a:xfrm>
            <a:custGeom>
              <a:avLst/>
              <a:gdLst/>
              <a:ahLst/>
              <a:cxnLst/>
              <a:rect l="l" t="t" r="r" b="b"/>
              <a:pathLst>
                <a:path w="283319" h="389850" extrusionOk="0">
                  <a:moveTo>
                    <a:pt x="215764" y="169337"/>
                  </a:moveTo>
                  <a:cubicBezTo>
                    <a:pt x="302124" y="27097"/>
                    <a:pt x="90669" y="-68153"/>
                    <a:pt x="11294" y="60752"/>
                  </a:cubicBezTo>
                  <a:cubicBezTo>
                    <a:pt x="-7756" y="89962"/>
                    <a:pt x="-3946" y="100757"/>
                    <a:pt x="32249" y="114092"/>
                  </a:cubicBezTo>
                  <a:cubicBezTo>
                    <a:pt x="71619" y="115997"/>
                    <a:pt x="97019" y="51862"/>
                    <a:pt x="145279" y="76627"/>
                  </a:cubicBezTo>
                  <a:cubicBezTo>
                    <a:pt x="215764" y="123617"/>
                    <a:pt x="108449" y="154732"/>
                    <a:pt x="109719" y="185212"/>
                  </a:cubicBezTo>
                  <a:cubicBezTo>
                    <a:pt x="111624" y="209342"/>
                    <a:pt x="220844" y="209977"/>
                    <a:pt x="165599" y="293162"/>
                  </a:cubicBezTo>
                  <a:cubicBezTo>
                    <a:pt x="115434" y="342057"/>
                    <a:pt x="90669" y="265222"/>
                    <a:pt x="53204" y="286812"/>
                  </a:cubicBezTo>
                  <a:cubicBezTo>
                    <a:pt x="41774" y="293797"/>
                    <a:pt x="19549" y="293162"/>
                    <a:pt x="19549" y="310942"/>
                  </a:cubicBezTo>
                  <a:cubicBezTo>
                    <a:pt x="44949" y="470962"/>
                    <a:pt x="437379" y="369362"/>
                    <a:pt x="215764" y="169337"/>
                  </a:cubicBezTo>
                  <a:close/>
                  <a:moveTo>
                    <a:pt x="255769" y="311577"/>
                  </a:moveTo>
                  <a:cubicBezTo>
                    <a:pt x="230369" y="375712"/>
                    <a:pt x="58919" y="393492"/>
                    <a:pt x="43679" y="321102"/>
                  </a:cubicBezTo>
                  <a:cubicBezTo>
                    <a:pt x="53204" y="313482"/>
                    <a:pt x="60189" y="310942"/>
                    <a:pt x="70984" y="308402"/>
                  </a:cubicBezTo>
                  <a:cubicBezTo>
                    <a:pt x="145914" y="381427"/>
                    <a:pt x="251959" y="274112"/>
                    <a:pt x="178299" y="199817"/>
                  </a:cubicBezTo>
                  <a:cubicBezTo>
                    <a:pt x="157344" y="184577"/>
                    <a:pt x="144644" y="190927"/>
                    <a:pt x="171314" y="159812"/>
                  </a:cubicBezTo>
                  <a:cubicBezTo>
                    <a:pt x="239259" y="61387"/>
                    <a:pt x="99559" y="5507"/>
                    <a:pt x="35424" y="93772"/>
                  </a:cubicBezTo>
                  <a:cubicBezTo>
                    <a:pt x="-5851" y="29002"/>
                    <a:pt x="261484" y="-44023"/>
                    <a:pt x="204334" y="148382"/>
                  </a:cubicBezTo>
                  <a:cubicBezTo>
                    <a:pt x="201159" y="161082"/>
                    <a:pt x="201159" y="165527"/>
                    <a:pt x="188459" y="178227"/>
                  </a:cubicBezTo>
                  <a:cubicBezTo>
                    <a:pt x="227829" y="190292"/>
                    <a:pt x="275454" y="281097"/>
                    <a:pt x="255769" y="31157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1" name="Google Shape;485;p8">
              <a:extLst>
                <a:ext uri="{FF2B5EF4-FFF2-40B4-BE49-F238E27FC236}">
                  <a16:creationId xmlns:a16="http://schemas.microsoft.com/office/drawing/2014/main" id="{796D8525-F78B-4E8E-B835-32B685225339}"/>
                </a:ext>
              </a:extLst>
            </p:cNvPr>
            <p:cNvSpPr/>
            <p:nvPr/>
          </p:nvSpPr>
          <p:spPr>
            <a:xfrm>
              <a:off x="126658" y="1006747"/>
              <a:ext cx="126356" cy="163706"/>
            </a:xfrm>
            <a:custGeom>
              <a:avLst/>
              <a:gdLst/>
              <a:ahLst/>
              <a:cxnLst/>
              <a:rect l="l" t="t" r="r" b="b"/>
              <a:pathLst>
                <a:path w="260527" h="337538" extrusionOk="0">
                  <a:moveTo>
                    <a:pt x="70965" y="150214"/>
                  </a:moveTo>
                  <a:cubicBezTo>
                    <a:pt x="-31905" y="199744"/>
                    <a:pt x="-8410" y="53058"/>
                    <a:pt x="50010" y="19403"/>
                  </a:cubicBezTo>
                  <a:cubicBezTo>
                    <a:pt x="99540" y="-21237"/>
                    <a:pt x="175740" y="6703"/>
                    <a:pt x="204315" y="59408"/>
                  </a:cubicBezTo>
                  <a:cubicBezTo>
                    <a:pt x="234160" y="115923"/>
                    <a:pt x="183360" y="176248"/>
                    <a:pt x="162405" y="228953"/>
                  </a:cubicBezTo>
                  <a:cubicBezTo>
                    <a:pt x="222730" y="254353"/>
                    <a:pt x="280515" y="204189"/>
                    <a:pt x="253845" y="309598"/>
                  </a:cubicBezTo>
                  <a:cubicBezTo>
                    <a:pt x="202410" y="340078"/>
                    <a:pt x="118590" y="320394"/>
                    <a:pt x="56360" y="337539"/>
                  </a:cubicBezTo>
                  <a:cubicBezTo>
                    <a:pt x="-5235" y="325473"/>
                    <a:pt x="102715" y="185139"/>
                    <a:pt x="110970" y="145133"/>
                  </a:cubicBezTo>
                  <a:cubicBezTo>
                    <a:pt x="160500" y="75919"/>
                    <a:pt x="55725" y="82269"/>
                    <a:pt x="70965" y="150214"/>
                  </a:cubicBezTo>
                  <a:close/>
                  <a:moveTo>
                    <a:pt x="123670" y="254353"/>
                  </a:moveTo>
                  <a:cubicBezTo>
                    <a:pt x="140180" y="194664"/>
                    <a:pt x="211935" y="137514"/>
                    <a:pt x="182725" y="75283"/>
                  </a:cubicBezTo>
                  <a:cubicBezTo>
                    <a:pt x="171930" y="39088"/>
                    <a:pt x="127480" y="13053"/>
                    <a:pt x="92555" y="25119"/>
                  </a:cubicBezTo>
                  <a:cubicBezTo>
                    <a:pt x="36040" y="25119"/>
                    <a:pt x="-10315" y="170533"/>
                    <a:pt x="46200" y="130528"/>
                  </a:cubicBezTo>
                  <a:cubicBezTo>
                    <a:pt x="49375" y="47978"/>
                    <a:pt x="174470" y="60678"/>
                    <a:pt x="140180" y="141958"/>
                  </a:cubicBezTo>
                  <a:cubicBezTo>
                    <a:pt x="119225" y="196569"/>
                    <a:pt x="72870" y="253083"/>
                    <a:pt x="69060" y="309598"/>
                  </a:cubicBezTo>
                  <a:cubicBezTo>
                    <a:pt x="109065" y="316583"/>
                    <a:pt x="193520" y="307694"/>
                    <a:pt x="232890" y="291183"/>
                  </a:cubicBezTo>
                  <a:cubicBezTo>
                    <a:pt x="234795" y="282928"/>
                    <a:pt x="236700" y="274039"/>
                    <a:pt x="238605" y="264514"/>
                  </a:cubicBezTo>
                  <a:cubicBezTo>
                    <a:pt x="197330" y="251178"/>
                    <a:pt x="166215" y="267689"/>
                    <a:pt x="123670" y="25435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52" name="Google Shape;486;p8">
              <a:extLst>
                <a:ext uri="{FF2B5EF4-FFF2-40B4-BE49-F238E27FC236}">
                  <a16:creationId xmlns:a16="http://schemas.microsoft.com/office/drawing/2014/main" id="{1ED48132-0E3B-4C9F-8080-7B4FB0379E28}"/>
                </a:ext>
              </a:extLst>
            </p:cNvPr>
            <p:cNvGrpSpPr/>
            <p:nvPr/>
          </p:nvGrpSpPr>
          <p:grpSpPr>
            <a:xfrm>
              <a:off x="7836651" y="987182"/>
              <a:ext cx="121750" cy="155749"/>
              <a:chOff x="6422295" y="3351500"/>
              <a:chExt cx="252856" cy="323399"/>
            </a:xfrm>
          </p:grpSpPr>
          <p:sp>
            <p:nvSpPr>
              <p:cNvPr id="61" name="Google Shape;487;p8">
                <a:extLst>
                  <a:ext uri="{FF2B5EF4-FFF2-40B4-BE49-F238E27FC236}">
                    <a16:creationId xmlns:a16="http://schemas.microsoft.com/office/drawing/2014/main" id="{865D144E-115E-4C0F-858B-7AD446047D5F}"/>
                  </a:ext>
                </a:extLst>
              </p:cNvPr>
              <p:cNvSpPr/>
              <p:nvPr/>
            </p:nvSpPr>
            <p:spPr>
              <a:xfrm>
                <a:off x="6422295" y="3351500"/>
                <a:ext cx="252856" cy="323399"/>
              </a:xfrm>
              <a:custGeom>
                <a:avLst/>
                <a:gdLst/>
                <a:ahLst/>
                <a:cxnLst/>
                <a:rect l="l" t="t" r="r" b="b"/>
                <a:pathLst>
                  <a:path w="294019" h="376045" extrusionOk="0">
                    <a:moveTo>
                      <a:pt x="172720" y="274801"/>
                    </a:moveTo>
                    <a:cubicBezTo>
                      <a:pt x="154940" y="268451"/>
                      <a:pt x="140970" y="274801"/>
                      <a:pt x="126365" y="278611"/>
                    </a:cubicBezTo>
                    <a:cubicBezTo>
                      <a:pt x="109855" y="304011"/>
                      <a:pt x="109220" y="334491"/>
                      <a:pt x="99695" y="364336"/>
                    </a:cubicBezTo>
                    <a:cubicBezTo>
                      <a:pt x="71755" y="359256"/>
                      <a:pt x="0" y="392911"/>
                      <a:pt x="0" y="352906"/>
                    </a:cubicBezTo>
                    <a:cubicBezTo>
                      <a:pt x="38100" y="239241"/>
                      <a:pt x="70485" y="123671"/>
                      <a:pt x="102235" y="8101"/>
                    </a:cubicBezTo>
                    <a:cubicBezTo>
                      <a:pt x="248920" y="-26189"/>
                      <a:pt x="236855" y="52551"/>
                      <a:pt x="264160" y="165581"/>
                    </a:cubicBezTo>
                    <a:cubicBezTo>
                      <a:pt x="262255" y="201776"/>
                      <a:pt x="322580" y="359256"/>
                      <a:pt x="276860" y="358621"/>
                    </a:cubicBezTo>
                    <a:cubicBezTo>
                      <a:pt x="153670" y="357986"/>
                      <a:pt x="184150" y="433551"/>
                      <a:pt x="172720" y="274801"/>
                    </a:cubicBezTo>
                    <a:close/>
                    <a:moveTo>
                      <a:pt x="266700" y="331316"/>
                    </a:moveTo>
                    <a:cubicBezTo>
                      <a:pt x="262255" y="229081"/>
                      <a:pt x="236220" y="119861"/>
                      <a:pt x="201295" y="23341"/>
                    </a:cubicBezTo>
                    <a:cubicBezTo>
                      <a:pt x="175895" y="22071"/>
                      <a:pt x="129540" y="8736"/>
                      <a:pt x="120015" y="41121"/>
                    </a:cubicBezTo>
                    <a:cubicBezTo>
                      <a:pt x="86995" y="139546"/>
                      <a:pt x="53975" y="239876"/>
                      <a:pt x="33655" y="341476"/>
                    </a:cubicBezTo>
                    <a:cubicBezTo>
                      <a:pt x="90805" y="367511"/>
                      <a:pt x="90805" y="291946"/>
                      <a:pt x="106680" y="256386"/>
                    </a:cubicBezTo>
                    <a:cubicBezTo>
                      <a:pt x="290195" y="214476"/>
                      <a:pt x="113665" y="389736"/>
                      <a:pt x="266700" y="33131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2" name="Google Shape;488;p8">
                <a:extLst>
                  <a:ext uri="{FF2B5EF4-FFF2-40B4-BE49-F238E27FC236}">
                    <a16:creationId xmlns:a16="http://schemas.microsoft.com/office/drawing/2014/main" id="{FBDD473D-941E-49C0-95D2-5368D36472F6}"/>
                  </a:ext>
                </a:extLst>
              </p:cNvPr>
              <p:cNvSpPr/>
              <p:nvPr/>
            </p:nvSpPr>
            <p:spPr>
              <a:xfrm>
                <a:off x="6523827" y="3405472"/>
                <a:ext cx="67661" cy="140626"/>
              </a:xfrm>
              <a:custGeom>
                <a:avLst/>
                <a:gdLst/>
                <a:ahLst/>
                <a:cxnLst/>
                <a:rect l="l" t="t" r="r" b="b"/>
                <a:pathLst>
                  <a:path w="78676" h="163519" extrusionOk="0">
                    <a:moveTo>
                      <a:pt x="47759" y="0"/>
                    </a:moveTo>
                    <a:cubicBezTo>
                      <a:pt x="77604" y="36830"/>
                      <a:pt x="59824" y="93345"/>
                      <a:pt x="76969" y="137160"/>
                    </a:cubicBezTo>
                    <a:cubicBezTo>
                      <a:pt x="82049" y="150495"/>
                      <a:pt x="75699" y="170180"/>
                      <a:pt x="59189" y="161290"/>
                    </a:cubicBezTo>
                    <a:cubicBezTo>
                      <a:pt x="38869" y="149860"/>
                      <a:pt x="-8756" y="165735"/>
                      <a:pt x="1404" y="127635"/>
                    </a:cubicBezTo>
                    <a:cubicBezTo>
                      <a:pt x="15374" y="83820"/>
                      <a:pt x="14104" y="35560"/>
                      <a:pt x="47759" y="0"/>
                    </a:cubicBezTo>
                    <a:close/>
                    <a:moveTo>
                      <a:pt x="25534" y="130810"/>
                    </a:moveTo>
                    <a:cubicBezTo>
                      <a:pt x="68714" y="151130"/>
                      <a:pt x="47124" y="101600"/>
                      <a:pt x="44584" y="77470"/>
                    </a:cubicBezTo>
                    <a:cubicBezTo>
                      <a:pt x="31249" y="97155"/>
                      <a:pt x="26804" y="113665"/>
                      <a:pt x="25534" y="1308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53" name="Google Shape;489;p8">
              <a:extLst>
                <a:ext uri="{FF2B5EF4-FFF2-40B4-BE49-F238E27FC236}">
                  <a16:creationId xmlns:a16="http://schemas.microsoft.com/office/drawing/2014/main" id="{2CFDE35F-9C93-41AA-AF39-B673BE122D10}"/>
                </a:ext>
              </a:extLst>
            </p:cNvPr>
            <p:cNvSpPr/>
            <p:nvPr/>
          </p:nvSpPr>
          <p:spPr>
            <a:xfrm>
              <a:off x="1353734" y="881315"/>
              <a:ext cx="187420" cy="190001"/>
            </a:xfrm>
            <a:custGeom>
              <a:avLst/>
              <a:gdLst/>
              <a:ahLst/>
              <a:cxnLst/>
              <a:rect l="l" t="t" r="r" b="b"/>
              <a:pathLst>
                <a:path w="386433" h="391754" extrusionOk="0">
                  <a:moveTo>
                    <a:pt x="22225" y="106004"/>
                  </a:moveTo>
                  <a:cubicBezTo>
                    <a:pt x="40640" y="82509"/>
                    <a:pt x="84455" y="92670"/>
                    <a:pt x="109855" y="76795"/>
                  </a:cubicBezTo>
                  <a:cubicBezTo>
                    <a:pt x="113030" y="58379"/>
                    <a:pt x="107315" y="43139"/>
                    <a:pt x="98425" y="27264"/>
                  </a:cubicBezTo>
                  <a:cubicBezTo>
                    <a:pt x="122555" y="8850"/>
                    <a:pt x="153035" y="-7661"/>
                    <a:pt x="182880" y="3770"/>
                  </a:cubicBezTo>
                  <a:cubicBezTo>
                    <a:pt x="186690" y="19645"/>
                    <a:pt x="190500" y="36789"/>
                    <a:pt x="194945" y="55839"/>
                  </a:cubicBezTo>
                  <a:cubicBezTo>
                    <a:pt x="226695" y="60284"/>
                    <a:pt x="256540" y="42504"/>
                    <a:pt x="287020" y="52664"/>
                  </a:cubicBezTo>
                  <a:cubicBezTo>
                    <a:pt x="300355" y="119339"/>
                    <a:pt x="327660" y="186014"/>
                    <a:pt x="373380" y="237450"/>
                  </a:cubicBezTo>
                  <a:cubicBezTo>
                    <a:pt x="386080" y="250150"/>
                    <a:pt x="388620" y="262850"/>
                    <a:pt x="384810" y="280629"/>
                  </a:cubicBezTo>
                  <a:cubicBezTo>
                    <a:pt x="356870" y="380325"/>
                    <a:pt x="198755" y="356195"/>
                    <a:pt x="115570" y="391754"/>
                  </a:cubicBezTo>
                  <a:cubicBezTo>
                    <a:pt x="31115" y="324445"/>
                    <a:pt x="4445" y="213320"/>
                    <a:pt x="0" y="108545"/>
                  </a:cubicBezTo>
                  <a:cubicBezTo>
                    <a:pt x="8890" y="107275"/>
                    <a:pt x="15875" y="106004"/>
                    <a:pt x="22860" y="105370"/>
                  </a:cubicBezTo>
                  <a:cubicBezTo>
                    <a:pt x="16510" y="199984"/>
                    <a:pt x="46990" y="300314"/>
                    <a:pt x="115570" y="368259"/>
                  </a:cubicBezTo>
                  <a:cubicBezTo>
                    <a:pt x="184150" y="354925"/>
                    <a:pt x="258445" y="348575"/>
                    <a:pt x="323215" y="320634"/>
                  </a:cubicBezTo>
                  <a:cubicBezTo>
                    <a:pt x="316865" y="290789"/>
                    <a:pt x="302895" y="271104"/>
                    <a:pt x="309245" y="243164"/>
                  </a:cubicBezTo>
                  <a:cubicBezTo>
                    <a:pt x="322580" y="243164"/>
                    <a:pt x="333375" y="243164"/>
                    <a:pt x="347980" y="243164"/>
                  </a:cubicBezTo>
                  <a:cubicBezTo>
                    <a:pt x="325755" y="189825"/>
                    <a:pt x="288290" y="147279"/>
                    <a:pt x="278765" y="88225"/>
                  </a:cubicBezTo>
                  <a:cubicBezTo>
                    <a:pt x="273685" y="48220"/>
                    <a:pt x="226695" y="69809"/>
                    <a:pt x="203835" y="81875"/>
                  </a:cubicBezTo>
                  <a:cubicBezTo>
                    <a:pt x="206375" y="93304"/>
                    <a:pt x="208280" y="102829"/>
                    <a:pt x="210185" y="112354"/>
                  </a:cubicBezTo>
                  <a:cubicBezTo>
                    <a:pt x="182245" y="123784"/>
                    <a:pt x="158115" y="145375"/>
                    <a:pt x="128270" y="132675"/>
                  </a:cubicBezTo>
                  <a:cubicBezTo>
                    <a:pt x="121285" y="63459"/>
                    <a:pt x="57150" y="126325"/>
                    <a:pt x="22225" y="106004"/>
                  </a:cubicBezTo>
                  <a:close/>
                  <a:moveTo>
                    <a:pt x="165100" y="21550"/>
                  </a:moveTo>
                  <a:cubicBezTo>
                    <a:pt x="107315" y="11389"/>
                    <a:pt x="133350" y="88225"/>
                    <a:pt x="145415" y="118070"/>
                  </a:cubicBezTo>
                  <a:cubicBezTo>
                    <a:pt x="163195" y="119975"/>
                    <a:pt x="173355" y="109814"/>
                    <a:pt x="185420" y="100289"/>
                  </a:cubicBezTo>
                  <a:cubicBezTo>
                    <a:pt x="179070" y="72984"/>
                    <a:pt x="172720" y="46314"/>
                    <a:pt x="165100" y="21550"/>
                  </a:cubicBezTo>
                  <a:close/>
                  <a:moveTo>
                    <a:pt x="327660" y="266025"/>
                  </a:moveTo>
                  <a:cubicBezTo>
                    <a:pt x="328930" y="337145"/>
                    <a:pt x="368300" y="313014"/>
                    <a:pt x="357505" y="266025"/>
                  </a:cubicBezTo>
                  <a:cubicBezTo>
                    <a:pt x="349885" y="266025"/>
                    <a:pt x="340360" y="266025"/>
                    <a:pt x="327660" y="26602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4" name="Google Shape;490;p8">
              <a:extLst>
                <a:ext uri="{FF2B5EF4-FFF2-40B4-BE49-F238E27FC236}">
                  <a16:creationId xmlns:a16="http://schemas.microsoft.com/office/drawing/2014/main" id="{205D0610-BF1E-4924-B2BC-5F952001F3CA}"/>
                </a:ext>
              </a:extLst>
            </p:cNvPr>
            <p:cNvSpPr/>
            <p:nvPr/>
          </p:nvSpPr>
          <p:spPr>
            <a:xfrm>
              <a:off x="6088369" y="586056"/>
              <a:ext cx="149720" cy="115699"/>
            </a:xfrm>
            <a:custGeom>
              <a:avLst/>
              <a:gdLst/>
              <a:ahLst/>
              <a:cxnLst/>
              <a:rect l="l" t="t" r="r" b="b"/>
              <a:pathLst>
                <a:path w="308702" h="238555" extrusionOk="0">
                  <a:moveTo>
                    <a:pt x="275682" y="130540"/>
                  </a:moveTo>
                  <a:cubicBezTo>
                    <a:pt x="186782" y="134985"/>
                    <a:pt x="95977" y="143875"/>
                    <a:pt x="7712" y="150225"/>
                  </a:cubicBezTo>
                  <a:cubicBezTo>
                    <a:pt x="-8798" y="168640"/>
                    <a:pt x="1997" y="241030"/>
                    <a:pt x="32477" y="238490"/>
                  </a:cubicBezTo>
                  <a:cubicBezTo>
                    <a:pt x="126457" y="218805"/>
                    <a:pt x="214087" y="238490"/>
                    <a:pt x="308702" y="211820"/>
                  </a:cubicBezTo>
                  <a:cubicBezTo>
                    <a:pt x="278857" y="185150"/>
                    <a:pt x="322672" y="132445"/>
                    <a:pt x="275682" y="130540"/>
                  </a:cubicBezTo>
                  <a:close/>
                  <a:moveTo>
                    <a:pt x="271872" y="187690"/>
                  </a:moveTo>
                  <a:cubicBezTo>
                    <a:pt x="200752" y="219440"/>
                    <a:pt x="111217" y="202930"/>
                    <a:pt x="33112" y="211185"/>
                  </a:cubicBezTo>
                  <a:cubicBezTo>
                    <a:pt x="25492" y="195310"/>
                    <a:pt x="24857" y="195310"/>
                    <a:pt x="29302" y="175625"/>
                  </a:cubicBezTo>
                  <a:cubicBezTo>
                    <a:pt x="108677" y="166100"/>
                    <a:pt x="196307" y="146415"/>
                    <a:pt x="274412" y="159750"/>
                  </a:cubicBezTo>
                  <a:cubicBezTo>
                    <a:pt x="273777" y="169275"/>
                    <a:pt x="272507" y="179435"/>
                    <a:pt x="271872" y="187690"/>
                  </a:cubicBezTo>
                  <a:close/>
                  <a:moveTo>
                    <a:pt x="3902" y="80375"/>
                  </a:moveTo>
                  <a:cubicBezTo>
                    <a:pt x="10252" y="126095"/>
                    <a:pt x="181067" y="83550"/>
                    <a:pt x="218532" y="87995"/>
                  </a:cubicBezTo>
                  <a:cubicBezTo>
                    <a:pt x="295367" y="95615"/>
                    <a:pt x="307432" y="97520"/>
                    <a:pt x="293462" y="19415"/>
                  </a:cubicBezTo>
                  <a:cubicBezTo>
                    <a:pt x="285842" y="-17415"/>
                    <a:pt x="73117" y="11160"/>
                    <a:pt x="28032" y="2270"/>
                  </a:cubicBezTo>
                  <a:cubicBezTo>
                    <a:pt x="-10068" y="1635"/>
                    <a:pt x="6442" y="55610"/>
                    <a:pt x="3902" y="80375"/>
                  </a:cubicBezTo>
                  <a:close/>
                  <a:moveTo>
                    <a:pt x="40097" y="25130"/>
                  </a:moveTo>
                  <a:cubicBezTo>
                    <a:pt x="78197" y="25765"/>
                    <a:pt x="115027" y="14970"/>
                    <a:pt x="153762" y="23225"/>
                  </a:cubicBezTo>
                  <a:cubicBezTo>
                    <a:pt x="189957" y="39735"/>
                    <a:pt x="274412" y="-6620"/>
                    <a:pt x="276317" y="52435"/>
                  </a:cubicBezTo>
                  <a:cubicBezTo>
                    <a:pt x="287747" y="79105"/>
                    <a:pt x="54067" y="73390"/>
                    <a:pt x="26762" y="72120"/>
                  </a:cubicBezTo>
                  <a:cubicBezTo>
                    <a:pt x="27397" y="54975"/>
                    <a:pt x="15332" y="26400"/>
                    <a:pt x="40097" y="2513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55" name="Google Shape;491;p8">
              <a:extLst>
                <a:ext uri="{FF2B5EF4-FFF2-40B4-BE49-F238E27FC236}">
                  <a16:creationId xmlns:a16="http://schemas.microsoft.com/office/drawing/2014/main" id="{644799B6-39C4-4EDA-90F6-B1BA328AF112}"/>
                </a:ext>
              </a:extLst>
            </p:cNvPr>
            <p:cNvGrpSpPr/>
            <p:nvPr/>
          </p:nvGrpSpPr>
          <p:grpSpPr>
            <a:xfrm>
              <a:off x="3137402" y="1006079"/>
              <a:ext cx="129429" cy="165162"/>
              <a:chOff x="6793660" y="3322411"/>
              <a:chExt cx="268804" cy="342944"/>
            </a:xfrm>
          </p:grpSpPr>
          <p:sp>
            <p:nvSpPr>
              <p:cNvPr id="58" name="Google Shape;492;p8">
                <a:extLst>
                  <a:ext uri="{FF2B5EF4-FFF2-40B4-BE49-F238E27FC236}">
                    <a16:creationId xmlns:a16="http://schemas.microsoft.com/office/drawing/2014/main" id="{DA90D220-A61A-410A-82F9-F4435DFF17DB}"/>
                  </a:ext>
                </a:extLst>
              </p:cNvPr>
              <p:cNvSpPr/>
              <p:nvPr/>
            </p:nvSpPr>
            <p:spPr>
              <a:xfrm>
                <a:off x="6793660" y="3322411"/>
                <a:ext cx="268804" cy="342944"/>
              </a:xfrm>
              <a:custGeom>
                <a:avLst/>
                <a:gdLst/>
                <a:ahLst/>
                <a:cxnLst/>
                <a:rect l="l" t="t" r="r" b="b"/>
                <a:pathLst>
                  <a:path w="312563" h="398772" extrusionOk="0">
                    <a:moveTo>
                      <a:pt x="216826" y="153028"/>
                    </a:moveTo>
                    <a:cubicBezTo>
                      <a:pt x="221271" y="163188"/>
                      <a:pt x="230796" y="165093"/>
                      <a:pt x="238416" y="166997"/>
                    </a:cubicBezTo>
                    <a:cubicBezTo>
                      <a:pt x="302551" y="185413"/>
                      <a:pt x="337476" y="278758"/>
                      <a:pt x="291756" y="323843"/>
                    </a:cubicBezTo>
                    <a:cubicBezTo>
                      <a:pt x="232701" y="397503"/>
                      <a:pt x="134911" y="398772"/>
                      <a:pt x="48551" y="398772"/>
                    </a:cubicBezTo>
                    <a:cubicBezTo>
                      <a:pt x="926" y="373372"/>
                      <a:pt x="31406" y="246372"/>
                      <a:pt x="16166" y="193668"/>
                    </a:cubicBezTo>
                    <a:cubicBezTo>
                      <a:pt x="21881" y="142868"/>
                      <a:pt x="-23839" y="59047"/>
                      <a:pt x="17436" y="23488"/>
                    </a:cubicBezTo>
                    <a:cubicBezTo>
                      <a:pt x="114591" y="-33028"/>
                      <a:pt x="340016" y="13328"/>
                      <a:pt x="216826" y="153028"/>
                    </a:cubicBezTo>
                    <a:close/>
                    <a:moveTo>
                      <a:pt x="54901" y="378453"/>
                    </a:moveTo>
                    <a:cubicBezTo>
                      <a:pt x="170471" y="401313"/>
                      <a:pt x="394626" y="293997"/>
                      <a:pt x="234606" y="185413"/>
                    </a:cubicBezTo>
                    <a:cubicBezTo>
                      <a:pt x="203491" y="168903"/>
                      <a:pt x="153326" y="198747"/>
                      <a:pt x="133006" y="175253"/>
                    </a:cubicBezTo>
                    <a:cubicBezTo>
                      <a:pt x="144436" y="149218"/>
                      <a:pt x="190791" y="149218"/>
                      <a:pt x="209206" y="125088"/>
                    </a:cubicBezTo>
                    <a:cubicBezTo>
                      <a:pt x="287946" y="16503"/>
                      <a:pt x="107606" y="-642"/>
                      <a:pt x="40296" y="38093"/>
                    </a:cubicBezTo>
                    <a:cubicBezTo>
                      <a:pt x="2831" y="52697"/>
                      <a:pt x="33311" y="106672"/>
                      <a:pt x="30136" y="137153"/>
                    </a:cubicBezTo>
                    <a:cubicBezTo>
                      <a:pt x="44741" y="218433"/>
                      <a:pt x="40931" y="297808"/>
                      <a:pt x="54901" y="37845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9" name="Google Shape;493;p8">
                <a:extLst>
                  <a:ext uri="{FF2B5EF4-FFF2-40B4-BE49-F238E27FC236}">
                    <a16:creationId xmlns:a16="http://schemas.microsoft.com/office/drawing/2014/main" id="{9207D843-5CE4-4D01-AACF-727765A8CE11}"/>
                  </a:ext>
                </a:extLst>
              </p:cNvPr>
              <p:cNvSpPr/>
              <p:nvPr/>
            </p:nvSpPr>
            <p:spPr>
              <a:xfrm>
                <a:off x="6856211" y="3513113"/>
                <a:ext cx="129046" cy="89953"/>
              </a:xfrm>
              <a:custGeom>
                <a:avLst/>
                <a:gdLst/>
                <a:ahLst/>
                <a:cxnLst/>
                <a:rect l="l" t="t" r="r" b="b"/>
                <a:pathLst>
                  <a:path w="150053" h="104597" extrusionOk="0">
                    <a:moveTo>
                      <a:pt x="0" y="23515"/>
                    </a:moveTo>
                    <a:cubicBezTo>
                      <a:pt x="96520" y="-43160"/>
                      <a:pt x="239395" y="48280"/>
                      <a:pt x="74930" y="95905"/>
                    </a:cubicBezTo>
                    <a:cubicBezTo>
                      <a:pt x="-23495" y="118765"/>
                      <a:pt x="19685" y="97175"/>
                      <a:pt x="0" y="23515"/>
                    </a:cubicBezTo>
                    <a:close/>
                    <a:moveTo>
                      <a:pt x="92075" y="16530"/>
                    </a:moveTo>
                    <a:cubicBezTo>
                      <a:pt x="57150" y="22880"/>
                      <a:pt x="17780" y="24150"/>
                      <a:pt x="31750" y="69235"/>
                    </a:cubicBezTo>
                    <a:cubicBezTo>
                      <a:pt x="53340" y="109875"/>
                      <a:pt x="184150" y="29230"/>
                      <a:pt x="92075" y="1653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0" name="Google Shape;494;p8">
                <a:extLst>
                  <a:ext uri="{FF2B5EF4-FFF2-40B4-BE49-F238E27FC236}">
                    <a16:creationId xmlns:a16="http://schemas.microsoft.com/office/drawing/2014/main" id="{3B7AA49C-B52E-45C3-B4F0-5DB3CE9ACE95}"/>
                  </a:ext>
                </a:extLst>
              </p:cNvPr>
              <p:cNvSpPr/>
              <p:nvPr/>
            </p:nvSpPr>
            <p:spPr>
              <a:xfrm>
                <a:off x="6843642" y="3359143"/>
                <a:ext cx="112645" cy="75760"/>
              </a:xfrm>
              <a:custGeom>
                <a:avLst/>
                <a:gdLst/>
                <a:ahLst/>
                <a:cxnLst/>
                <a:rect l="l" t="t" r="r" b="b"/>
                <a:pathLst>
                  <a:path w="130983" h="88093" extrusionOk="0">
                    <a:moveTo>
                      <a:pt x="0" y="22716"/>
                    </a:moveTo>
                    <a:cubicBezTo>
                      <a:pt x="33020" y="8111"/>
                      <a:pt x="162560" y="-29989"/>
                      <a:pt x="123825" y="44941"/>
                    </a:cubicBezTo>
                    <a:cubicBezTo>
                      <a:pt x="67945" y="81136"/>
                      <a:pt x="0" y="130031"/>
                      <a:pt x="0" y="22716"/>
                    </a:cubicBezTo>
                    <a:close/>
                    <a:moveTo>
                      <a:pt x="34289" y="67166"/>
                    </a:moveTo>
                    <a:cubicBezTo>
                      <a:pt x="60325" y="58911"/>
                      <a:pt x="96520" y="46846"/>
                      <a:pt x="102235" y="20176"/>
                    </a:cubicBezTo>
                    <a:cubicBezTo>
                      <a:pt x="74295" y="17636"/>
                      <a:pt x="50164" y="25256"/>
                      <a:pt x="27305" y="37321"/>
                    </a:cubicBezTo>
                    <a:cubicBezTo>
                      <a:pt x="24130" y="49386"/>
                      <a:pt x="24764" y="57641"/>
                      <a:pt x="34289" y="6716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56" name="Google Shape;495;p8">
              <a:extLst>
                <a:ext uri="{FF2B5EF4-FFF2-40B4-BE49-F238E27FC236}">
                  <a16:creationId xmlns:a16="http://schemas.microsoft.com/office/drawing/2014/main" id="{6F723D16-9CA1-4043-8ACE-CDD24A84CAAE}"/>
                </a:ext>
              </a:extLst>
            </p:cNvPr>
            <p:cNvSpPr/>
            <p:nvPr/>
          </p:nvSpPr>
          <p:spPr>
            <a:xfrm>
              <a:off x="2776508" y="1006744"/>
              <a:ext cx="212021" cy="115156"/>
            </a:xfrm>
            <a:custGeom>
              <a:avLst/>
              <a:gdLst/>
              <a:ahLst/>
              <a:cxnLst/>
              <a:rect l="l" t="t" r="r" b="b"/>
              <a:pathLst>
                <a:path w="550703" h="299106" extrusionOk="0">
                  <a:moveTo>
                    <a:pt x="315400" y="163550"/>
                  </a:moveTo>
                  <a:cubicBezTo>
                    <a:pt x="376995" y="159105"/>
                    <a:pt x="479865" y="221335"/>
                    <a:pt x="505265" y="137515"/>
                  </a:cubicBezTo>
                  <a:cubicBezTo>
                    <a:pt x="521140" y="29565"/>
                    <a:pt x="410015" y="17500"/>
                    <a:pt x="347150" y="85445"/>
                  </a:cubicBezTo>
                  <a:cubicBezTo>
                    <a:pt x="271585" y="162915"/>
                    <a:pt x="215070" y="322300"/>
                    <a:pt x="82355" y="296265"/>
                  </a:cubicBezTo>
                  <a:cubicBezTo>
                    <a:pt x="-122750" y="216255"/>
                    <a:pt x="103945" y="13055"/>
                    <a:pt x="235390" y="104495"/>
                  </a:cubicBezTo>
                  <a:cubicBezTo>
                    <a:pt x="255075" y="120370"/>
                    <a:pt x="243645" y="141960"/>
                    <a:pt x="220150" y="127990"/>
                  </a:cubicBezTo>
                  <a:cubicBezTo>
                    <a:pt x="107120" y="72745"/>
                    <a:pt x="-35755" y="251180"/>
                    <a:pt x="118550" y="248640"/>
                  </a:cubicBezTo>
                  <a:cubicBezTo>
                    <a:pt x="248725" y="211810"/>
                    <a:pt x="274760" y="49885"/>
                    <a:pt x="402395" y="9245"/>
                  </a:cubicBezTo>
                  <a:cubicBezTo>
                    <a:pt x="433510" y="1625"/>
                    <a:pt x="474785" y="-10440"/>
                    <a:pt x="498280" y="17500"/>
                  </a:cubicBezTo>
                  <a:cubicBezTo>
                    <a:pt x="519235" y="48615"/>
                    <a:pt x="559240" y="75920"/>
                    <a:pt x="549080" y="117830"/>
                  </a:cubicBezTo>
                  <a:cubicBezTo>
                    <a:pt x="541460" y="223240"/>
                    <a:pt x="350325" y="257530"/>
                    <a:pt x="315400" y="163550"/>
                  </a:cubicBezTo>
                  <a:close/>
                  <a:moveTo>
                    <a:pt x="128710" y="265785"/>
                  </a:moveTo>
                  <a:cubicBezTo>
                    <a:pt x="119820" y="279120"/>
                    <a:pt x="105215" y="267055"/>
                    <a:pt x="94420" y="274040"/>
                  </a:cubicBezTo>
                  <a:cubicBezTo>
                    <a:pt x="113470" y="281660"/>
                    <a:pt x="117280" y="256260"/>
                    <a:pt x="133790" y="268960"/>
                  </a:cubicBezTo>
                  <a:cubicBezTo>
                    <a:pt x="135060" y="268960"/>
                    <a:pt x="136330" y="267690"/>
                    <a:pt x="137600" y="267055"/>
                  </a:cubicBezTo>
                  <a:cubicBezTo>
                    <a:pt x="134425" y="266420"/>
                    <a:pt x="131885" y="266420"/>
                    <a:pt x="128710" y="265785"/>
                  </a:cubicBezTo>
                  <a:close/>
                  <a:moveTo>
                    <a:pt x="39175" y="164820"/>
                  </a:moveTo>
                  <a:cubicBezTo>
                    <a:pt x="11870" y="209270"/>
                    <a:pt x="25205" y="257530"/>
                    <a:pt x="65210" y="265150"/>
                  </a:cubicBezTo>
                  <a:cubicBezTo>
                    <a:pt x="34730" y="237210"/>
                    <a:pt x="20125" y="205460"/>
                    <a:pt x="39175" y="16482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7" name="Google Shape;496;p8">
              <a:extLst>
                <a:ext uri="{FF2B5EF4-FFF2-40B4-BE49-F238E27FC236}">
                  <a16:creationId xmlns:a16="http://schemas.microsoft.com/office/drawing/2014/main" id="{C4E55DC9-07C5-4BD4-87D7-ECDF770DF217}"/>
                </a:ext>
              </a:extLst>
            </p:cNvPr>
            <p:cNvSpPr/>
            <p:nvPr/>
          </p:nvSpPr>
          <p:spPr>
            <a:xfrm rot="1466637">
              <a:off x="5246242" y="579297"/>
              <a:ext cx="132710" cy="129208"/>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2" name="Title 1"/>
          <p:cNvSpPr>
            <a:spLocks noGrp="1"/>
          </p:cNvSpPr>
          <p:nvPr>
            <p:ph type="title" hasCustomPrompt="1"/>
          </p:nvPr>
        </p:nvSpPr>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Tree>
    <p:extLst>
      <p:ext uri="{BB962C8B-B14F-4D97-AF65-F5344CB8AC3E}">
        <p14:creationId xmlns:p14="http://schemas.microsoft.com/office/powerpoint/2010/main" val="18018371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BB53CDE-9890-4DBB-BE92-8111C65D2AE8}"/>
              </a:ext>
            </a:extLst>
          </p:cNvPr>
          <p:cNvGraphicFramePr>
            <a:graphicFrameLocks noChangeAspect="1"/>
          </p:cNvGraphicFramePr>
          <p:nvPr userDrawn="1">
            <p:custDataLst>
              <p:tags r:id="rId1"/>
            </p:custDataLst>
            <p:extLst>
              <p:ext uri="{D42A27DB-BD31-4B8C-83A1-F6EECF244321}">
                <p14:modId xmlns:p14="http://schemas.microsoft.com/office/powerpoint/2010/main" val="1767268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3BB53CDE-9890-4DBB-BE92-8111C65D2A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a:xfrm>
            <a:off x="1350000" y="1122363"/>
            <a:ext cx="8509963" cy="1984631"/>
          </a:xfrm>
        </p:spPr>
        <p:txBody>
          <a:bodyPr vert="horz" anchor="b"/>
          <a:lstStyle>
            <a:lvl1pPr algn="l" rtl="0">
              <a:defRPr sz="6000">
                <a:solidFill>
                  <a:schemeClr val="accent2"/>
                </a:solidFill>
              </a:defRPr>
            </a:lvl1pPr>
          </a:lstStyle>
          <a:p>
            <a:r>
              <a:rPr lang="da-DK" noProof="0"/>
              <a:t>Click to add </a:t>
            </a:r>
            <a:r>
              <a:rPr lang="da-DK"/>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rtl="0">
              <a:defRPr>
                <a:solidFill>
                  <a:schemeClr val="accent2"/>
                </a:solidFill>
              </a:defRPr>
            </a:lvl1pPr>
          </a:lstStyle>
          <a:p>
            <a:fld id="{E373EE1C-D19B-4EA0-9A15-DED1DEE449B9}" type="datetime1">
              <a:rPr lang="da-DK" smtClean="0"/>
              <a:pPr/>
              <a:t>03-02-2023</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rtl="0">
              <a:defRPr>
                <a:solidFill>
                  <a:schemeClr val="accent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785830897"/>
      </p:ext>
    </p:extLst>
  </p:cSld>
  <p:clrMapOvr>
    <a:overrideClrMapping bg1="dk1" tx1="lt1" bg2="dk2" tx2="lt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166A539-0101-4A82-B9C3-F577CEB05A9E}"/>
              </a:ext>
            </a:extLst>
          </p:cNvPr>
          <p:cNvGraphicFramePr>
            <a:graphicFrameLocks noChangeAspect="1"/>
          </p:cNvGraphicFramePr>
          <p:nvPr userDrawn="1">
            <p:custDataLst>
              <p:tags r:id="rId1"/>
            </p:custDataLst>
            <p:extLst>
              <p:ext uri="{D42A27DB-BD31-4B8C-83A1-F6EECF244321}">
                <p14:modId xmlns:p14="http://schemas.microsoft.com/office/powerpoint/2010/main" val="110371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166A539-0101-4A82-B9C3-F577CEB05A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rtl="0">
              <a:defRPr sz="100">
                <a:noFill/>
              </a:defRPr>
            </a:lvl1pPr>
          </a:lstStyle>
          <a:p>
            <a:fld id="{1466C188-1D45-4F08-8DB4-23F6002C2B91}" type="datetime1">
              <a:rPr lang="da-DK" smtClean="0"/>
              <a:pPr/>
              <a:t>03-02-2023</a:t>
            </a:fld>
            <a:endParaRPr lang="da-DK"/>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vert="horz" anchor="b"/>
          <a:lstStyle>
            <a:lvl1pPr algn="l" rtl="0">
              <a:defRPr sz="6000">
                <a:solidFill>
                  <a:schemeClr val="bg1"/>
                </a:solidFill>
              </a:defRPr>
            </a:lvl1pPr>
          </a:lstStyle>
          <a:p>
            <a:r>
              <a:rPr lang="da-DK" noProof="0"/>
              <a:t>Click to add </a:t>
            </a:r>
            <a:r>
              <a:rPr lang="da-DK"/>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Tree>
    <p:extLst>
      <p:ext uri="{BB962C8B-B14F-4D97-AF65-F5344CB8AC3E}">
        <p14:creationId xmlns:p14="http://schemas.microsoft.com/office/powerpoint/2010/main" val="135973420"/>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A44A42-9A21-496B-8550-E0C5720EF5BA}"/>
              </a:ext>
            </a:extLst>
          </p:cNvPr>
          <p:cNvGraphicFramePr>
            <a:graphicFrameLocks noChangeAspect="1"/>
          </p:cNvGraphicFramePr>
          <p:nvPr userDrawn="1">
            <p:custDataLst>
              <p:tags r:id="rId1"/>
            </p:custDataLst>
            <p:extLst>
              <p:ext uri="{D42A27DB-BD31-4B8C-83A1-F6EECF244321}">
                <p14:modId xmlns:p14="http://schemas.microsoft.com/office/powerpoint/2010/main" val="2239372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C5A44A42-9A21-496B-8550-E0C5720EF5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da-DK" noProof="0"/>
              <a:t>Click to add title</a:t>
            </a:r>
            <a:endParaRPr lang="da-DK"/>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lvl1pPr rtl="0">
              <a:defRPr/>
            </a:lvl1pPr>
          </a:lstStyle>
          <a:p>
            <a:fld id="{7494C8F4-6B6A-48C1-B023-792B6BA54AED}" type="datetime1">
              <a:rPr lang="da-DK" smtClean="0"/>
              <a:pPr/>
              <a:t>03-02-2023</a:t>
            </a:fld>
            <a:endParaRPr lang="da-DK"/>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94294701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9DF22F3-2934-407B-B386-5E19FC8C9F3E}"/>
              </a:ext>
            </a:extLst>
          </p:cNvPr>
          <p:cNvGraphicFramePr>
            <a:graphicFrameLocks noChangeAspect="1"/>
          </p:cNvGraphicFramePr>
          <p:nvPr userDrawn="1">
            <p:custDataLst>
              <p:tags r:id="rId1"/>
            </p:custDataLst>
            <p:extLst>
              <p:ext uri="{D42A27DB-BD31-4B8C-83A1-F6EECF244321}">
                <p14:modId xmlns:p14="http://schemas.microsoft.com/office/powerpoint/2010/main" val="1139108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39DF22F3-2934-407B-B386-5E19FC8C9F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lvl1pPr rtl="0">
              <a:defRPr/>
            </a:lvl1pPr>
          </a:lstStyle>
          <a:p>
            <a:fld id="{8C247F8E-8C20-40E4-A53C-3DA358D8C9A7}" type="datetime1">
              <a:rPr lang="da-DK" smtClean="0"/>
              <a:pPr/>
              <a:t>03-02-2023</a:t>
            </a:fld>
            <a:endParaRPr lang="da-DK"/>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0155002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B59735-DCF7-4C85-B703-F0D90F8EA2BD}"/>
              </a:ext>
            </a:extLst>
          </p:cNvPr>
          <p:cNvGraphicFramePr>
            <a:graphicFrameLocks noChangeAspect="1"/>
          </p:cNvGraphicFramePr>
          <p:nvPr userDrawn="1">
            <p:custDataLst>
              <p:tags r:id="rId1"/>
            </p:custDataLst>
            <p:extLst>
              <p:ext uri="{D42A27DB-BD31-4B8C-83A1-F6EECF244321}">
                <p14:modId xmlns:p14="http://schemas.microsoft.com/office/powerpoint/2010/main" val="3913615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5FB59735-DCF7-4C85-B703-F0D90F8EA2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8E8C12B2-0AE5-428E-985F-E18D4DA17AC7}" type="datetime1">
              <a:rPr lang="da-DK" smtClean="0"/>
              <a:pPr/>
              <a:t>03-02-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360000" y="654050"/>
            <a:ext cx="11471638" cy="938213"/>
          </a:xfrm>
        </p:spPr>
        <p:txBody>
          <a:bodyPr vert="horz" anchor="t" anchorCtr="0"/>
          <a:lstStyle>
            <a:lvl1pPr algn="l" rtl="0">
              <a:defRPr sz="6000">
                <a:solidFill>
                  <a:schemeClr val="bg2"/>
                </a:solidFill>
              </a:defRPr>
            </a:lvl1pPr>
          </a:lstStyle>
          <a:p>
            <a:r>
              <a:rPr lang="da-DK" noProof="0"/>
              <a:t>Click to add </a:t>
            </a:r>
            <a:r>
              <a:rPr lang="da-DK"/>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2799866313"/>
      </p:ext>
    </p:extLst>
  </p:cSld>
  <p:clrMapOvr>
    <a:overrideClrMapping bg1="dk1" tx1="lt1" bg2="dk2" tx2="lt2" accent1="accent1" accent2="accent2" accent3="accent3" accent4="accent4" accent5="accent5" accent6="accent6" hlink="hlink" folHlink="folHlink"/>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00ADF0-CFE3-4E1E-A6F1-50578BEF7A5A}"/>
              </a:ext>
            </a:extLst>
          </p:cNvPr>
          <p:cNvGraphicFramePr>
            <a:graphicFrameLocks noChangeAspect="1"/>
          </p:cNvGraphicFramePr>
          <p:nvPr userDrawn="1">
            <p:custDataLst>
              <p:tags r:id="rId1"/>
            </p:custDataLst>
            <p:extLst>
              <p:ext uri="{D42A27DB-BD31-4B8C-83A1-F6EECF244321}">
                <p14:modId xmlns:p14="http://schemas.microsoft.com/office/powerpoint/2010/main" val="518735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8B00ADF0-CFE3-4E1E-A6F1-50578BEF7A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03-02-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1"/>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3209672871"/>
      </p:ext>
    </p:extLst>
  </p:cSld>
  <p:clrMapOvr>
    <a:overrideClrMapping bg1="dk1" tx1="lt1" bg2="dk2" tx2="lt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05142B-6D8F-49A5-8C11-B0866A0D6D5F}"/>
              </a:ext>
            </a:extLst>
          </p:cNvPr>
          <p:cNvGraphicFramePr>
            <a:graphicFrameLocks noChangeAspect="1"/>
          </p:cNvGraphicFramePr>
          <p:nvPr userDrawn="1">
            <p:custDataLst>
              <p:tags r:id="rId1"/>
            </p:custDataLst>
            <p:extLst>
              <p:ext uri="{D42A27DB-BD31-4B8C-83A1-F6EECF244321}">
                <p14:modId xmlns:p14="http://schemas.microsoft.com/office/powerpoint/2010/main" val="1013710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705142B-6D8F-49A5-8C11-B0866A0D6D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03-02-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2"/>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464205823"/>
      </p:ext>
    </p:extLst>
  </p:cSld>
  <p:clrMapOvr>
    <a:overrideClrMapping bg1="lt1" tx1="dk1" bg2="lt2" tx2="dk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EFBFFD-CEF3-49D8-9E2C-F36F01EA735A}"/>
              </a:ext>
            </a:extLst>
          </p:cNvPr>
          <p:cNvGraphicFramePr>
            <a:graphicFrameLocks noChangeAspect="1"/>
          </p:cNvGraphicFramePr>
          <p:nvPr userDrawn="1">
            <p:custDataLst>
              <p:tags r:id="rId1"/>
            </p:custDataLst>
            <p:extLst>
              <p:ext uri="{D42A27DB-BD31-4B8C-83A1-F6EECF244321}">
                <p14:modId xmlns:p14="http://schemas.microsoft.com/office/powerpoint/2010/main" val="1308296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AFEFBFFD-CEF3-49D8-9E2C-F36F01EA73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A6F26645-C2A2-4B76-9EB3-5D9CA57B224A}" type="datetime1">
              <a:rPr lang="da-DK" smtClean="0"/>
              <a:pPr/>
              <a:t>03-02-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1468074775"/>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C198CB-AAA7-4F5B-A35F-DE9960E6AC38}"/>
              </a:ext>
            </a:extLst>
          </p:cNvPr>
          <p:cNvGraphicFramePr>
            <a:graphicFrameLocks noChangeAspect="1"/>
          </p:cNvGraphicFramePr>
          <p:nvPr userDrawn="1">
            <p:custDataLst>
              <p:tags r:id="rId1"/>
            </p:custDataLst>
            <p:extLst>
              <p:ext uri="{D42A27DB-BD31-4B8C-83A1-F6EECF244321}">
                <p14:modId xmlns:p14="http://schemas.microsoft.com/office/powerpoint/2010/main" val="1305316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F2C198CB-AAA7-4F5B-A35F-DE9960E6AC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F25BA43C-8502-4266-A056-72866794E701}" type="datetime1">
              <a:rPr lang="da-DK" smtClean="0"/>
              <a:pPr/>
              <a:t>03-02-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2101826671"/>
      </p:ext>
    </p:extLst>
  </p:cSld>
  <p:clrMapOvr>
    <a:overrideClrMapping bg1="dk1" tx1="lt1" bg2="dk2" tx2="lt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CADD21-FA21-4BEC-9BE4-76FA96D63047}"/>
              </a:ext>
            </a:extLst>
          </p:cNvPr>
          <p:cNvGraphicFramePr>
            <a:graphicFrameLocks noChangeAspect="1"/>
          </p:cNvGraphicFramePr>
          <p:nvPr userDrawn="1">
            <p:custDataLst>
              <p:tags r:id="rId1"/>
            </p:custDataLst>
            <p:extLst>
              <p:ext uri="{D42A27DB-BD31-4B8C-83A1-F6EECF244321}">
                <p14:modId xmlns:p14="http://schemas.microsoft.com/office/powerpoint/2010/main" val="137046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C3CADD21-FA21-4BEC-9BE4-76FA96D630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5"/>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PICTURES</a:t>
            </a:r>
            <a:br>
              <a:rPr lang="da-DK" sz="900">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Insert corporate picture from Templafy</a:t>
            </a: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rgbClr val="333333"/>
                </a:solidFill>
                <a:latin typeface="+mn-lt"/>
                <a:cs typeface="Verdana" panose="020B0604030504040204" pitchFamily="34" charset="0"/>
              </a:rPr>
              <a:t>1.</a:t>
            </a:r>
            <a:r>
              <a:rPr lang="da-DK" altLang="da-DK" sz="900" b="0" noProof="1">
                <a:solidFill>
                  <a:srgbClr val="333333"/>
                </a:solidFill>
                <a:latin typeface="+mn-lt"/>
                <a:cs typeface="Verdana" panose="020B0604030504040204" pitchFamily="34" charset="0"/>
              </a:rPr>
              <a:t> Click the blue </a:t>
            </a:r>
            <a:r>
              <a:rPr lang="da-DK" altLang="da-DK" sz="900" b="1" baseline="0" noProof="1">
                <a:solidFill>
                  <a:srgbClr val="333333"/>
                </a:solidFill>
                <a:latin typeface="+mn-lt"/>
                <a:cs typeface="Verdana" panose="020B0604030504040204" pitchFamily="34" charset="0"/>
              </a:rPr>
              <a:t>Templafy </a:t>
            </a:r>
            <a:r>
              <a:rPr lang="da-DK"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2. </a:t>
            </a:r>
            <a:r>
              <a:rPr lang="da-DK" altLang="da-DK" sz="900" b="0" baseline="0" noProof="1">
                <a:solidFill>
                  <a:srgbClr val="333333"/>
                </a:solidFill>
                <a:latin typeface="+mn-lt"/>
                <a:cs typeface="Verdana" panose="020B0604030504040204" pitchFamily="34" charset="0"/>
              </a:rPr>
              <a:t>In the dropdown, click </a:t>
            </a:r>
            <a:r>
              <a:rPr lang="da-DK" altLang="da-DK" sz="900" b="1" baseline="0" noProof="1">
                <a:solidFill>
                  <a:srgbClr val="333333"/>
                </a:solidFill>
                <a:latin typeface="+mn-lt"/>
                <a:cs typeface="Verdana" panose="020B0604030504040204" pitchFamily="34" charset="0"/>
              </a:rPr>
              <a:t>Images</a:t>
            </a:r>
            <a:r>
              <a:rPr lang="da-DK" altLang="da-DK" sz="900" b="0" baseline="0" noProof="1">
                <a:solidFill>
                  <a:srgbClr val="333333"/>
                </a:solidFill>
                <a:latin typeface="+mn-lt"/>
                <a:cs typeface="Verdana" panose="020B0604030504040204" pitchFamily="34" charset="0"/>
              </a:rPr>
              <a:t>, or click the </a:t>
            </a:r>
            <a:r>
              <a:rPr lang="da-DK" altLang="da-DK" sz="900" b="1" baseline="0" noProof="1">
                <a:solidFill>
                  <a:srgbClr val="333333"/>
                </a:solidFill>
                <a:latin typeface="+mn-lt"/>
                <a:cs typeface="Verdana" panose="020B0604030504040204" pitchFamily="34" charset="0"/>
              </a:rPr>
              <a:t>Images </a:t>
            </a:r>
            <a:r>
              <a:rPr lang="da-DK" altLang="da-DK" sz="900" b="0" i="0" baseline="0" noProof="1">
                <a:solidFill>
                  <a:srgbClr val="333333"/>
                </a:solidFill>
                <a:latin typeface="+mn-lt"/>
                <a:cs typeface="Verdana" panose="020B0604030504040204" pitchFamily="34" charset="0"/>
              </a:rPr>
              <a:t>button</a:t>
            </a:r>
            <a:r>
              <a:rPr lang="da-DK" altLang="da-DK" sz="900" b="0" baseline="0" noProof="1">
                <a:solidFill>
                  <a:srgbClr val="333333"/>
                </a:solidFill>
                <a:latin typeface="+mn-lt"/>
                <a:cs typeface="Verdana" panose="020B0604030504040204" pitchFamily="34" charset="0"/>
              </a:rPr>
              <a:t> in the Templafy pane on the right side of the screen</a:t>
            </a:r>
            <a:endParaRPr lang="da-DK"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da-DK"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Insert picture</a:t>
            </a:r>
          </a:p>
          <a:p>
            <a:pPr rtl="0" eaLnBrk="1" hangingPunct="1">
              <a:spcAft>
                <a:spcPts val="600"/>
              </a:spcAft>
              <a:defRPr/>
            </a:pPr>
            <a:r>
              <a:rPr lang="da-DK" altLang="da-DK" sz="900" b="0" noProof="1">
                <a:solidFill>
                  <a:srgbClr val="333333"/>
                </a:solidFill>
                <a:latin typeface="+mn-lt"/>
                <a:cs typeface="Verdana" panose="020B0604030504040204" pitchFamily="34" charset="0"/>
              </a:rPr>
              <a:t>On slides with pictureplaceholder, click on the icon and choose </a:t>
            </a:r>
            <a:r>
              <a:rPr lang="da-DK" altLang="da-DK" sz="900" b="1" noProof="1">
                <a:solidFill>
                  <a:srgbClr val="333333"/>
                </a:solidFill>
                <a:latin typeface="+mn-lt"/>
                <a:cs typeface="Verdana" panose="020B0604030504040204" pitchFamily="34" charset="0"/>
              </a:rPr>
              <a:t>Insert</a:t>
            </a:r>
          </a:p>
          <a:p>
            <a:pPr rtl="0" eaLnBrk="1" hangingPunct="1">
              <a:spcBef>
                <a:spcPts val="1200"/>
              </a:spcBef>
              <a:spcAft>
                <a:spcPts val="600"/>
              </a:spcAft>
              <a:defRPr/>
            </a:pPr>
            <a:r>
              <a:rPr lang="da-DK" sz="900" b="1" noProof="1">
                <a:solidFill>
                  <a:srgbClr val="333333"/>
                </a:solidFill>
                <a:latin typeface="+mn-lt"/>
                <a:cs typeface="Verdana" panose="020B0604030504040204" pitchFamily="34" charset="0"/>
              </a:rPr>
              <a:t>Crop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1. </a:t>
            </a: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Crop</a:t>
            </a:r>
            <a:r>
              <a:rPr lang="da-DK" altLang="da-DK" sz="900" b="0" noProof="1">
                <a:solidFill>
                  <a:srgbClr val="333333"/>
                </a:solidFill>
                <a:latin typeface="+mn-lt"/>
                <a:cs typeface="Verdana" panose="020B0604030504040204" pitchFamily="34" charset="0"/>
              </a:rPr>
              <a:t> to change size or focus of the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If you want to scale the picture, hold </a:t>
            </a:r>
            <a:r>
              <a:rPr lang="da-DK" altLang="da-DK" sz="900" b="1" noProof="1">
                <a:solidFill>
                  <a:srgbClr val="333333"/>
                </a:solidFill>
                <a:latin typeface="+mn-lt"/>
                <a:cs typeface="Verdana" panose="020B0604030504040204" pitchFamily="34" charset="0"/>
              </a:rPr>
              <a:t>SHIFT</a:t>
            </a:r>
            <a:r>
              <a:rPr lang="da-DK" altLang="da-DK" sz="900" b="0" noProof="1">
                <a:solidFill>
                  <a:srgbClr val="333333"/>
                </a:solidFill>
                <a:latin typeface="+mn-lt"/>
                <a:cs typeface="Verdana" panose="020B0604030504040204" pitchFamily="34" charset="0"/>
              </a:rPr>
              <a:t>-key down while dragging the corners of the picture</a:t>
            </a:r>
            <a:br>
              <a:rPr lang="da-DK" altLang="da-DK" sz="900" b="0" noProof="1">
                <a:solidFill>
                  <a:srgbClr val="333333"/>
                </a:solidFill>
                <a:latin typeface="+mn-lt"/>
                <a:cs typeface="Verdana" panose="020B0604030504040204" pitchFamily="34" charset="0"/>
              </a:rPr>
            </a:b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t>
            </a:r>
            <a:r>
              <a:rPr lang="da-DK"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da-DK"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GUIDES</a:t>
            </a:r>
            <a:endParaRPr lang="da-DK" sz="1600" b="1"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Click the </a:t>
            </a:r>
            <a:r>
              <a:rPr lang="da-DK" altLang="da-DK" sz="900" b="1" noProof="1">
                <a:solidFill>
                  <a:srgbClr val="333333"/>
                </a:solidFill>
                <a:latin typeface="+mn-lt"/>
                <a:cs typeface="Verdana" panose="020B0604030504040204" pitchFamily="34" charset="0"/>
              </a:rPr>
              <a:t>View</a:t>
            </a:r>
            <a:r>
              <a:rPr lang="da-DK" altLang="da-DK" sz="900" b="0" noProof="1">
                <a:solidFill>
                  <a:srgbClr val="333333"/>
                </a:solidFill>
                <a:latin typeface="+mn-lt"/>
                <a:cs typeface="Verdana" panose="020B0604030504040204" pitchFamily="34" charset="0"/>
              </a:rPr>
              <a:t> tab and set tick mark next to </a:t>
            </a:r>
            <a:r>
              <a:rPr lang="da-DK" altLang="da-DK" sz="900" b="1" noProof="1">
                <a:solidFill>
                  <a:srgbClr val="333333"/>
                </a:solidFill>
                <a:latin typeface="+mn-lt"/>
                <a:cs typeface="Verdana" panose="020B0604030504040204" pitchFamily="34" charset="0"/>
              </a:rPr>
              <a:t>Guides</a:t>
            </a: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lt + F9 </a:t>
            </a:r>
            <a:r>
              <a:rPr lang="da-DK" altLang="da-DK" sz="900" b="0" noProof="1">
                <a:solidFill>
                  <a:srgbClr val="333333"/>
                </a:solidFill>
                <a:latin typeface="+mn-lt"/>
                <a:cs typeface="Verdana" panose="020B0604030504040204" pitchFamily="34" charset="0"/>
              </a:rPr>
              <a:t>for quick view of guides</a:t>
            </a: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Mac: </a:t>
            </a:r>
            <a:r>
              <a:rPr lang="da-DK" sz="900" b="0" i="0">
                <a:solidFill>
                  <a:srgbClr val="333333"/>
                </a:solidFill>
                <a:effectLst/>
                <a:latin typeface="Verdana"/>
              </a:rPr>
              <a:t>⌘ </a:t>
            </a:r>
            <a:r>
              <a:rPr lang="da-DK"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6"/>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7"/>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8"/>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HEADER &amp; FOOTER</a:t>
            </a:r>
          </a:p>
          <a:p>
            <a:pPr rtl="0" eaLnBrk="1" hangingPunct="1">
              <a:spcAft>
                <a:spcPts val="600"/>
              </a:spcAft>
              <a:defRPr/>
            </a:pPr>
            <a:r>
              <a:rPr lang="da-DK" altLang="da-DK" sz="900" b="0" noProof="1">
                <a:solidFill>
                  <a:srgbClr val="333333"/>
                </a:solidFill>
                <a:latin typeface="+mn-lt"/>
                <a:cs typeface="Verdana" panose="020B0604030504040204" pitchFamily="34" charset="0"/>
              </a:rPr>
              <a:t>Do this at the very end to apply the changes on all slides</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on </a:t>
            </a:r>
            <a:r>
              <a:rPr lang="da-DK" altLang="da-DK" sz="900" b="1" noProof="1">
                <a:solidFill>
                  <a:srgbClr val="333333"/>
                </a:solidFill>
                <a:latin typeface="+mn-lt"/>
                <a:cs typeface="Verdana" panose="020B0604030504040204" pitchFamily="34" charset="0"/>
              </a:rPr>
              <a:t>Header and Footer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Insert</a:t>
            </a:r>
            <a:r>
              <a:rPr lang="da-DK" altLang="da-DK" sz="900" b="0" noProof="1">
                <a:solidFill>
                  <a:srgbClr val="333333"/>
                </a:solidFill>
                <a:latin typeface="+mn-lt"/>
                <a:cs typeface="Verdana" panose="020B0604030504040204" pitchFamily="34" charset="0"/>
              </a:rPr>
              <a:t> tab (write the desired text, click date or page number from or to)</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Apply to All </a:t>
            </a:r>
            <a:r>
              <a:rPr lang="da-DK" altLang="da-DK" sz="900" b="0" noProof="1">
                <a:solidFill>
                  <a:srgbClr val="333333"/>
                </a:solidFill>
                <a:latin typeface="+mn-lt"/>
                <a:cs typeface="Verdana" panose="020B0604030504040204" pitchFamily="34" charset="0"/>
              </a:rPr>
              <a:t>or </a:t>
            </a:r>
            <a:r>
              <a:rPr lang="da-DK" altLang="da-DK" sz="900" b="1" noProof="1">
                <a:solidFill>
                  <a:srgbClr val="333333"/>
                </a:solidFill>
                <a:latin typeface="+mn-lt"/>
                <a:cs typeface="Verdana" panose="020B0604030504040204" pitchFamily="34" charset="0"/>
              </a:rPr>
              <a:t>Apply</a:t>
            </a:r>
            <a:r>
              <a:rPr lang="da-DK" altLang="da-DK" sz="900" b="0" noProof="1">
                <a:solidFill>
                  <a:srgbClr val="333333"/>
                </a:solidFill>
                <a:latin typeface="+mn-lt"/>
                <a:cs typeface="Verdana" panose="020B0604030504040204" pitchFamily="34" charset="0"/>
              </a:rPr>
              <a:t> if only used on one slide</a:t>
            </a: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1600" b="0" noProof="1">
                <a:solidFill>
                  <a:srgbClr val="333333"/>
                </a:solidFill>
                <a:latin typeface="+mn-lt"/>
                <a:cs typeface="Verdana" panose="020B0604030504040204" pitchFamily="34" charset="0"/>
              </a:rPr>
              <a:t>COPY/PASTE CONTENT</a:t>
            </a:r>
          </a:p>
          <a:p>
            <a:pPr rtl="0" eaLnBrk="1" hangingPunct="1">
              <a:spcAft>
                <a:spcPts val="600"/>
              </a:spcAft>
              <a:defRPr/>
            </a:pPr>
            <a:r>
              <a:rPr lang="da-DK" altLang="da-DK" sz="900" b="0" noProof="1">
                <a:solidFill>
                  <a:srgbClr val="333333"/>
                </a:solidFill>
                <a:latin typeface="+mn-lt"/>
                <a:cs typeface="Verdana" panose="020B0604030504040204" pitchFamily="34" charset="0"/>
              </a:rPr>
              <a:t>When copying old content to your new presentation, 2 options are available:</a:t>
            </a:r>
          </a:p>
          <a:p>
            <a:pPr rtl="0" eaLnBrk="1" hangingPunct="1">
              <a:spcAft>
                <a:spcPts val="600"/>
              </a:spcAft>
              <a:defRPr/>
            </a:pPr>
            <a:r>
              <a:rPr lang="da-DK" altLang="da-DK" sz="900" b="1" noProof="1">
                <a:solidFill>
                  <a:srgbClr val="333333"/>
                </a:solidFill>
                <a:latin typeface="+mn-lt"/>
                <a:cs typeface="Verdana" panose="020B0604030504040204" pitchFamily="34" charset="0"/>
              </a:rPr>
              <a:t>1. Best practice: </a:t>
            </a:r>
            <a:r>
              <a:rPr lang="da-DK" altLang="da-DK" sz="900" b="0" noProof="1">
                <a:solidFill>
                  <a:srgbClr val="333333"/>
                </a:solidFill>
                <a:latin typeface="+mn-lt"/>
                <a:cs typeface="Verdana" panose="020B0604030504040204" pitchFamily="34" charset="0"/>
              </a:rPr>
              <a:t>Create a slide in your new presentation and copy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piece of content at a time (e.g. copy all text from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textbox)</a:t>
            </a:r>
            <a:endParaRPr lang="da-DK" altLang="da-DK" sz="900" b="1" i="0" u="sng"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da-DK" altLang="da-DK" sz="900" b="1" noProof="1">
              <a:solidFill>
                <a:srgbClr val="333333"/>
              </a:solidFill>
              <a:latin typeface="+mn-lt"/>
              <a:cs typeface="Verdana" panose="020B0604030504040204" pitchFamily="34" charset="0"/>
            </a:endParaRP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Insert predefined slides and elements from the Templafy button. Choose </a:t>
            </a:r>
            <a:r>
              <a:rPr lang="da-DK" altLang="da-DK" sz="900" b="1" noProof="1">
                <a:solidFill>
                  <a:srgbClr val="333333"/>
                </a:solidFill>
                <a:latin typeface="+mn-lt"/>
                <a:cs typeface="Verdana" panose="020B0604030504040204" pitchFamily="34" charset="0"/>
              </a:rPr>
              <a:t>Slides</a:t>
            </a:r>
            <a:r>
              <a:rPr lang="da-DK" altLang="da-DK" sz="900" b="0" noProof="1">
                <a:solidFill>
                  <a:srgbClr val="333333"/>
                </a:solidFill>
                <a:latin typeface="+mn-lt"/>
                <a:cs typeface="Verdana" panose="020B0604030504040204" pitchFamily="34" charset="0"/>
              </a:rPr>
              <a:t> and </a:t>
            </a:r>
            <a:r>
              <a:rPr lang="da-DK" altLang="da-DK" sz="900" b="1" noProof="1">
                <a:solidFill>
                  <a:srgbClr val="333333"/>
                </a:solidFill>
                <a:latin typeface="+mn-lt"/>
                <a:cs typeface="Verdana" panose="020B0604030504040204" pitchFamily="34" charset="0"/>
              </a:rPr>
              <a:t>Slide elements </a:t>
            </a:r>
            <a:r>
              <a:rPr lang="da-DK"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da-DK"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pPr rtl="0"/>
            <a:r>
              <a:rPr lang="da-DK"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9"/>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rtl="0">
              <a:defRPr sz="100">
                <a:noFill/>
              </a:defRPr>
            </a:lvl1pPr>
          </a:lstStyle>
          <a:p>
            <a:fld id="{A5B220B3-5DAB-45AB-9B6A-9B7C36B5A57F}" type="datetime1">
              <a:rPr lang="da-DK" smtClean="0"/>
              <a:pPr/>
              <a:t>03-02-2023</a:t>
            </a:fld>
            <a:endParaRPr lang="da-DK"/>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10"/>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TEXT STYLES</a:t>
            </a:r>
            <a:endParaRPr lang="da-DK" altLang="da-DK" sz="1600" b="0"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Use the </a:t>
            </a:r>
            <a:r>
              <a:rPr lang="da-DK" altLang="da-DK" sz="900" b="1" noProof="1">
                <a:solidFill>
                  <a:srgbClr val="333333"/>
                </a:solidFill>
                <a:latin typeface="+mn-lt"/>
                <a:cs typeface="Verdana" panose="020B0604030504040204" pitchFamily="34" charset="0"/>
              </a:rPr>
              <a:t>TAB</a:t>
            </a:r>
            <a:r>
              <a:rPr lang="da-DK" altLang="da-DK" sz="900" b="0" noProof="1">
                <a:solidFill>
                  <a:srgbClr val="333333"/>
                </a:solidFill>
                <a:latin typeface="+mn-lt"/>
                <a:cs typeface="Verdana" panose="020B0604030504040204" pitchFamily="34" charset="0"/>
              </a:rPr>
              <a:t>-key</a:t>
            </a:r>
            <a:r>
              <a:rPr lang="da-DK" altLang="da-DK" sz="900" b="0" baseline="0" noProof="1">
                <a:solidFill>
                  <a:srgbClr val="333333"/>
                </a:solidFill>
                <a:latin typeface="+mn-lt"/>
                <a:cs typeface="Verdana" panose="020B0604030504040204" pitchFamily="34" charset="0"/>
              </a:rPr>
              <a:t> to jump through levels. Click </a:t>
            </a:r>
            <a:r>
              <a:rPr lang="da-DK" altLang="da-DK" sz="900" b="1" baseline="0" noProof="1">
                <a:solidFill>
                  <a:srgbClr val="333333"/>
                </a:solidFill>
                <a:latin typeface="+mn-lt"/>
                <a:cs typeface="Verdana" panose="020B0604030504040204" pitchFamily="34" charset="0"/>
              </a:rPr>
              <a:t>ENTER</a:t>
            </a:r>
            <a:r>
              <a:rPr lang="da-DK" altLang="da-DK" sz="900" b="0" baseline="0" noProof="1">
                <a:solidFill>
                  <a:srgbClr val="333333"/>
                </a:solidFill>
                <a:latin typeface="+mn-lt"/>
                <a:cs typeface="Verdana" panose="020B0604030504040204" pitchFamily="34" charset="0"/>
              </a:rPr>
              <a:t>, then </a:t>
            </a:r>
            <a:r>
              <a:rPr lang="da-DK" altLang="da-DK" sz="900" b="1" baseline="0" noProof="1">
                <a:solidFill>
                  <a:srgbClr val="333333"/>
                </a:solidFill>
                <a:latin typeface="+mn-lt"/>
                <a:cs typeface="Verdana" panose="020B0604030504040204" pitchFamily="34" charset="0"/>
              </a:rPr>
              <a:t>TAB</a:t>
            </a:r>
            <a:r>
              <a:rPr lang="da-DK" altLang="da-DK" sz="900" b="0" baseline="0" noProof="1">
                <a:solidFill>
                  <a:srgbClr val="333333"/>
                </a:solidFill>
                <a:latin typeface="+mn-lt"/>
                <a:cs typeface="Verdana" panose="020B0604030504040204" pitchFamily="34" charset="0"/>
              </a:rPr>
              <a:t> to switch from one level to the next level</a:t>
            </a:r>
          </a:p>
          <a:p>
            <a:pPr rtl="0" eaLnBrk="1" hangingPunct="1">
              <a:spcAft>
                <a:spcPts val="600"/>
              </a:spcAft>
              <a:defRPr/>
            </a:pPr>
            <a:r>
              <a:rPr lang="da-DK" altLang="da-DK" sz="900" b="0" baseline="0" noProof="1">
                <a:solidFill>
                  <a:srgbClr val="333333"/>
                </a:solidFill>
                <a:latin typeface="+mn-lt"/>
                <a:cs typeface="Verdana" panose="020B0604030504040204" pitchFamily="34" charset="0"/>
              </a:rPr>
              <a:t>To go back in levels use </a:t>
            </a:r>
            <a:r>
              <a:rPr lang="da-DK" altLang="da-DK" sz="900" b="1" baseline="0" noProof="1">
                <a:solidFill>
                  <a:srgbClr val="333333"/>
                </a:solidFill>
                <a:latin typeface="+mn-lt"/>
                <a:cs typeface="Verdana" panose="020B0604030504040204" pitchFamily="34" charset="0"/>
              </a:rPr>
              <a:t>SHIFT-TAB</a:t>
            </a:r>
            <a:endParaRPr lang="da-DK" sz="900" b="1" noProof="1">
              <a:solidFill>
                <a:srgbClr val="333333"/>
              </a:solidFill>
              <a:latin typeface="+mn-lt"/>
              <a:cs typeface="Verdana" panose="020B0604030504040204" pitchFamily="34" charset="0"/>
            </a:endParaRPr>
          </a:p>
          <a:p>
            <a:pPr rtl="0" eaLnBrk="1" hangingPunct="1">
              <a:spcAft>
                <a:spcPts val="600"/>
              </a:spcAft>
              <a:defRPr/>
            </a:pPr>
            <a:r>
              <a:rPr lang="da-DK" sz="900" noProof="1">
                <a:solidFill>
                  <a:srgbClr val="333333"/>
                </a:solidFill>
                <a:latin typeface="+mn-lt"/>
                <a:cs typeface="Verdana" panose="020B0604030504040204" pitchFamily="34" charset="0"/>
              </a:rPr>
              <a:t>Alternatively, </a:t>
            </a:r>
            <a:r>
              <a:rPr lang="da-DK" sz="900" b="1" noProof="1">
                <a:solidFill>
                  <a:srgbClr val="333333"/>
                </a:solidFill>
                <a:latin typeface="+mn-lt"/>
                <a:cs typeface="Verdana" panose="020B0604030504040204" pitchFamily="34" charset="0"/>
              </a:rPr>
              <a:t>Increase</a:t>
            </a:r>
            <a:r>
              <a:rPr lang="da-DK" sz="900" baseline="0" noProof="1">
                <a:solidFill>
                  <a:srgbClr val="333333"/>
                </a:solidFill>
                <a:latin typeface="+mn-lt"/>
                <a:cs typeface="Verdana" panose="020B0604030504040204" pitchFamily="34" charset="0"/>
              </a:rPr>
              <a:t> and </a:t>
            </a:r>
            <a:r>
              <a:rPr lang="da-DK" sz="900" b="1" baseline="0" noProof="1">
                <a:solidFill>
                  <a:srgbClr val="333333"/>
                </a:solidFill>
                <a:latin typeface="+mn-lt"/>
                <a:cs typeface="Verdana" panose="020B0604030504040204" pitchFamily="34" charset="0"/>
              </a:rPr>
              <a:t>Decrease </a:t>
            </a:r>
            <a:r>
              <a:rPr lang="da-DK" sz="900" baseline="0" noProof="1">
                <a:solidFill>
                  <a:srgbClr val="333333"/>
                </a:solidFill>
                <a:latin typeface="+mn-lt"/>
                <a:cs typeface="Verdana" panose="020B0604030504040204" pitchFamily="34" charset="0"/>
              </a:rPr>
              <a:t>list level can be used</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noProof="1">
                <a:solidFill>
                  <a:srgbClr val="333333"/>
                </a:solidFill>
                <a:latin typeface="+mn-lt"/>
                <a:cs typeface="Verdana" panose="020B0604030504040204" pitchFamily="34" charset="0"/>
              </a:rPr>
              <a:t>Click the </a:t>
            </a:r>
            <a:r>
              <a:rPr lang="da-DK" altLang="da-DK" sz="900" b="1" baseline="0" noProof="1">
                <a:solidFill>
                  <a:srgbClr val="333333"/>
                </a:solidFill>
                <a:latin typeface="+mn-lt"/>
                <a:cs typeface="Verdana" panose="020B0604030504040204" pitchFamily="34" charset="0"/>
              </a:rPr>
              <a:t>Reset </a:t>
            </a:r>
            <a:r>
              <a:rPr lang="da-DK" altLang="da-DK" sz="900" noProof="1">
                <a:solidFill>
                  <a:srgbClr val="333333"/>
                </a:solidFill>
                <a:latin typeface="+mn-lt"/>
                <a:cs typeface="Verdana" panose="020B0604030504040204" pitchFamily="34" charset="0"/>
              </a:rPr>
              <a:t>menu to reset position, size</a:t>
            </a:r>
            <a:r>
              <a:rPr lang="da-DK"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da-DK" altLang="da-DK" sz="900" b="0" noProof="1">
                <a:solidFill>
                  <a:srgbClr val="333333"/>
                </a:solidFill>
                <a:latin typeface="+mn-lt"/>
                <a:cs typeface="Verdana" panose="020B0604030504040204" pitchFamily="34" charset="0"/>
              </a:rPr>
            </a:br>
            <a:r>
              <a:rPr lang="da-DK"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Click on the menu </a:t>
            </a:r>
            <a:r>
              <a:rPr lang="da-DK" altLang="da-DK" sz="900" b="1" noProof="1">
                <a:solidFill>
                  <a:srgbClr val="333333"/>
                </a:solidFill>
                <a:latin typeface="+mn-lt"/>
                <a:cs typeface="Verdana" panose="020B0604030504040204" pitchFamily="34" charset="0"/>
              </a:rPr>
              <a:t>New Slide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Home</a:t>
            </a:r>
            <a:r>
              <a:rPr lang="da-DK" altLang="da-DK" sz="900" b="0" noProof="1">
                <a:solidFill>
                  <a:srgbClr val="333333"/>
                </a:solidFill>
                <a:latin typeface="+mn-lt"/>
                <a:cs typeface="Verdana" panose="020B0604030504040204" pitchFamily="34" charset="0"/>
              </a:rPr>
              <a:t> tab to insert a new slide</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Change layout</a:t>
            </a:r>
            <a:endParaRPr lang="da-DK" altLang="da-DK" sz="900" b="0" noProof="1">
              <a:solidFill>
                <a:srgbClr val="333333"/>
              </a:solidFill>
              <a:latin typeface="+mn-lt"/>
              <a:cs typeface="Verdana" panose="020B0604030504040204" pitchFamily="34" charset="0"/>
            </a:endParaRPr>
          </a:p>
          <a:p>
            <a:pPr marL="0" indent="0" rtl="0">
              <a:spcAft>
                <a:spcPts val="600"/>
              </a:spcAft>
              <a:buFont typeface="+mj-lt"/>
              <a:buNone/>
            </a:pPr>
            <a:r>
              <a:rPr lang="da-DK" sz="900" err="1">
                <a:solidFill>
                  <a:srgbClr val="333333"/>
                </a:solidFill>
                <a:latin typeface="+mn-lt"/>
                <a:ea typeface="Verdana" panose="020B0604030504040204" pitchFamily="34" charset="0"/>
              </a:rPr>
              <a:t>Click</a:t>
            </a:r>
            <a:r>
              <a:rPr lang="da-DK" sz="900">
                <a:solidFill>
                  <a:srgbClr val="333333"/>
                </a:solidFill>
                <a:latin typeface="+mn-lt"/>
                <a:ea typeface="Verdana" panose="020B0604030504040204" pitchFamily="34" charset="0"/>
              </a:rPr>
              <a:t> on the </a:t>
            </a:r>
            <a:r>
              <a:rPr lang="da-DK" sz="900" err="1">
                <a:solidFill>
                  <a:srgbClr val="333333"/>
                </a:solidFill>
                <a:latin typeface="+mn-lt"/>
                <a:ea typeface="Verdana" panose="020B0604030504040204" pitchFamily="34" charset="0"/>
              </a:rPr>
              <a:t>arrow</a:t>
            </a:r>
            <a:r>
              <a:rPr lang="da-DK" sz="900">
                <a:solidFill>
                  <a:srgbClr val="333333"/>
                </a:solidFill>
                <a:latin typeface="+mn-lt"/>
                <a:ea typeface="Verdana" panose="020B0604030504040204" pitchFamily="34" charset="0"/>
              </a:rPr>
              <a:t> </a:t>
            </a:r>
            <a:r>
              <a:rPr lang="da-DK" sz="900" err="1">
                <a:solidFill>
                  <a:srgbClr val="333333"/>
                </a:solidFill>
                <a:latin typeface="+mn-lt"/>
                <a:ea typeface="Verdana" panose="020B0604030504040204" pitchFamily="34" charset="0"/>
              </a:rPr>
              <a:t>next</a:t>
            </a:r>
            <a:r>
              <a:rPr lang="da-DK" sz="900">
                <a:solidFill>
                  <a:srgbClr val="333333"/>
                </a:solidFill>
                <a:latin typeface="+mn-lt"/>
                <a:ea typeface="Verdana" panose="020B0604030504040204" pitchFamily="34" charset="0"/>
              </a:rPr>
              <a:t> to </a:t>
            </a:r>
            <a:r>
              <a:rPr lang="da-DK" sz="900" b="1">
                <a:solidFill>
                  <a:srgbClr val="333333"/>
                </a:solidFill>
                <a:latin typeface="+mn-lt"/>
                <a:ea typeface="Verdana" panose="020B0604030504040204" pitchFamily="34" charset="0"/>
              </a:rPr>
              <a:t>Layout </a:t>
            </a:r>
            <a:r>
              <a:rPr lang="da-DK" sz="900">
                <a:solidFill>
                  <a:srgbClr val="333333"/>
                </a:solidFill>
                <a:latin typeface="+mn-lt"/>
                <a:ea typeface="Verdana" panose="020B0604030504040204" pitchFamily="34" charset="0"/>
              </a:rPr>
              <a:t>to view a </a:t>
            </a:r>
            <a:r>
              <a:rPr lang="da-DK" sz="900" err="1">
                <a:solidFill>
                  <a:srgbClr val="333333"/>
                </a:solidFill>
                <a:latin typeface="+mn-lt"/>
                <a:ea typeface="Verdana" panose="020B0604030504040204" pitchFamily="34" charset="0"/>
              </a:rPr>
              <a:t>dropdown</a:t>
            </a:r>
            <a:r>
              <a:rPr lang="da-DK" sz="900">
                <a:solidFill>
                  <a:srgbClr val="333333"/>
                </a:solidFill>
                <a:latin typeface="+mn-lt"/>
                <a:ea typeface="Verdana" panose="020B0604030504040204" pitchFamily="34" charset="0"/>
              </a:rPr>
              <a:t> menu of </a:t>
            </a:r>
            <a:r>
              <a:rPr lang="da-DK" sz="900" err="1">
                <a:solidFill>
                  <a:srgbClr val="333333"/>
                </a:solidFill>
                <a:latin typeface="+mn-lt"/>
                <a:ea typeface="Verdana" panose="020B0604030504040204" pitchFamily="34" charset="0"/>
              </a:rPr>
              <a:t>possible</a:t>
            </a:r>
            <a:r>
              <a:rPr lang="da-DK" sz="900">
                <a:solidFill>
                  <a:srgbClr val="333333"/>
                </a:solidFill>
                <a:latin typeface="+mn-lt"/>
                <a:ea typeface="Verdana" panose="020B0604030504040204" pitchFamily="34" charset="0"/>
              </a:rPr>
              <a:t> slide layouts</a:t>
            </a:r>
          </a:p>
          <a:p>
            <a:pPr marL="0" indent="0" rtl="0">
              <a:spcAft>
                <a:spcPts val="600"/>
              </a:spcAft>
              <a:buFont typeface="+mj-lt"/>
              <a:buNone/>
            </a:pPr>
            <a:endParaRPr lang="da-DK"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err="1">
                <a:solidFill>
                  <a:srgbClr val="333333"/>
                </a:solidFill>
                <a:latin typeface="+mn-lt"/>
                <a:cs typeface="Verdana" panose="020B0604030504040204" pitchFamily="34" charset="0"/>
              </a:rPr>
              <a:t>Color</a:t>
            </a:r>
            <a:endParaRPr lang="da-DK" sz="1600">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Use </a:t>
            </a:r>
            <a:r>
              <a:rPr lang="da-DK" altLang="da-DK" sz="900" b="1" noProof="1">
                <a:solidFill>
                  <a:srgbClr val="333333"/>
                </a:solidFill>
                <a:latin typeface="+mn-lt"/>
                <a:cs typeface="Verdana" panose="020B0604030504040204" pitchFamily="34" charset="0"/>
              </a:rPr>
              <a:t>Custom Colors </a:t>
            </a:r>
            <a:r>
              <a:rPr lang="da-DK" altLang="da-DK" sz="900" b="0" noProof="1">
                <a:solidFill>
                  <a:srgbClr val="333333"/>
                </a:solidFill>
                <a:latin typeface="+mn-lt"/>
                <a:cs typeface="Verdana" panose="020B0604030504040204" pitchFamily="34" charset="0"/>
              </a:rPr>
              <a:t>to change color.</a:t>
            </a:r>
            <a:br>
              <a:rPr lang="da-DK" altLang="da-DK" sz="900" b="0" noProof="1">
                <a:solidFill>
                  <a:srgbClr val="333333"/>
                </a:solidFill>
                <a:latin typeface="+mn-lt"/>
                <a:cs typeface="Verdana" panose="020B0604030504040204" pitchFamily="34" charset="0"/>
              </a:rPr>
            </a:br>
            <a:endParaRPr lang="da-DK"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12"/>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3"/>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4"/>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5"/>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2649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FCB6B6B-24B0-44AB-9048-2F686A564E91}"/>
              </a:ext>
            </a:extLst>
          </p:cNvPr>
          <p:cNvGraphicFramePr>
            <a:graphicFrameLocks noChangeAspect="1"/>
          </p:cNvGraphicFramePr>
          <p:nvPr userDrawn="1">
            <p:custDataLst>
              <p:tags r:id="rId1"/>
            </p:custDataLst>
            <p:extLst>
              <p:ext uri="{D42A27DB-BD31-4B8C-83A1-F6EECF244321}">
                <p14:modId xmlns:p14="http://schemas.microsoft.com/office/powerpoint/2010/main" val="957079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6FCB6B6B-24B0-44AB-9048-2F686A564E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1B4C9864-BFD0-4574-B370-8DFD1BF6363B}" type="datetime1">
              <a:rPr lang="da-DK" smtClean="0"/>
              <a:pPr/>
              <a:t>03-02-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887015281"/>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EBB3B6D-DD31-4C13-AD80-04ABEA8E27A0}"/>
              </a:ext>
            </a:extLst>
          </p:cNvPr>
          <p:cNvGraphicFramePr>
            <a:graphicFrameLocks noChangeAspect="1"/>
          </p:cNvGraphicFramePr>
          <p:nvPr userDrawn="1">
            <p:custDataLst>
              <p:tags r:id="rId1"/>
            </p:custDataLst>
            <p:extLst>
              <p:ext uri="{D42A27DB-BD31-4B8C-83A1-F6EECF244321}">
                <p14:modId xmlns:p14="http://schemas.microsoft.com/office/powerpoint/2010/main" val="3325585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6EBB3B6D-DD31-4C13-AD80-04ABEA8E27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4000" b="0" noProof="0">
                <a:solidFill>
                  <a:schemeClr val="tx1"/>
                </a:solidFill>
              </a:rPr>
              <a:t>If you see any </a:t>
            </a:r>
            <a:r>
              <a:rPr lang="da-DK" sz="4000" b="1" i="1" noProof="0">
                <a:solidFill>
                  <a:schemeClr val="tx1"/>
                </a:solidFill>
              </a:rPr>
              <a:t>layouts after this </a:t>
            </a:r>
            <a:r>
              <a:rPr lang="da-DK" sz="4000" b="0" i="0" noProof="0">
                <a:solidFill>
                  <a:schemeClr val="tx1"/>
                </a:solidFill>
              </a:rPr>
              <a:t>one</a:t>
            </a:r>
            <a:r>
              <a:rPr lang="da-DK" sz="4000" b="1" i="1" noProof="0">
                <a:solidFill>
                  <a:schemeClr val="tx1"/>
                </a:solidFill>
              </a:rPr>
              <a:t>,</a:t>
            </a:r>
            <a:br>
              <a:rPr lang="da-DK" sz="4000" b="0" i="0" noProof="0">
                <a:solidFill>
                  <a:schemeClr val="tx1"/>
                </a:solidFill>
              </a:rPr>
            </a:br>
            <a:r>
              <a:rPr lang="da-DK" sz="4000" b="0" noProof="0">
                <a:solidFill>
                  <a:schemeClr val="tx1"/>
                </a:solidFill>
              </a:rPr>
              <a:t>do not use them. These layouts </a:t>
            </a:r>
            <a:r>
              <a:rPr lang="da-DK" sz="4000" b="1" i="1" u="none" noProof="0">
                <a:solidFill>
                  <a:schemeClr val="tx1"/>
                </a:solidFill>
              </a:rPr>
              <a:t>are not </a:t>
            </a:r>
            <a:r>
              <a:rPr lang="da-DK" sz="4000" b="0" noProof="0">
                <a:solidFill>
                  <a:schemeClr val="tx1"/>
                </a:solidFill>
              </a:rPr>
              <a:t>part of our corporate template.</a:t>
            </a:r>
            <a:endParaRPr lang="da-DK"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rtl="0"/>
            <a:r>
              <a:rPr lang="da-DK" sz="11500" b="1" i="1" noProof="0">
                <a:solidFill>
                  <a:schemeClr val="tx1"/>
                </a:solidFill>
              </a:rPr>
              <a:t>Do not use </a:t>
            </a:r>
            <a:endParaRPr lang="da-DK"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Due to PowerPoint’s standard Copy/Paste functionality extra undesirable layouts can appear.</a:t>
            </a:r>
          </a:p>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rtl="0">
              <a:defRPr sz="100">
                <a:noFill/>
              </a:defRPr>
            </a:lvl1pPr>
          </a:lstStyle>
          <a:p>
            <a:fld id="{06357EC7-0D53-4A60-9E41-D75A47B48389}" type="datetime1">
              <a:rPr lang="da-DK" smtClean="0"/>
              <a:pPr/>
              <a:t>03-02-2023</a:t>
            </a:fld>
            <a:endParaRPr lang="da-DK"/>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3165976985"/>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3F0DDBC-A080-42CE-8715-C06C1706FFC5}"/>
              </a:ext>
            </a:extLst>
          </p:cNvPr>
          <p:cNvGraphicFramePr>
            <a:graphicFrameLocks noChangeAspect="1"/>
          </p:cNvGraphicFramePr>
          <p:nvPr userDrawn="1">
            <p:custDataLst>
              <p:tags r:id="rId1"/>
            </p:custDataLst>
            <p:extLst>
              <p:ext uri="{D42A27DB-BD31-4B8C-83A1-F6EECF244321}">
                <p14:modId xmlns:p14="http://schemas.microsoft.com/office/powerpoint/2010/main" val="2586833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23F0DDBC-A080-42CE-8715-C06C1706FF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B9941A0D-1A7D-4418-872D-0A573109AE3D}" type="datetime1">
              <a:rPr lang="da-DK" smtClean="0"/>
              <a:pPr/>
              <a:t>03-02-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03915787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F411269-BEE2-492E-A6F4-24EC4E0745B3}"/>
              </a:ext>
            </a:extLst>
          </p:cNvPr>
          <p:cNvGraphicFramePr>
            <a:graphicFrameLocks noChangeAspect="1"/>
          </p:cNvGraphicFramePr>
          <p:nvPr userDrawn="1">
            <p:custDataLst>
              <p:tags r:id="rId1"/>
            </p:custDataLst>
            <p:extLst>
              <p:ext uri="{D42A27DB-BD31-4B8C-83A1-F6EECF244321}">
                <p14:modId xmlns:p14="http://schemas.microsoft.com/office/powerpoint/2010/main" val="4142377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0F411269-BEE2-492E-A6F4-24EC4E0745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CE630481-804D-4542-835F-93D05E69FE5F}" type="datetime1">
              <a:rPr lang="da-DK" smtClean="0"/>
              <a:pPr/>
              <a:t>03-02-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423404407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A92B2C7-5E53-4EA1-BAD0-D814DF20E580}"/>
              </a:ext>
            </a:extLst>
          </p:cNvPr>
          <p:cNvGraphicFramePr>
            <a:graphicFrameLocks noChangeAspect="1"/>
          </p:cNvGraphicFramePr>
          <p:nvPr userDrawn="1">
            <p:custDataLst>
              <p:tags r:id="rId1"/>
            </p:custDataLst>
            <p:extLst>
              <p:ext uri="{D42A27DB-BD31-4B8C-83A1-F6EECF244321}">
                <p14:modId xmlns:p14="http://schemas.microsoft.com/office/powerpoint/2010/main" val="1329640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DA92B2C7-5E53-4EA1-BAD0-D814DF20E5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lvl1pPr rtl="0">
              <a:defRPr/>
            </a:lvl1pPr>
          </a:lstStyle>
          <a:p>
            <a:fld id="{7BF43399-B145-4BBC-AF2A-C9EC8B4305A6}" type="datetime1">
              <a:rPr lang="da-DK" smtClean="0"/>
              <a:pPr/>
              <a:t>03-02-2023</a:t>
            </a:fld>
            <a:endParaRPr lang="da-DK"/>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lvl1pPr rtl="0">
              <a:defRPr/>
            </a:lvl1pPr>
          </a:lstStyle>
          <a:p>
            <a:endParaRPr lang="da-DK"/>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72648153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7F82B57-A829-4941-8BAC-1FE0A02EC16E}"/>
              </a:ext>
            </a:extLst>
          </p:cNvPr>
          <p:cNvGraphicFramePr>
            <a:graphicFrameLocks noChangeAspect="1"/>
          </p:cNvGraphicFramePr>
          <p:nvPr userDrawn="1">
            <p:custDataLst>
              <p:tags r:id="rId1"/>
            </p:custDataLst>
            <p:extLst>
              <p:ext uri="{D42A27DB-BD31-4B8C-83A1-F6EECF244321}">
                <p14:modId xmlns:p14="http://schemas.microsoft.com/office/powerpoint/2010/main" val="1708148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F7F82B57-A829-4941-8BAC-1FE0A02EC1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D74F0F3-9842-478D-99B7-277D0E19CEC9}" type="datetime1">
              <a:rPr lang="da-DK" smtClean="0"/>
              <a:pPr/>
              <a:t>03-02-2023</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8247501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D3BE60-37F6-4FB6-8D33-8CFF25DED6D0}"/>
              </a:ext>
            </a:extLst>
          </p:cNvPr>
          <p:cNvGraphicFramePr>
            <a:graphicFrameLocks noChangeAspect="1"/>
          </p:cNvGraphicFramePr>
          <p:nvPr userDrawn="1">
            <p:custDataLst>
              <p:tags r:id="rId1"/>
            </p:custDataLst>
            <p:extLst>
              <p:ext uri="{D42A27DB-BD31-4B8C-83A1-F6EECF244321}">
                <p14:modId xmlns:p14="http://schemas.microsoft.com/office/powerpoint/2010/main" val="259510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54D3BE60-37F6-4FB6-8D33-8CFF25DED6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33B4BAF-2B92-4850-839C-D15349852EB5}" type="datetime1">
              <a:rPr lang="da-DK" smtClean="0"/>
              <a:pPr/>
              <a:t>03-02-2023</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26103065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4BA132-22C9-4678-8278-1658D4954BF9}"/>
              </a:ext>
            </a:extLst>
          </p:cNvPr>
          <p:cNvGraphicFramePr>
            <a:graphicFrameLocks noChangeAspect="1"/>
          </p:cNvGraphicFramePr>
          <p:nvPr userDrawn="1">
            <p:custDataLst>
              <p:tags r:id="rId1"/>
            </p:custDataLst>
            <p:extLst>
              <p:ext uri="{D42A27DB-BD31-4B8C-83A1-F6EECF244321}">
                <p14:modId xmlns:p14="http://schemas.microsoft.com/office/powerpoint/2010/main" val="3953220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BE4BA132-22C9-4678-8278-1658D4954B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7B5352C5-81EC-4100-8EF4-0409291AC406}" type="datetime1">
              <a:rPr lang="da-DK" smtClean="0"/>
              <a:pPr/>
              <a:t>03-02-2023</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36716850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08A3D5-478B-48A8-8581-C5B287E7C208}"/>
              </a:ext>
            </a:extLst>
          </p:cNvPr>
          <p:cNvGraphicFramePr>
            <a:graphicFrameLocks noChangeAspect="1"/>
          </p:cNvGraphicFramePr>
          <p:nvPr userDrawn="1">
            <p:custDataLst>
              <p:tags r:id="rId1"/>
            </p:custDataLst>
            <p:extLst>
              <p:ext uri="{D42A27DB-BD31-4B8C-83A1-F6EECF244321}">
                <p14:modId xmlns:p14="http://schemas.microsoft.com/office/powerpoint/2010/main" val="3206911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B808A3D5-478B-48A8-8581-C5B287E7C2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8A4F6F59-6CB3-4166-9CD8-0F5BCD967261}" type="datetime1">
              <a:rPr lang="da-DK" smtClean="0"/>
              <a:pPr/>
              <a:t>03-02-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702620898"/>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76188E-E253-4A4B-BD8D-1783856CAA04}"/>
              </a:ext>
            </a:extLst>
          </p:cNvPr>
          <p:cNvGraphicFramePr>
            <a:graphicFrameLocks noChangeAspect="1"/>
          </p:cNvGraphicFramePr>
          <p:nvPr userDrawn="1">
            <p:custDataLst>
              <p:tags r:id="rId1"/>
            </p:custDataLst>
            <p:extLst>
              <p:ext uri="{D42A27DB-BD31-4B8C-83A1-F6EECF244321}">
                <p14:modId xmlns:p14="http://schemas.microsoft.com/office/powerpoint/2010/main" val="4136364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E076188E-E253-4A4B-BD8D-1783856CAA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lvl1pPr rtl="0">
              <a:defRPr/>
            </a:lvl1pPr>
          </a:lstStyle>
          <a:p>
            <a:fld id="{6ACCEA19-5171-4127-A28C-C6D875C2D7D4}" type="datetime1">
              <a:rPr lang="da-DK" smtClean="0"/>
              <a:pPr/>
              <a:t>03-02-2023</a:t>
            </a:fld>
            <a:endParaRPr lang="da-DK"/>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99696354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1B46BAA-A2E8-457D-94AC-1857CC2E6494}"/>
              </a:ext>
            </a:extLst>
          </p:cNvPr>
          <p:cNvGraphicFramePr>
            <a:graphicFrameLocks noChangeAspect="1"/>
          </p:cNvGraphicFramePr>
          <p:nvPr userDrawn="1">
            <p:custDataLst>
              <p:tags r:id="rId1"/>
            </p:custDataLst>
            <p:extLst>
              <p:ext uri="{D42A27DB-BD31-4B8C-83A1-F6EECF244321}">
                <p14:modId xmlns:p14="http://schemas.microsoft.com/office/powerpoint/2010/main" val="1559861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01B46BAA-A2E8-457D-94AC-1857CC2E64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1B42BF88-9EAB-4FF1-8C7D-3D1A57D94546}" type="datetime1">
              <a:rPr lang="da-DK" smtClean="0"/>
              <a:pPr/>
              <a:t>03-02-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4356286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E9C1A5A-EB28-4216-AC93-A944D445B0E8}"/>
              </a:ext>
            </a:extLst>
          </p:cNvPr>
          <p:cNvGraphicFramePr>
            <a:graphicFrameLocks noChangeAspect="1"/>
          </p:cNvGraphicFramePr>
          <p:nvPr userDrawn="1">
            <p:custDataLst>
              <p:tags r:id="rId1"/>
            </p:custDataLst>
            <p:extLst>
              <p:ext uri="{D42A27DB-BD31-4B8C-83A1-F6EECF244321}">
                <p14:modId xmlns:p14="http://schemas.microsoft.com/office/powerpoint/2010/main" val="476721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1E9C1A5A-EB28-4216-AC93-A944D445B0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8"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9AA3F283-0871-412B-8A65-5C27135FA311}" type="datetime1">
              <a:rPr lang="da-DK" smtClean="0"/>
              <a:pPr/>
              <a:t>03-02-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57416277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B60DACD-5627-4F02-A9F8-42F94F50466D}"/>
              </a:ext>
            </a:extLst>
          </p:cNvPr>
          <p:cNvGraphicFramePr>
            <a:graphicFrameLocks noChangeAspect="1"/>
          </p:cNvGraphicFramePr>
          <p:nvPr userDrawn="1">
            <p:custDataLst>
              <p:tags r:id="rId1"/>
            </p:custDataLst>
            <p:extLst>
              <p:ext uri="{D42A27DB-BD31-4B8C-83A1-F6EECF244321}">
                <p14:modId xmlns:p14="http://schemas.microsoft.com/office/powerpoint/2010/main" val="3428621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6B60DACD-5627-4F02-A9F8-42F94F5046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302000"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lvl1pPr rtl="0">
              <a:defRPr/>
            </a:lvl1pPr>
          </a:lstStyle>
          <a:p>
            <a:fld id="{A67BCEC0-92C2-4FF9-A782-344903368E13}" type="datetime1">
              <a:rPr lang="da-DK" smtClean="0"/>
              <a:pPr/>
              <a:t>03-02-2023</a:t>
            </a:fld>
            <a:endParaRPr lang="da-DK"/>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lvl1pPr rtl="0">
              <a:defRPr/>
            </a:lvl1pPr>
          </a:lstStyle>
          <a:p>
            <a:endParaRPr lang="da-DK"/>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553665518"/>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D67D169-DC2C-4C1E-847B-EE1C8436024E}"/>
              </a:ext>
            </a:extLst>
          </p:cNvPr>
          <p:cNvGraphicFramePr>
            <a:graphicFrameLocks noChangeAspect="1"/>
          </p:cNvGraphicFramePr>
          <p:nvPr userDrawn="1">
            <p:custDataLst>
              <p:tags r:id="rId1"/>
            </p:custDataLst>
            <p:extLst>
              <p:ext uri="{D42A27DB-BD31-4B8C-83A1-F6EECF244321}">
                <p14:modId xmlns:p14="http://schemas.microsoft.com/office/powerpoint/2010/main" val="299017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7D67D169-DC2C-4C1E-847B-EE1C843602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lvl1pPr>
          </a:lstStyle>
          <a:p>
            <a:fld id="{314D1594-E68D-46B5-98E0-BADEBF2D8E2F}" type="datetime1">
              <a:rPr lang="da-DK" smtClean="0"/>
              <a:pPr/>
              <a:t>03-02-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350232252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DE568B4-F905-46CA-9BB1-DEA2C5A448B9}"/>
              </a:ext>
            </a:extLst>
          </p:cNvPr>
          <p:cNvGraphicFramePr>
            <a:graphicFrameLocks noChangeAspect="1"/>
          </p:cNvGraphicFramePr>
          <p:nvPr userDrawn="1">
            <p:custDataLst>
              <p:tags r:id="rId1"/>
            </p:custDataLst>
            <p:extLst>
              <p:ext uri="{D42A27DB-BD31-4B8C-83A1-F6EECF244321}">
                <p14:modId xmlns:p14="http://schemas.microsoft.com/office/powerpoint/2010/main" val="136456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EDE568B4-F905-46CA-9BB1-DEA2C5A448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lvl1pPr rtl="0">
              <a:defRPr/>
            </a:lvl1pPr>
          </a:lstStyle>
          <a:p>
            <a:fld id="{265A58E6-12DB-4BF0-8165-AE5E60E9367A}" type="datetime1">
              <a:rPr lang="da-DK" smtClean="0"/>
              <a:pPr/>
              <a:t>03-02-2023</a:t>
            </a:fld>
            <a:endParaRPr lang="da-DK"/>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2793307938"/>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3740CFA-D8D0-47FA-977A-041A1AEF5272}"/>
              </a:ext>
            </a:extLst>
          </p:cNvPr>
          <p:cNvGraphicFramePr>
            <a:graphicFrameLocks noChangeAspect="1"/>
          </p:cNvGraphicFramePr>
          <p:nvPr userDrawn="1">
            <p:custDataLst>
              <p:tags r:id="rId1"/>
            </p:custDataLst>
            <p:extLst>
              <p:ext uri="{D42A27DB-BD31-4B8C-83A1-F6EECF244321}">
                <p14:modId xmlns:p14="http://schemas.microsoft.com/office/powerpoint/2010/main" val="77703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63740CFA-D8D0-47FA-977A-041A1AEF52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904988D6-6DD0-4C39-8AE1-A7E25B5D1BF4}" type="datetime1">
              <a:rPr lang="da-DK" smtClean="0"/>
              <a:pPr/>
              <a:t>03-02-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66005419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BDDF649-3F2F-4F6B-B786-8C0CF77586C4}"/>
              </a:ext>
            </a:extLst>
          </p:cNvPr>
          <p:cNvGraphicFramePr>
            <a:graphicFrameLocks noChangeAspect="1"/>
          </p:cNvGraphicFramePr>
          <p:nvPr userDrawn="1">
            <p:custDataLst>
              <p:tags r:id="rId1"/>
            </p:custDataLst>
            <p:extLst>
              <p:ext uri="{D42A27DB-BD31-4B8C-83A1-F6EECF244321}">
                <p14:modId xmlns:p14="http://schemas.microsoft.com/office/powerpoint/2010/main" val="778587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FBDDF649-3F2F-4F6B-B786-8C0CF77586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tx2"/>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DC7F6929-E9B5-46A3-B5E9-6150C85426CE}" type="datetime1">
              <a:rPr lang="da-DK" smtClean="0"/>
              <a:pPr/>
              <a:t>03-02-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686216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EF20F4B-6951-4CEB-845B-4EE79F2B6881}"/>
              </a:ext>
            </a:extLst>
          </p:cNvPr>
          <p:cNvGraphicFramePr>
            <a:graphicFrameLocks noChangeAspect="1"/>
          </p:cNvGraphicFramePr>
          <p:nvPr userDrawn="1">
            <p:custDataLst>
              <p:tags r:id="rId1"/>
            </p:custDataLst>
            <p:extLst>
              <p:ext uri="{D42A27DB-BD31-4B8C-83A1-F6EECF244321}">
                <p14:modId xmlns:p14="http://schemas.microsoft.com/office/powerpoint/2010/main" val="119825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2EF20F4B-6951-4CEB-845B-4EE79F2B68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59FA29BE-106E-4609-97DE-EDE0B0C087F7}" type="datetime1">
              <a:rPr lang="da-DK" smtClean="0"/>
              <a:pPr/>
              <a:t>03-02-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Tree>
    <p:extLst>
      <p:ext uri="{BB962C8B-B14F-4D97-AF65-F5344CB8AC3E}">
        <p14:creationId xmlns:p14="http://schemas.microsoft.com/office/powerpoint/2010/main" val="2474620005"/>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17C75E44-E8D7-4390-A552-8BCF697EBDF3}"/>
              </a:ext>
            </a:extLst>
          </p:cNvPr>
          <p:cNvGraphicFramePr>
            <a:graphicFrameLocks noChangeAspect="1"/>
          </p:cNvGraphicFramePr>
          <p:nvPr userDrawn="1">
            <p:custDataLst>
              <p:tags r:id="rId1"/>
            </p:custDataLst>
            <p:extLst>
              <p:ext uri="{D42A27DB-BD31-4B8C-83A1-F6EECF244321}">
                <p14:modId xmlns:p14="http://schemas.microsoft.com/office/powerpoint/2010/main" val="1820544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17C75E44-E8D7-4390-A552-8BCF697EB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3EFAF684-C611-4113-B7D5-C3E527F22C4F}" type="datetime1">
              <a:rPr lang="da-DK" smtClean="0"/>
              <a:pPr/>
              <a:t>03-02-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483064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500FB85-A754-4E47-8C8C-87941D6B2819}"/>
              </a:ext>
            </a:extLst>
          </p:cNvPr>
          <p:cNvGraphicFramePr>
            <a:graphicFrameLocks noChangeAspect="1"/>
          </p:cNvGraphicFramePr>
          <p:nvPr userDrawn="1">
            <p:custDataLst>
              <p:tags r:id="rId1"/>
            </p:custDataLst>
            <p:extLst>
              <p:ext uri="{D42A27DB-BD31-4B8C-83A1-F6EECF244321}">
                <p14:modId xmlns:p14="http://schemas.microsoft.com/office/powerpoint/2010/main" val="3909537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C500FB85-A754-4E47-8C8C-87941D6B28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rtl="0">
              <a:defRPr sz="100">
                <a:noFill/>
              </a:defRPr>
            </a:lvl1pPr>
          </a:lstStyle>
          <a:p>
            <a:fld id="{C4B04AE4-03BB-4174-AD21-7567A4C959F4}" type="datetime1">
              <a:rPr lang="da-DK" smtClean="0"/>
              <a:pPr/>
              <a:t>03-02-2023</a:t>
            </a:fld>
            <a:endParaRPr lang="da-DK"/>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lvl1pPr rtl="0">
              <a:defRPr/>
            </a:lvl1pPr>
          </a:lstStyle>
          <a:p>
            <a:endParaRPr lang="da-DK"/>
          </a:p>
        </p:txBody>
      </p:sp>
    </p:spTree>
    <p:extLst>
      <p:ext uri="{BB962C8B-B14F-4D97-AF65-F5344CB8AC3E}">
        <p14:creationId xmlns:p14="http://schemas.microsoft.com/office/powerpoint/2010/main" val="1845920254"/>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1A2EA8C-0D85-4C0B-ACDB-A259F1408229}"/>
              </a:ext>
            </a:extLst>
          </p:cNvPr>
          <p:cNvGraphicFramePr>
            <a:graphicFrameLocks noChangeAspect="1"/>
          </p:cNvGraphicFramePr>
          <p:nvPr userDrawn="1">
            <p:custDataLst>
              <p:tags r:id="rId1"/>
            </p:custDataLst>
            <p:extLst>
              <p:ext uri="{D42A27DB-BD31-4B8C-83A1-F6EECF244321}">
                <p14:modId xmlns:p14="http://schemas.microsoft.com/office/powerpoint/2010/main" val="3745654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C1A2EA8C-0D85-4C0B-ACDB-A259F14082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lvl1pPr rtl="0">
              <a:defRPr/>
            </a:lvl1pPr>
          </a:lstStyle>
          <a:p>
            <a:fld id="{3A46E679-721E-4A44-A034-B3833441D488}" type="datetime1">
              <a:rPr lang="da-DK" smtClean="0"/>
              <a:pPr/>
              <a:t>03-02-2023</a:t>
            </a:fld>
            <a:endParaRPr lang="da-DK"/>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590505054"/>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1DCF9-DF37-48BB-9DF8-64E9ADDE1E7E}"/>
              </a:ext>
            </a:extLst>
          </p:cNvPr>
          <p:cNvGraphicFramePr>
            <a:graphicFrameLocks noChangeAspect="1"/>
          </p:cNvGraphicFramePr>
          <p:nvPr userDrawn="1">
            <p:custDataLst>
              <p:tags r:id="rId1"/>
            </p:custDataLst>
            <p:extLst>
              <p:ext uri="{D42A27DB-BD31-4B8C-83A1-F6EECF244321}">
                <p14:modId xmlns:p14="http://schemas.microsoft.com/office/powerpoint/2010/main" val="1787301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1B1DCF9-DF37-48BB-9DF8-64E9ADDE1E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ED06D66A-00D9-479B-9856-27577BF36107}" type="datetime1">
              <a:rPr lang="da-DK" smtClean="0"/>
              <a:pPr/>
              <a:t>03-02-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vert="horz" anchor="t" anchorCtr="0"/>
          <a:lstStyle>
            <a:lvl1pPr algn="l" rtl="0">
              <a:lnSpc>
                <a:spcPct val="91000"/>
              </a:lnSpc>
              <a:defRPr sz="4100">
                <a:solidFill>
                  <a:schemeClr val="bg1"/>
                </a:solidFill>
              </a:defRPr>
            </a:lvl1pPr>
          </a:lstStyle>
          <a:p>
            <a:r>
              <a:rPr lang="da-DK"/>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5766716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02D016-0FC6-4114-A928-57BCB225D30C}"/>
              </a:ext>
            </a:extLst>
          </p:cNvPr>
          <p:cNvGraphicFramePr>
            <a:graphicFrameLocks noChangeAspect="1"/>
          </p:cNvGraphicFramePr>
          <p:nvPr userDrawn="1">
            <p:custDataLst>
              <p:tags r:id="rId1"/>
            </p:custDataLst>
            <p:extLst>
              <p:ext uri="{D42A27DB-BD31-4B8C-83A1-F6EECF244321}">
                <p14:modId xmlns:p14="http://schemas.microsoft.com/office/powerpoint/2010/main" val="957947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2A02D016-0FC6-4114-A928-57BCB225D3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rtl="0">
              <a:defRPr sz="100">
                <a:noFill/>
              </a:defRPr>
            </a:lvl1pPr>
          </a:lstStyle>
          <a:p>
            <a:fld id="{F6C1ADEE-7B52-423A-9878-0398FEFAF71F}" type="datetime1">
              <a:rPr lang="da-DK" smtClean="0"/>
              <a:pPr/>
              <a:t>03-02-2023</a:t>
            </a:fld>
            <a:endParaRPr lang="da-DK"/>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lvl1pPr rtl="0">
              <a:defRPr/>
            </a:lvl1pPr>
          </a:lstStyle>
          <a:p>
            <a:endParaRPr lang="da-DK"/>
          </a:p>
        </p:txBody>
      </p:sp>
    </p:spTree>
    <p:extLst>
      <p:ext uri="{BB962C8B-B14F-4D97-AF65-F5344CB8AC3E}">
        <p14:creationId xmlns:p14="http://schemas.microsoft.com/office/powerpoint/2010/main" val="2475563379"/>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6E0B296-B989-41FA-8D8F-F0016D23F026}"/>
              </a:ext>
            </a:extLst>
          </p:cNvPr>
          <p:cNvGraphicFramePr>
            <a:graphicFrameLocks noChangeAspect="1"/>
          </p:cNvGraphicFramePr>
          <p:nvPr userDrawn="1">
            <p:custDataLst>
              <p:tags r:id="rId1"/>
            </p:custDataLst>
            <p:extLst>
              <p:ext uri="{D42A27DB-BD31-4B8C-83A1-F6EECF244321}">
                <p14:modId xmlns:p14="http://schemas.microsoft.com/office/powerpoint/2010/main" val="2651852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E6E0B296-B989-41FA-8D8F-F0016D23F0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lvl1pPr rtl="0">
              <a:defRPr/>
            </a:lvl1pPr>
          </a:lstStyle>
          <a:p>
            <a:fld id="{3FD627AC-F023-4E38-BBE2-8CC6A4B15F9B}" type="datetime1">
              <a:rPr lang="da-DK" smtClean="0"/>
              <a:pPr/>
              <a:t>03-02-2023</a:t>
            </a:fld>
            <a:endParaRPr lang="da-DK"/>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368981122"/>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C9D3CCD-B301-47C4-A93F-E7AE8BEC37C6}"/>
              </a:ext>
            </a:extLst>
          </p:cNvPr>
          <p:cNvGraphicFramePr>
            <a:graphicFrameLocks noChangeAspect="1"/>
          </p:cNvGraphicFramePr>
          <p:nvPr userDrawn="1">
            <p:custDataLst>
              <p:tags r:id="rId1"/>
            </p:custDataLst>
            <p:extLst>
              <p:ext uri="{D42A27DB-BD31-4B8C-83A1-F6EECF244321}">
                <p14:modId xmlns:p14="http://schemas.microsoft.com/office/powerpoint/2010/main" val="2940210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C9D3CCD-B301-47C4-A93F-E7AE8BEC37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rtl="0">
              <a:defRPr sz="100">
                <a:noFill/>
              </a:defRPr>
            </a:lvl1pPr>
          </a:lstStyle>
          <a:p>
            <a:fld id="{791AE312-9C38-4B88-A1BD-03872F0FCB4A}" type="datetime1">
              <a:rPr lang="da-DK" smtClean="0"/>
              <a:pPr/>
              <a:t>03-02-2023</a:t>
            </a:fld>
            <a:endParaRPr lang="da-DK"/>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rtl="0">
              <a:defRPr>
                <a:solidFill>
                  <a:schemeClr val="bg1"/>
                </a:solidFill>
              </a:defRPr>
            </a:lvl1pPr>
          </a:lstStyle>
          <a:p>
            <a:endParaRPr lang="da-DK"/>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2751567655"/>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D076864-73B2-46AC-82B9-3F6ED290747F}"/>
              </a:ext>
            </a:extLst>
          </p:cNvPr>
          <p:cNvGraphicFramePr>
            <a:graphicFrameLocks noChangeAspect="1"/>
          </p:cNvGraphicFramePr>
          <p:nvPr userDrawn="1">
            <p:custDataLst>
              <p:tags r:id="rId1"/>
            </p:custDataLst>
            <p:extLst>
              <p:ext uri="{D42A27DB-BD31-4B8C-83A1-F6EECF244321}">
                <p14:modId xmlns:p14="http://schemas.microsoft.com/office/powerpoint/2010/main" val="1966776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6D076864-73B2-46AC-82B9-3F6ED29074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50802"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bg1"/>
                </a:solidFill>
              </a:defRPr>
            </a:lvl1pPr>
          </a:lstStyle>
          <a:p>
            <a:fld id="{B28D1D58-AB37-4343-ADE9-EEBE954DF792}" type="datetime1">
              <a:rPr lang="da-DK" smtClean="0"/>
              <a:pPr/>
              <a:t>03-02-2023</a:t>
            </a:fld>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bg1"/>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4097920717"/>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AA7D7B5-B60E-4F01-A5D4-9EC13B1333FC}"/>
              </a:ext>
            </a:extLst>
          </p:cNvPr>
          <p:cNvGraphicFramePr>
            <a:graphicFrameLocks noChangeAspect="1"/>
          </p:cNvGraphicFramePr>
          <p:nvPr userDrawn="1">
            <p:custDataLst>
              <p:tags r:id="rId1"/>
            </p:custDataLst>
            <p:extLst>
              <p:ext uri="{D42A27DB-BD31-4B8C-83A1-F6EECF244321}">
                <p14:modId xmlns:p14="http://schemas.microsoft.com/office/powerpoint/2010/main" val="2783326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6AA7D7B5-B60E-4F01-A5D4-9EC13B1333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58225" y="654051"/>
            <a:ext cx="4563272"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lvl1pPr rtl="0">
              <a:defRPr/>
            </a:lvl1pPr>
          </a:lstStyle>
          <a:p>
            <a:fld id="{06093368-26E3-4532-8FD8-7B783022E688}" type="datetime1">
              <a:rPr lang="da-DK" smtClean="0"/>
              <a:pPr/>
              <a:t>03-02-2023</a:t>
            </a:fld>
            <a:endParaRPr lang="da-DK"/>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rtl="0">
              <a:defRPr>
                <a:solidFill>
                  <a:schemeClr val="bg1"/>
                </a:solidFill>
              </a:defRPr>
            </a:lvl1pPr>
          </a:lstStyle>
          <a:p>
            <a:endParaRPr lang="da-DK"/>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633085674"/>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C4A377-AF00-475C-BBCA-2D62E63D9C7A}"/>
              </a:ext>
            </a:extLst>
          </p:cNvPr>
          <p:cNvGraphicFramePr>
            <a:graphicFrameLocks noChangeAspect="1"/>
          </p:cNvGraphicFramePr>
          <p:nvPr userDrawn="1">
            <p:custDataLst>
              <p:tags r:id="rId1"/>
            </p:custDataLst>
            <p:extLst>
              <p:ext uri="{D42A27DB-BD31-4B8C-83A1-F6EECF244321}">
                <p14:modId xmlns:p14="http://schemas.microsoft.com/office/powerpoint/2010/main" val="51601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B3C4A377-AF00-475C-BBCA-2D62E63D9C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lvl1pPr rtl="0">
              <a:defRPr/>
            </a:lvl1pPr>
          </a:lstStyle>
          <a:p>
            <a:fld id="{851E3A26-CACC-472F-999E-6CEDC51DAFFB}" type="datetime1">
              <a:rPr lang="da-DK" smtClean="0"/>
              <a:pPr/>
              <a:t>03-02-2023</a:t>
            </a:fld>
            <a:endParaRPr lang="da-DK"/>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914093151"/>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A15C503-7C78-46DF-824F-5975E435B442}"/>
              </a:ext>
            </a:extLst>
          </p:cNvPr>
          <p:cNvGraphicFramePr>
            <a:graphicFrameLocks noChangeAspect="1"/>
          </p:cNvGraphicFramePr>
          <p:nvPr userDrawn="1">
            <p:custDataLst>
              <p:tags r:id="rId1"/>
            </p:custDataLst>
            <p:extLst>
              <p:ext uri="{D42A27DB-BD31-4B8C-83A1-F6EECF244321}">
                <p14:modId xmlns:p14="http://schemas.microsoft.com/office/powerpoint/2010/main" val="704113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A15C503-7C78-46DF-824F-5975E435B4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48399" y="654050"/>
            <a:ext cx="6184800" cy="2349449"/>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lvl1pPr rtl="0">
              <a:defRPr/>
            </a:lvl1pPr>
          </a:lstStyle>
          <a:p>
            <a:fld id="{923212C7-A548-4370-9C24-272889F12011}" type="datetime1">
              <a:rPr lang="da-DK" smtClean="0"/>
              <a:pPr/>
              <a:t>03-02-2023</a:t>
            </a:fld>
            <a:endParaRPr lang="da-DK"/>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lvl1pPr rtl="0">
              <a:defRPr/>
            </a:lvl1pPr>
          </a:lstStyle>
          <a:p>
            <a:endParaRPr lang="da-DK"/>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409627768"/>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4E480AF-7764-47E3-A9F5-384AC9908E98}"/>
              </a:ext>
            </a:extLst>
          </p:cNvPr>
          <p:cNvGraphicFramePr>
            <a:graphicFrameLocks noChangeAspect="1"/>
          </p:cNvGraphicFramePr>
          <p:nvPr userDrawn="1">
            <p:custDataLst>
              <p:tags r:id="rId1"/>
            </p:custDataLst>
            <p:extLst>
              <p:ext uri="{D42A27DB-BD31-4B8C-83A1-F6EECF244321}">
                <p14:modId xmlns:p14="http://schemas.microsoft.com/office/powerpoint/2010/main" val="2389529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04E480AF-7764-47E3-A9F5-384AC9908E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lvl1pPr rtl="0">
              <a:defRPr/>
            </a:lvl1pPr>
          </a:lstStyle>
          <a:p>
            <a:fld id="{3393CB94-5BA6-4B5C-8025-21D6F4E52D5E}" type="datetime1">
              <a:rPr lang="da-DK" smtClean="0"/>
              <a:pPr/>
              <a:t>03-02-2023</a:t>
            </a:fld>
            <a:endParaRPr lang="da-DK"/>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395980719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6F77EE-4F2E-4D86-86A3-96B21BDC1F10}"/>
              </a:ext>
            </a:extLst>
          </p:cNvPr>
          <p:cNvGraphicFramePr>
            <a:graphicFrameLocks noChangeAspect="1"/>
          </p:cNvGraphicFramePr>
          <p:nvPr userDrawn="1">
            <p:custDataLst>
              <p:tags r:id="rId1"/>
            </p:custDataLst>
            <p:extLst>
              <p:ext uri="{D42A27DB-BD31-4B8C-83A1-F6EECF244321}">
                <p14:modId xmlns:p14="http://schemas.microsoft.com/office/powerpoint/2010/main" val="1514389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2B6F77EE-4F2E-4D86-86A3-96B21BDC1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7260312" y="654051"/>
            <a:ext cx="4575290" cy="2349448"/>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rtl="0">
              <a:defRPr>
                <a:solidFill>
                  <a:schemeClr val="tx2"/>
                </a:solidFill>
              </a:defRPr>
            </a:lvl1pPr>
          </a:lstStyle>
          <a:p>
            <a:fld id="{29D73515-F0A6-4B30-A688-5D4CF44B9186}" type="datetime1">
              <a:rPr lang="da-DK" smtClean="0"/>
              <a:pPr/>
              <a:t>03-02-2023</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76643522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0DB989-1269-4FDF-9A6E-D44A24AEC686}"/>
              </a:ext>
            </a:extLst>
          </p:cNvPr>
          <p:cNvGraphicFramePr>
            <a:graphicFrameLocks noChangeAspect="1"/>
          </p:cNvGraphicFramePr>
          <p:nvPr userDrawn="1">
            <p:custDataLst>
              <p:tags r:id="rId1"/>
            </p:custDataLst>
            <p:extLst>
              <p:ext uri="{D42A27DB-BD31-4B8C-83A1-F6EECF244321}">
                <p14:modId xmlns:p14="http://schemas.microsoft.com/office/powerpoint/2010/main" val="352325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C90DB989-1269-4FDF-9A6E-D44A24AEC6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360000" y="654051"/>
            <a:ext cx="3584974" cy="2136774"/>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lvl1pPr rtl="0">
              <a:defRPr/>
            </a:lvl1pPr>
          </a:lstStyle>
          <a:p>
            <a:fld id="{B6F065B1-CCC8-4072-99B6-C71232109F4F}" type="datetime1">
              <a:rPr lang="da-DK" smtClean="0"/>
              <a:pPr/>
              <a:t>03-02-2023</a:t>
            </a:fld>
            <a:endParaRPr lang="da-DK"/>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3083077099"/>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DC2A11-1DD0-425F-A52D-2082C12E4E36}"/>
              </a:ext>
            </a:extLst>
          </p:cNvPr>
          <p:cNvGraphicFramePr>
            <a:graphicFrameLocks noChangeAspect="1"/>
          </p:cNvGraphicFramePr>
          <p:nvPr userDrawn="1">
            <p:custDataLst>
              <p:tags r:id="rId1"/>
            </p:custDataLst>
            <p:extLst>
              <p:ext uri="{D42A27DB-BD31-4B8C-83A1-F6EECF244321}">
                <p14:modId xmlns:p14="http://schemas.microsoft.com/office/powerpoint/2010/main" val="2765510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36DC2A11-1DD0-425F-A52D-2082C12E4E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2D3E1E10-4E6B-4C9C-B68B-DC96BC56ABFC}" type="datetime1">
              <a:rPr lang="da-DK" smtClean="0"/>
              <a:pPr/>
              <a:t>03-02-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34743210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920216F-6E12-4240-AB6D-EF417D72D626}"/>
              </a:ext>
            </a:extLst>
          </p:cNvPr>
          <p:cNvGraphicFramePr>
            <a:graphicFrameLocks noChangeAspect="1"/>
          </p:cNvGraphicFramePr>
          <p:nvPr userDrawn="1">
            <p:custDataLst>
              <p:tags r:id="rId1"/>
            </p:custDataLst>
            <p:extLst>
              <p:ext uri="{D42A27DB-BD31-4B8C-83A1-F6EECF244321}">
                <p14:modId xmlns:p14="http://schemas.microsoft.com/office/powerpoint/2010/main" val="412264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9920216F-6E12-4240-AB6D-EF417D72D6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60312" y="654051"/>
            <a:ext cx="4575290" cy="2349448"/>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accent2"/>
                </a:solidFill>
              </a:defRPr>
            </a:lvl1pPr>
          </a:lstStyle>
          <a:p>
            <a:fld id="{4C0216E3-463B-4CB8-BE43-497F498BEEEE}" type="datetime1">
              <a:rPr lang="da-DK" smtClean="0"/>
              <a:pPr/>
              <a:t>03-02-2023</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rtl="0">
              <a:defRPr>
                <a:solidFill>
                  <a:schemeClr val="accent2"/>
                </a:solidFill>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accent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479295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AD7A57-5211-48E9-B1E5-AC3DD8BD021E}"/>
              </a:ext>
            </a:extLst>
          </p:cNvPr>
          <p:cNvGraphicFramePr>
            <a:graphicFrameLocks noChangeAspect="1"/>
          </p:cNvGraphicFramePr>
          <p:nvPr userDrawn="1">
            <p:custDataLst>
              <p:tags r:id="rId1"/>
            </p:custDataLst>
            <p:extLst>
              <p:ext uri="{D42A27DB-BD31-4B8C-83A1-F6EECF244321}">
                <p14:modId xmlns:p14="http://schemas.microsoft.com/office/powerpoint/2010/main" val="431509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46AD7A57-5211-48E9-B1E5-AC3DD8BD02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1"/>
            <a:ext cx="3584974" cy="2136774"/>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lvl1pPr rtl="0">
              <a:defRPr/>
            </a:lvl1pPr>
          </a:lstStyle>
          <a:p>
            <a:fld id="{49EE3078-35F5-4450-8DDB-1711F663AF0B}" type="datetime1">
              <a:rPr lang="da-DK" smtClean="0"/>
              <a:pPr/>
              <a:t>03-02-2023</a:t>
            </a:fld>
            <a:endParaRPr lang="da-DK"/>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2217327958"/>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E3D240F-1179-41E3-ACCD-37AD84011860}"/>
              </a:ext>
            </a:extLst>
          </p:cNvPr>
          <p:cNvGraphicFramePr>
            <a:graphicFrameLocks noChangeAspect="1"/>
          </p:cNvGraphicFramePr>
          <p:nvPr userDrawn="1">
            <p:custDataLst>
              <p:tags r:id="rId1"/>
            </p:custDataLst>
            <p:extLst>
              <p:ext uri="{D42A27DB-BD31-4B8C-83A1-F6EECF244321}">
                <p14:modId xmlns:p14="http://schemas.microsoft.com/office/powerpoint/2010/main" val="2069276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3E3D240F-1179-41E3-ACCD-37AD840118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rtl="0">
              <a:defRPr sz="100">
                <a:noFill/>
              </a:defRPr>
            </a:lvl1pPr>
          </a:lstStyle>
          <a:p>
            <a:fld id="{87CEE0B2-D606-4C87-BD16-18AC95AF549F}" type="datetime1">
              <a:rPr lang="da-DK" smtClean="0"/>
              <a:pPr/>
              <a:t>03-02-2023</a:t>
            </a:fld>
            <a:endParaRPr lang="da-DK"/>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p:txBody>
          <a:bodyPr vert="horz"/>
          <a:lstStyle>
            <a:lvl1pPr rtl="0">
              <a:defRPr/>
            </a:lvl1pPr>
          </a:lstStyle>
          <a:p>
            <a:r>
              <a:rPr lang="da-DK" noProof="0"/>
              <a:t>Click to add title</a:t>
            </a:r>
          </a:p>
        </p:txBody>
      </p:sp>
    </p:spTree>
    <p:extLst>
      <p:ext uri="{BB962C8B-B14F-4D97-AF65-F5344CB8AC3E}">
        <p14:creationId xmlns:p14="http://schemas.microsoft.com/office/powerpoint/2010/main" val="31974764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Breaker (A)">
    <p:bg>
      <p:bgPr>
        <a:solidFill>
          <a:srgbClr val="E6E6E6"/>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C5F233A-FD3C-49FA-BDA6-A9CA4569FFF7}"/>
              </a:ext>
            </a:extLst>
          </p:cNvPr>
          <p:cNvGraphicFramePr>
            <a:graphicFrameLocks noChangeAspect="1"/>
          </p:cNvGraphicFramePr>
          <p:nvPr userDrawn="1">
            <p:custDataLst>
              <p:tags r:id="rId1"/>
            </p:custDataLst>
            <p:extLst>
              <p:ext uri="{D42A27DB-BD31-4B8C-83A1-F6EECF244321}">
                <p14:modId xmlns:p14="http://schemas.microsoft.com/office/powerpoint/2010/main" val="4176184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6C5F233A-FD3C-49FA-BDA6-A9CA4569FF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bwMode="white">
          <a:xfrm>
            <a:off x="1350000" y="1122363"/>
            <a:ext cx="8509963" cy="1984631"/>
          </a:xfrm>
        </p:spPr>
        <p:txBody>
          <a:bodyPr vert="horz" anchor="b"/>
          <a:lstStyle>
            <a:lvl1pPr algn="l" rtl="0">
              <a:defRPr sz="6000">
                <a:solidFill>
                  <a:schemeClr val="bg2"/>
                </a:solidFill>
              </a:defRPr>
            </a:lvl1pPr>
          </a:lstStyle>
          <a:p>
            <a:r>
              <a:rPr lang="da-DK" noProof="0"/>
              <a:t>Click to add </a:t>
            </a:r>
            <a:r>
              <a:rPr lang="da-DK"/>
              <a:t>Breaker text</a:t>
            </a:r>
          </a:p>
        </p:txBody>
      </p:sp>
      <p:sp>
        <p:nvSpPr>
          <p:cNvPr id="3" name="Subtitle 2"/>
          <p:cNvSpPr>
            <a:spLocks noGrp="1"/>
          </p:cNvSpPr>
          <p:nvPr>
            <p:ph type="subTitle" idx="1" hasCustomPrompt="1"/>
          </p:nvPr>
        </p:nvSpPr>
        <p:spPr bwMode="white">
          <a:xfrm>
            <a:off x="4293249" y="4187860"/>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rtl="0">
              <a:defRPr>
                <a:solidFill>
                  <a:schemeClr val="bg2"/>
                </a:solidFill>
              </a:defRPr>
            </a:lvl1pPr>
          </a:lstStyle>
          <a:p>
            <a:fld id="{075B1503-1805-4DC5-AF6E-FDE48DB177B4}" type="datetime1">
              <a:rPr lang="da-DK" smtClean="0"/>
              <a:pPr/>
              <a:t>03-02-2023</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rtl="0">
              <a:defRPr>
                <a:solidFill>
                  <a:schemeClr val="bg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rtl="0">
              <a:defRPr>
                <a:solidFill>
                  <a:schemeClr val="bg2"/>
                </a:solidFill>
              </a:defRPr>
            </a:lvl1pPr>
          </a:lstStyle>
          <a:p>
            <a:fld id="{23AA811B-2EBD-4900-905E-5BE206449611}" type="slidenum">
              <a:rPr lang="da-DK" smtClean="0"/>
              <a:pPr/>
              <a:t>‹#›</a:t>
            </a:fld>
            <a:endParaRPr lang="da-DK"/>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2"/>
                </a:solidFill>
              </a:rPr>
              <a:t>Ramboll</a:t>
            </a:r>
          </a:p>
        </p:txBody>
      </p:sp>
      <p:grpSp>
        <p:nvGrpSpPr>
          <p:cNvPr id="9" name="Google Shape;112;p3">
            <a:extLst>
              <a:ext uri="{FF2B5EF4-FFF2-40B4-BE49-F238E27FC236}">
                <a16:creationId xmlns:a16="http://schemas.microsoft.com/office/drawing/2014/main" id="{07CC82E2-09C1-4622-A41A-D1941B226DC3}"/>
              </a:ext>
            </a:extLst>
          </p:cNvPr>
          <p:cNvGrpSpPr/>
          <p:nvPr userDrawn="1"/>
        </p:nvGrpSpPr>
        <p:grpSpPr>
          <a:xfrm>
            <a:off x="-31721" y="-76368"/>
            <a:ext cx="12255441" cy="7160172"/>
            <a:chOff x="-83913" y="-168653"/>
            <a:chExt cx="9288757" cy="5426904"/>
          </a:xfrm>
        </p:grpSpPr>
        <p:sp>
          <p:nvSpPr>
            <p:cNvPr id="10" name="Google Shape;113;p3">
              <a:extLst>
                <a:ext uri="{FF2B5EF4-FFF2-40B4-BE49-F238E27FC236}">
                  <a16:creationId xmlns:a16="http://schemas.microsoft.com/office/drawing/2014/main" id="{92B86184-6952-451E-8923-D1FFF61F2739}"/>
                </a:ext>
              </a:extLst>
            </p:cNvPr>
            <p:cNvSpPr/>
            <p:nvPr/>
          </p:nvSpPr>
          <p:spPr>
            <a:xfrm>
              <a:off x="3901992" y="271731"/>
              <a:ext cx="499650" cy="704779"/>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2" name="Google Shape;114;p3">
              <a:extLst>
                <a:ext uri="{FF2B5EF4-FFF2-40B4-BE49-F238E27FC236}">
                  <a16:creationId xmlns:a16="http://schemas.microsoft.com/office/drawing/2014/main" id="{C71AF609-7BB7-450F-A8AB-E493826AA9E9}"/>
                </a:ext>
              </a:extLst>
            </p:cNvPr>
            <p:cNvSpPr/>
            <p:nvPr/>
          </p:nvSpPr>
          <p:spPr>
            <a:xfrm>
              <a:off x="-73851" y="4335362"/>
              <a:ext cx="601266" cy="549535"/>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3" name="Google Shape;115;p3">
              <a:extLst>
                <a:ext uri="{FF2B5EF4-FFF2-40B4-BE49-F238E27FC236}">
                  <a16:creationId xmlns:a16="http://schemas.microsoft.com/office/drawing/2014/main" id="{AED2F901-8026-448D-A349-9CA72B883ABC}"/>
                </a:ext>
              </a:extLst>
            </p:cNvPr>
            <p:cNvSpPr/>
            <p:nvPr/>
          </p:nvSpPr>
          <p:spPr>
            <a:xfrm rot="2001982">
              <a:off x="136143" y="2216866"/>
              <a:ext cx="321474" cy="709766"/>
            </a:xfrm>
            <a:custGeom>
              <a:avLst/>
              <a:gdLst/>
              <a:ahLst/>
              <a:cxnLst/>
              <a:rect l="l" t="t" r="r" b="b"/>
              <a:pathLst>
                <a:path w="374196" h="826169" extrusionOk="0">
                  <a:moveTo>
                    <a:pt x="319578" y="542496"/>
                  </a:moveTo>
                  <a:cubicBezTo>
                    <a:pt x="337993" y="538051"/>
                    <a:pt x="360853" y="525986"/>
                    <a:pt x="365933" y="549481"/>
                  </a:cubicBezTo>
                  <a:cubicBezTo>
                    <a:pt x="372283" y="584406"/>
                    <a:pt x="389428" y="625046"/>
                    <a:pt x="341803" y="634571"/>
                  </a:cubicBezTo>
                  <a:cubicBezTo>
                    <a:pt x="344978" y="696801"/>
                    <a:pt x="374823" y="756491"/>
                    <a:pt x="362758" y="819356"/>
                  </a:cubicBezTo>
                  <a:cubicBezTo>
                    <a:pt x="256078" y="683466"/>
                    <a:pt x="252268" y="452961"/>
                    <a:pt x="169718" y="289131"/>
                  </a:cubicBezTo>
                  <a:cubicBezTo>
                    <a:pt x="120823" y="395176"/>
                    <a:pt x="-22052" y="1176861"/>
                    <a:pt x="34463" y="639016"/>
                  </a:cubicBezTo>
                  <a:cubicBezTo>
                    <a:pt x="31288" y="635206"/>
                    <a:pt x="30018" y="632666"/>
                    <a:pt x="28113" y="632666"/>
                  </a:cubicBezTo>
                  <a:cubicBezTo>
                    <a:pt x="-23957" y="623141"/>
                    <a:pt x="12873" y="572341"/>
                    <a:pt x="9698" y="536146"/>
                  </a:cubicBezTo>
                  <a:cubicBezTo>
                    <a:pt x="20493" y="531066"/>
                    <a:pt x="35098" y="532336"/>
                    <a:pt x="47163" y="534241"/>
                  </a:cubicBezTo>
                  <a:cubicBezTo>
                    <a:pt x="79548" y="416131"/>
                    <a:pt x="89708" y="287226"/>
                    <a:pt x="105583" y="164036"/>
                  </a:cubicBezTo>
                  <a:cubicBezTo>
                    <a:pt x="103043" y="132286"/>
                    <a:pt x="128443" y="141811"/>
                    <a:pt x="150033" y="136731"/>
                  </a:cubicBezTo>
                  <a:cubicBezTo>
                    <a:pt x="148128" y="119586"/>
                    <a:pt x="111933" y="3381"/>
                    <a:pt x="143683" y="4016"/>
                  </a:cubicBezTo>
                  <a:cubicBezTo>
                    <a:pt x="226868" y="-22019"/>
                    <a:pt x="207183" y="85296"/>
                    <a:pt x="187498" y="131651"/>
                  </a:cubicBezTo>
                  <a:cubicBezTo>
                    <a:pt x="214168" y="144351"/>
                    <a:pt x="240838" y="139906"/>
                    <a:pt x="242743" y="179911"/>
                  </a:cubicBezTo>
                  <a:cubicBezTo>
                    <a:pt x="263063" y="301196"/>
                    <a:pt x="290368" y="422481"/>
                    <a:pt x="319578" y="542496"/>
                  </a:cubicBezTo>
                  <a:close/>
                  <a:moveTo>
                    <a:pt x="311323" y="649811"/>
                  </a:moveTo>
                  <a:cubicBezTo>
                    <a:pt x="294178" y="503126"/>
                    <a:pt x="253538" y="351996"/>
                    <a:pt x="217978" y="207851"/>
                  </a:cubicBezTo>
                  <a:cubicBezTo>
                    <a:pt x="200833" y="217376"/>
                    <a:pt x="197658" y="242776"/>
                    <a:pt x="186228" y="258651"/>
                  </a:cubicBezTo>
                  <a:cubicBezTo>
                    <a:pt x="236393" y="387556"/>
                    <a:pt x="258618" y="523446"/>
                    <a:pt x="311323" y="649811"/>
                  </a:cubicBezTo>
                  <a:close/>
                  <a:moveTo>
                    <a:pt x="77643" y="517731"/>
                  </a:moveTo>
                  <a:cubicBezTo>
                    <a:pt x="112568" y="444071"/>
                    <a:pt x="112568" y="363426"/>
                    <a:pt x="141778" y="288496"/>
                  </a:cubicBezTo>
                  <a:cubicBezTo>
                    <a:pt x="153208" y="259921"/>
                    <a:pt x="143048" y="230711"/>
                    <a:pt x="123998" y="208486"/>
                  </a:cubicBezTo>
                  <a:cubicBezTo>
                    <a:pt x="100503" y="312626"/>
                    <a:pt x="94788" y="412956"/>
                    <a:pt x="77643" y="517731"/>
                  </a:cubicBezTo>
                  <a:close/>
                  <a:moveTo>
                    <a:pt x="166543" y="240871"/>
                  </a:moveTo>
                  <a:cubicBezTo>
                    <a:pt x="183053" y="211026"/>
                    <a:pt x="205913" y="190706"/>
                    <a:pt x="204008" y="160861"/>
                  </a:cubicBezTo>
                  <a:cubicBezTo>
                    <a:pt x="175433" y="152606"/>
                    <a:pt x="167813" y="152606"/>
                    <a:pt x="141778" y="164671"/>
                  </a:cubicBezTo>
                  <a:cubicBezTo>
                    <a:pt x="145588" y="188801"/>
                    <a:pt x="154478" y="211661"/>
                    <a:pt x="166543" y="240871"/>
                  </a:cubicBezTo>
                  <a:close/>
                  <a:moveTo>
                    <a:pt x="171623" y="104346"/>
                  </a:moveTo>
                  <a:cubicBezTo>
                    <a:pt x="183053" y="73231"/>
                    <a:pt x="181783" y="45291"/>
                    <a:pt x="167813" y="21796"/>
                  </a:cubicBezTo>
                  <a:cubicBezTo>
                    <a:pt x="152573" y="37036"/>
                    <a:pt x="148128" y="94821"/>
                    <a:pt x="171623" y="104346"/>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4" name="Google Shape;116;p3">
              <a:extLst>
                <a:ext uri="{FF2B5EF4-FFF2-40B4-BE49-F238E27FC236}">
                  <a16:creationId xmlns:a16="http://schemas.microsoft.com/office/drawing/2014/main" id="{13A0FF20-A9BC-4DAA-BC16-E4C747D6646E}"/>
                </a:ext>
              </a:extLst>
            </p:cNvPr>
            <p:cNvSpPr/>
            <p:nvPr/>
          </p:nvSpPr>
          <p:spPr>
            <a:xfrm rot="-1974315">
              <a:off x="1151275" y="3720972"/>
              <a:ext cx="252371" cy="554298"/>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5" name="Google Shape;117;p3">
              <a:extLst>
                <a:ext uri="{FF2B5EF4-FFF2-40B4-BE49-F238E27FC236}">
                  <a16:creationId xmlns:a16="http://schemas.microsoft.com/office/drawing/2014/main" id="{62047D3D-2B35-4A87-9CEF-A9996A3BA36D}"/>
                </a:ext>
              </a:extLst>
            </p:cNvPr>
            <p:cNvSpPr/>
            <p:nvPr/>
          </p:nvSpPr>
          <p:spPr>
            <a:xfrm>
              <a:off x="4101001" y="4649180"/>
              <a:ext cx="376856" cy="254902"/>
            </a:xfrm>
            <a:custGeom>
              <a:avLst/>
              <a:gdLst/>
              <a:ahLst/>
              <a:cxnLst/>
              <a:rect l="l" t="t" r="r" b="b"/>
              <a:pathLst>
                <a:path w="575352" h="389164" extrusionOk="0">
                  <a:moveTo>
                    <a:pt x="575352" y="173355"/>
                  </a:moveTo>
                  <a:cubicBezTo>
                    <a:pt x="489627" y="224155"/>
                    <a:pt x="287063" y="336550"/>
                    <a:pt x="285793" y="356235"/>
                  </a:cubicBezTo>
                  <a:cubicBezTo>
                    <a:pt x="285158" y="365760"/>
                    <a:pt x="273093" y="372745"/>
                    <a:pt x="263568" y="368935"/>
                  </a:cubicBezTo>
                  <a:cubicBezTo>
                    <a:pt x="189273" y="366395"/>
                    <a:pt x="106088" y="378460"/>
                    <a:pt x="31793" y="385445"/>
                  </a:cubicBezTo>
                  <a:cubicBezTo>
                    <a:pt x="9568" y="398145"/>
                    <a:pt x="-9482" y="375920"/>
                    <a:pt x="5123" y="354965"/>
                  </a:cubicBezTo>
                  <a:cubicBezTo>
                    <a:pt x="34333" y="295275"/>
                    <a:pt x="47033" y="213995"/>
                    <a:pt x="97198" y="170180"/>
                  </a:cubicBezTo>
                  <a:cubicBezTo>
                    <a:pt x="198163" y="112395"/>
                    <a:pt x="294683" y="47625"/>
                    <a:pt x="400727" y="0"/>
                  </a:cubicBezTo>
                  <a:cubicBezTo>
                    <a:pt x="583608" y="18415"/>
                    <a:pt x="570273" y="-16510"/>
                    <a:pt x="575352" y="173355"/>
                  </a:cubicBezTo>
                  <a:close/>
                  <a:moveTo>
                    <a:pt x="292777" y="199390"/>
                  </a:moveTo>
                  <a:cubicBezTo>
                    <a:pt x="223563" y="208915"/>
                    <a:pt x="154983" y="208280"/>
                    <a:pt x="86402" y="220980"/>
                  </a:cubicBezTo>
                  <a:cubicBezTo>
                    <a:pt x="70527" y="268605"/>
                    <a:pt x="27983" y="310515"/>
                    <a:pt x="32427" y="359410"/>
                  </a:cubicBezTo>
                  <a:cubicBezTo>
                    <a:pt x="98468" y="358775"/>
                    <a:pt x="165143" y="359410"/>
                    <a:pt x="229913" y="343535"/>
                  </a:cubicBezTo>
                  <a:cubicBezTo>
                    <a:pt x="285793" y="323215"/>
                    <a:pt x="275633" y="250190"/>
                    <a:pt x="292777" y="199390"/>
                  </a:cubicBezTo>
                  <a:close/>
                  <a:moveTo>
                    <a:pt x="398188" y="146685"/>
                  </a:moveTo>
                  <a:cubicBezTo>
                    <a:pt x="374693" y="151765"/>
                    <a:pt x="340402" y="168910"/>
                    <a:pt x="320083" y="186055"/>
                  </a:cubicBezTo>
                  <a:cubicBezTo>
                    <a:pt x="314368" y="225425"/>
                    <a:pt x="288968" y="274320"/>
                    <a:pt x="292143" y="320040"/>
                  </a:cubicBezTo>
                  <a:cubicBezTo>
                    <a:pt x="327702" y="303530"/>
                    <a:pt x="361993" y="272415"/>
                    <a:pt x="392473" y="250825"/>
                  </a:cubicBezTo>
                  <a:cubicBezTo>
                    <a:pt x="389933" y="213995"/>
                    <a:pt x="397552" y="181610"/>
                    <a:pt x="398188" y="146685"/>
                  </a:cubicBezTo>
                  <a:close/>
                  <a:moveTo>
                    <a:pt x="115613" y="186055"/>
                  </a:moveTo>
                  <a:cubicBezTo>
                    <a:pt x="167683" y="207010"/>
                    <a:pt x="302302" y="179705"/>
                    <a:pt x="346118" y="135890"/>
                  </a:cubicBezTo>
                  <a:cubicBezTo>
                    <a:pt x="266743" y="97155"/>
                    <a:pt x="180383" y="131445"/>
                    <a:pt x="115613" y="186055"/>
                  </a:cubicBezTo>
                  <a:close/>
                  <a:moveTo>
                    <a:pt x="417238" y="231775"/>
                  </a:moveTo>
                  <a:cubicBezTo>
                    <a:pt x="433748" y="227330"/>
                    <a:pt x="435018" y="226060"/>
                    <a:pt x="435018" y="215265"/>
                  </a:cubicBezTo>
                  <a:cubicBezTo>
                    <a:pt x="431843" y="191135"/>
                    <a:pt x="440733" y="163195"/>
                    <a:pt x="429302" y="140970"/>
                  </a:cubicBezTo>
                  <a:cubicBezTo>
                    <a:pt x="415333" y="166370"/>
                    <a:pt x="410252" y="204470"/>
                    <a:pt x="417238" y="231775"/>
                  </a:cubicBezTo>
                  <a:close/>
                  <a:moveTo>
                    <a:pt x="506138" y="85090"/>
                  </a:moveTo>
                  <a:cubicBezTo>
                    <a:pt x="509948" y="120650"/>
                    <a:pt x="498518" y="147955"/>
                    <a:pt x="507408" y="184785"/>
                  </a:cubicBezTo>
                  <a:cubicBezTo>
                    <a:pt x="526458" y="157480"/>
                    <a:pt x="517568" y="111125"/>
                    <a:pt x="506138" y="85090"/>
                  </a:cubicBezTo>
                  <a:close/>
                  <a:moveTo>
                    <a:pt x="482643" y="190500"/>
                  </a:moveTo>
                  <a:cubicBezTo>
                    <a:pt x="480738" y="159385"/>
                    <a:pt x="497883" y="125095"/>
                    <a:pt x="481373" y="101600"/>
                  </a:cubicBezTo>
                  <a:cubicBezTo>
                    <a:pt x="473118" y="125730"/>
                    <a:pt x="473118" y="147955"/>
                    <a:pt x="482643" y="190500"/>
                  </a:cubicBezTo>
                  <a:close/>
                  <a:moveTo>
                    <a:pt x="453433" y="168275"/>
                  </a:moveTo>
                  <a:cubicBezTo>
                    <a:pt x="445177" y="182880"/>
                    <a:pt x="440098" y="203200"/>
                    <a:pt x="457877" y="212090"/>
                  </a:cubicBezTo>
                  <a:cubicBezTo>
                    <a:pt x="462323" y="194945"/>
                    <a:pt x="461052" y="181610"/>
                    <a:pt x="453433" y="168275"/>
                  </a:cubicBezTo>
                  <a:close/>
                  <a:moveTo>
                    <a:pt x="408348" y="66675"/>
                  </a:moveTo>
                  <a:cubicBezTo>
                    <a:pt x="412158" y="80645"/>
                    <a:pt x="437558" y="79375"/>
                    <a:pt x="453433" y="74930"/>
                  </a:cubicBezTo>
                  <a:cubicBezTo>
                    <a:pt x="437558" y="62865"/>
                    <a:pt x="422952" y="67945"/>
                    <a:pt x="408348" y="66675"/>
                  </a:cubicBezTo>
                  <a:close/>
                  <a:moveTo>
                    <a:pt x="495343" y="48895"/>
                  </a:moveTo>
                  <a:cubicBezTo>
                    <a:pt x="479468" y="37465"/>
                    <a:pt x="471213" y="36195"/>
                    <a:pt x="442638" y="40640"/>
                  </a:cubicBezTo>
                  <a:cubicBezTo>
                    <a:pt x="464227" y="42545"/>
                    <a:pt x="478833" y="53340"/>
                    <a:pt x="495343" y="48895"/>
                  </a:cubicBezTo>
                  <a:close/>
                  <a:moveTo>
                    <a:pt x="335958" y="89535"/>
                  </a:moveTo>
                  <a:cubicBezTo>
                    <a:pt x="321352" y="76200"/>
                    <a:pt x="305477" y="73025"/>
                    <a:pt x="293413" y="88900"/>
                  </a:cubicBezTo>
                  <a:cubicBezTo>
                    <a:pt x="308652" y="92710"/>
                    <a:pt x="320718" y="92710"/>
                    <a:pt x="335958" y="89535"/>
                  </a:cubicBezTo>
                  <a:close/>
                  <a:moveTo>
                    <a:pt x="539793" y="65405"/>
                  </a:moveTo>
                  <a:cubicBezTo>
                    <a:pt x="527727" y="76200"/>
                    <a:pt x="528363" y="81280"/>
                    <a:pt x="540427" y="92075"/>
                  </a:cubicBezTo>
                  <a:cubicBezTo>
                    <a:pt x="543602" y="83185"/>
                    <a:pt x="544873" y="74295"/>
                    <a:pt x="539793" y="65405"/>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6" name="Google Shape;118;p3">
              <a:extLst>
                <a:ext uri="{FF2B5EF4-FFF2-40B4-BE49-F238E27FC236}">
                  <a16:creationId xmlns:a16="http://schemas.microsoft.com/office/drawing/2014/main" id="{36BACEDB-3231-4638-A682-B189FBE3FC4A}"/>
                </a:ext>
              </a:extLst>
            </p:cNvPr>
            <p:cNvSpPr/>
            <p:nvPr/>
          </p:nvSpPr>
          <p:spPr>
            <a:xfrm>
              <a:off x="8091625" y="827000"/>
              <a:ext cx="485245" cy="329049"/>
            </a:xfrm>
            <a:custGeom>
              <a:avLst/>
              <a:gdLst/>
              <a:ahLst/>
              <a:cxnLst/>
              <a:rect l="l" t="t" r="r" b="b"/>
              <a:pathLst>
                <a:path w="620122" h="420510" extrusionOk="0">
                  <a:moveTo>
                    <a:pt x="1362" y="54610"/>
                  </a:moveTo>
                  <a:cubicBezTo>
                    <a:pt x="-31023" y="-68580"/>
                    <a:pt x="523967" y="55245"/>
                    <a:pt x="605247" y="54610"/>
                  </a:cubicBezTo>
                  <a:cubicBezTo>
                    <a:pt x="675732" y="78740"/>
                    <a:pt x="469992" y="177800"/>
                    <a:pt x="522062" y="355600"/>
                  </a:cubicBezTo>
                  <a:cubicBezTo>
                    <a:pt x="492217" y="360045"/>
                    <a:pt x="461102" y="331470"/>
                    <a:pt x="433162" y="323850"/>
                  </a:cubicBezTo>
                  <a:cubicBezTo>
                    <a:pt x="398237" y="328930"/>
                    <a:pt x="342992" y="455930"/>
                    <a:pt x="327752" y="410845"/>
                  </a:cubicBezTo>
                  <a:cubicBezTo>
                    <a:pt x="228057" y="287020"/>
                    <a:pt x="113757" y="169545"/>
                    <a:pt x="1362" y="54610"/>
                  </a:cubicBezTo>
                  <a:close/>
                  <a:moveTo>
                    <a:pt x="591277" y="78740"/>
                  </a:moveTo>
                  <a:cubicBezTo>
                    <a:pt x="418557" y="50800"/>
                    <a:pt x="245837" y="13335"/>
                    <a:pt x="69942" y="28575"/>
                  </a:cubicBezTo>
                  <a:cubicBezTo>
                    <a:pt x="217262" y="83820"/>
                    <a:pt x="363947" y="134620"/>
                    <a:pt x="513807" y="186055"/>
                  </a:cubicBezTo>
                  <a:cubicBezTo>
                    <a:pt x="542382" y="154305"/>
                    <a:pt x="569052" y="120650"/>
                    <a:pt x="591277" y="78740"/>
                  </a:cubicBezTo>
                  <a:close/>
                  <a:moveTo>
                    <a:pt x="443957" y="267335"/>
                  </a:moveTo>
                  <a:cubicBezTo>
                    <a:pt x="319497" y="199390"/>
                    <a:pt x="185512" y="113665"/>
                    <a:pt x="57242" y="74930"/>
                  </a:cubicBezTo>
                  <a:cubicBezTo>
                    <a:pt x="154397" y="174625"/>
                    <a:pt x="238852" y="289560"/>
                    <a:pt x="344897" y="379095"/>
                  </a:cubicBezTo>
                  <a:cubicBezTo>
                    <a:pt x="380457" y="344170"/>
                    <a:pt x="414747" y="311150"/>
                    <a:pt x="443957" y="267335"/>
                  </a:cubicBezTo>
                  <a:close/>
                  <a:moveTo>
                    <a:pt x="494122" y="207010"/>
                  </a:moveTo>
                  <a:cubicBezTo>
                    <a:pt x="380457" y="167640"/>
                    <a:pt x="263617" y="100330"/>
                    <a:pt x="146777" y="87630"/>
                  </a:cubicBezTo>
                  <a:cubicBezTo>
                    <a:pt x="262347" y="134620"/>
                    <a:pt x="363947" y="216535"/>
                    <a:pt x="484597" y="246380"/>
                  </a:cubicBezTo>
                  <a:cubicBezTo>
                    <a:pt x="480787" y="264795"/>
                    <a:pt x="472532" y="281305"/>
                    <a:pt x="490947" y="292735"/>
                  </a:cubicBezTo>
                  <a:cubicBezTo>
                    <a:pt x="503012" y="251460"/>
                    <a:pt x="502377" y="238125"/>
                    <a:pt x="494122" y="20701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7" name="Google Shape;119;p3">
              <a:extLst>
                <a:ext uri="{FF2B5EF4-FFF2-40B4-BE49-F238E27FC236}">
                  <a16:creationId xmlns:a16="http://schemas.microsoft.com/office/drawing/2014/main" id="{80CF381C-9814-44B2-9E55-B8EC0B0AB8C4}"/>
                </a:ext>
              </a:extLst>
            </p:cNvPr>
            <p:cNvSpPr/>
            <p:nvPr/>
          </p:nvSpPr>
          <p:spPr>
            <a:xfrm rot="3971375">
              <a:off x="3138581" y="4622816"/>
              <a:ext cx="362909" cy="668479"/>
            </a:xfrm>
            <a:custGeom>
              <a:avLst/>
              <a:gdLst/>
              <a:ahLst/>
              <a:cxnLst/>
              <a:rect l="l" t="t" r="r" b="b"/>
              <a:pathLst>
                <a:path w="421613" h="776612" extrusionOk="0">
                  <a:moveTo>
                    <a:pt x="99839" y="349282"/>
                  </a:moveTo>
                  <a:cubicBezTo>
                    <a:pt x="-9381" y="246412"/>
                    <a:pt x="19194" y="15272"/>
                    <a:pt x="189374" y="32"/>
                  </a:cubicBezTo>
                  <a:cubicBezTo>
                    <a:pt x="381144" y="-3143"/>
                    <a:pt x="497984" y="232442"/>
                    <a:pt x="363999" y="377222"/>
                  </a:cubicBezTo>
                  <a:cubicBezTo>
                    <a:pt x="448453" y="504222"/>
                    <a:pt x="402734" y="743617"/>
                    <a:pt x="235728" y="773462"/>
                  </a:cubicBezTo>
                  <a:cubicBezTo>
                    <a:pt x="125874" y="796957"/>
                    <a:pt x="24909" y="684562"/>
                    <a:pt x="4589" y="585502"/>
                  </a:cubicBezTo>
                  <a:cubicBezTo>
                    <a:pt x="-17001" y="491522"/>
                    <a:pt x="41419" y="414052"/>
                    <a:pt x="99839" y="349282"/>
                  </a:cubicBezTo>
                  <a:close/>
                  <a:moveTo>
                    <a:pt x="113174" y="363887"/>
                  </a:moveTo>
                  <a:cubicBezTo>
                    <a:pt x="60469" y="429927"/>
                    <a:pt x="-6206" y="502317"/>
                    <a:pt x="28084" y="594392"/>
                  </a:cubicBezTo>
                  <a:cubicBezTo>
                    <a:pt x="55389" y="680117"/>
                    <a:pt x="137939" y="773462"/>
                    <a:pt x="236999" y="755047"/>
                  </a:cubicBezTo>
                  <a:cubicBezTo>
                    <a:pt x="372253" y="724567"/>
                    <a:pt x="403369" y="568357"/>
                    <a:pt x="375428" y="450247"/>
                  </a:cubicBezTo>
                  <a:cubicBezTo>
                    <a:pt x="371619" y="427387"/>
                    <a:pt x="367809" y="403257"/>
                    <a:pt x="340503" y="395002"/>
                  </a:cubicBezTo>
                  <a:cubicBezTo>
                    <a:pt x="330344" y="400082"/>
                    <a:pt x="316374" y="404527"/>
                    <a:pt x="306214" y="412782"/>
                  </a:cubicBezTo>
                  <a:cubicBezTo>
                    <a:pt x="292244" y="424212"/>
                    <a:pt x="276369" y="408337"/>
                    <a:pt x="263669" y="418497"/>
                  </a:cubicBezTo>
                  <a:cubicBezTo>
                    <a:pt x="206519" y="425482"/>
                    <a:pt x="159528" y="398177"/>
                    <a:pt x="113174" y="363887"/>
                  </a:cubicBezTo>
                  <a:close/>
                  <a:moveTo>
                    <a:pt x="343678" y="364522"/>
                  </a:moveTo>
                  <a:cubicBezTo>
                    <a:pt x="427499" y="287052"/>
                    <a:pt x="415434" y="127032"/>
                    <a:pt x="317009" y="67342"/>
                  </a:cubicBezTo>
                  <a:cubicBezTo>
                    <a:pt x="218584" y="-10128"/>
                    <a:pt x="108728" y="4477"/>
                    <a:pt x="61739" y="125762"/>
                  </a:cubicBezTo>
                  <a:cubicBezTo>
                    <a:pt x="49039" y="190532"/>
                    <a:pt x="59199" y="321977"/>
                    <a:pt x="138574" y="332772"/>
                  </a:cubicBezTo>
                  <a:cubicBezTo>
                    <a:pt x="207789" y="290227"/>
                    <a:pt x="282719" y="322612"/>
                    <a:pt x="343678" y="364522"/>
                  </a:cubicBezTo>
                  <a:close/>
                  <a:moveTo>
                    <a:pt x="318914" y="379127"/>
                  </a:moveTo>
                  <a:cubicBezTo>
                    <a:pt x="306849" y="365792"/>
                    <a:pt x="294784" y="353727"/>
                    <a:pt x="273828" y="349282"/>
                  </a:cubicBezTo>
                  <a:cubicBezTo>
                    <a:pt x="280178" y="372777"/>
                    <a:pt x="291609" y="400717"/>
                    <a:pt x="318914" y="379127"/>
                  </a:cubicBezTo>
                  <a:close/>
                  <a:moveTo>
                    <a:pt x="211599" y="382302"/>
                  </a:moveTo>
                  <a:cubicBezTo>
                    <a:pt x="208424" y="357537"/>
                    <a:pt x="203344" y="315627"/>
                    <a:pt x="179849" y="340392"/>
                  </a:cubicBezTo>
                  <a:cubicBezTo>
                    <a:pt x="191278" y="353092"/>
                    <a:pt x="196994" y="369602"/>
                    <a:pt x="211599" y="382302"/>
                  </a:cubicBezTo>
                  <a:close/>
                  <a:moveTo>
                    <a:pt x="265574" y="395637"/>
                  </a:moveTo>
                  <a:cubicBezTo>
                    <a:pt x="251603" y="373412"/>
                    <a:pt x="248428" y="351822"/>
                    <a:pt x="233189" y="341027"/>
                  </a:cubicBezTo>
                  <a:cubicBezTo>
                    <a:pt x="229378" y="361982"/>
                    <a:pt x="236999" y="377222"/>
                    <a:pt x="265574" y="395637"/>
                  </a:cubicBezTo>
                  <a:close/>
                  <a:moveTo>
                    <a:pt x="167784" y="366427"/>
                  </a:moveTo>
                  <a:cubicBezTo>
                    <a:pt x="165244" y="354997"/>
                    <a:pt x="156989" y="341027"/>
                    <a:pt x="146828" y="349917"/>
                  </a:cubicBezTo>
                  <a:cubicBezTo>
                    <a:pt x="147464" y="361347"/>
                    <a:pt x="156989" y="368332"/>
                    <a:pt x="167784" y="36642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8" name="Google Shape;120;p3">
              <a:extLst>
                <a:ext uri="{FF2B5EF4-FFF2-40B4-BE49-F238E27FC236}">
                  <a16:creationId xmlns:a16="http://schemas.microsoft.com/office/drawing/2014/main" id="{DFDF226F-A40F-4BAA-9FAA-D845B566B9F8}"/>
                </a:ext>
              </a:extLst>
            </p:cNvPr>
            <p:cNvSpPr/>
            <p:nvPr/>
          </p:nvSpPr>
          <p:spPr>
            <a:xfrm rot="-3375824">
              <a:off x="8508205" y="4088864"/>
              <a:ext cx="623152" cy="166730"/>
            </a:xfrm>
            <a:custGeom>
              <a:avLst/>
              <a:gdLst/>
              <a:ahLst/>
              <a:cxnLst/>
              <a:rect l="l" t="t" r="r" b="b"/>
              <a:pathLst>
                <a:path w="724776" h="193920" extrusionOk="0">
                  <a:moveTo>
                    <a:pt x="536612" y="138058"/>
                  </a:moveTo>
                  <a:cubicBezTo>
                    <a:pt x="412787" y="137423"/>
                    <a:pt x="278168" y="171713"/>
                    <a:pt x="151168" y="192033"/>
                  </a:cubicBezTo>
                  <a:cubicBezTo>
                    <a:pt x="124497" y="199653"/>
                    <a:pt x="-29807" y="184413"/>
                    <a:pt x="5118" y="142503"/>
                  </a:cubicBezTo>
                  <a:cubicBezTo>
                    <a:pt x="118783" y="37093"/>
                    <a:pt x="265468" y="56778"/>
                    <a:pt x="408978" y="32013"/>
                  </a:cubicBezTo>
                  <a:cubicBezTo>
                    <a:pt x="490258" y="33283"/>
                    <a:pt x="579158" y="-16882"/>
                    <a:pt x="655358" y="5978"/>
                  </a:cubicBezTo>
                  <a:cubicBezTo>
                    <a:pt x="675043" y="28203"/>
                    <a:pt x="713143" y="-12437"/>
                    <a:pt x="722033" y="26933"/>
                  </a:cubicBezTo>
                  <a:cubicBezTo>
                    <a:pt x="725208" y="40268"/>
                    <a:pt x="727747" y="54238"/>
                    <a:pt x="716953" y="68208"/>
                  </a:cubicBezTo>
                  <a:cubicBezTo>
                    <a:pt x="673137" y="67573"/>
                    <a:pt x="667422" y="106943"/>
                    <a:pt x="643928" y="137423"/>
                  </a:cubicBezTo>
                  <a:cubicBezTo>
                    <a:pt x="555662" y="152663"/>
                    <a:pt x="452793" y="199653"/>
                    <a:pt x="367068" y="192033"/>
                  </a:cubicBezTo>
                  <a:cubicBezTo>
                    <a:pt x="370878" y="153933"/>
                    <a:pt x="501053" y="157108"/>
                    <a:pt x="536612" y="138058"/>
                  </a:cubicBezTo>
                  <a:close/>
                  <a:moveTo>
                    <a:pt x="388658" y="121548"/>
                  </a:moveTo>
                  <a:cubicBezTo>
                    <a:pt x="450887" y="124723"/>
                    <a:pt x="612812" y="113928"/>
                    <a:pt x="651547" y="66303"/>
                  </a:cubicBezTo>
                  <a:cubicBezTo>
                    <a:pt x="658533" y="42808"/>
                    <a:pt x="636943" y="18043"/>
                    <a:pt x="613447" y="21218"/>
                  </a:cubicBezTo>
                  <a:cubicBezTo>
                    <a:pt x="537883" y="43443"/>
                    <a:pt x="438822" y="31378"/>
                    <a:pt x="374053" y="70748"/>
                  </a:cubicBezTo>
                  <a:cubicBezTo>
                    <a:pt x="377862" y="86623"/>
                    <a:pt x="382943" y="103133"/>
                    <a:pt x="388658" y="121548"/>
                  </a:cubicBezTo>
                  <a:close/>
                  <a:moveTo>
                    <a:pt x="347383" y="65668"/>
                  </a:moveTo>
                  <a:cubicBezTo>
                    <a:pt x="275628" y="73288"/>
                    <a:pt x="201968" y="68843"/>
                    <a:pt x="133387" y="91703"/>
                  </a:cubicBezTo>
                  <a:cubicBezTo>
                    <a:pt x="131483" y="119008"/>
                    <a:pt x="132753" y="145678"/>
                    <a:pt x="144818" y="169808"/>
                  </a:cubicBezTo>
                  <a:cubicBezTo>
                    <a:pt x="207047" y="142503"/>
                    <a:pt x="415962" y="182508"/>
                    <a:pt x="347383" y="65668"/>
                  </a:cubicBezTo>
                  <a:close/>
                  <a:moveTo>
                    <a:pt x="106083" y="110118"/>
                  </a:moveTo>
                  <a:cubicBezTo>
                    <a:pt x="81318" y="115198"/>
                    <a:pt x="37503" y="132978"/>
                    <a:pt x="52743" y="161553"/>
                  </a:cubicBezTo>
                  <a:cubicBezTo>
                    <a:pt x="71158" y="167903"/>
                    <a:pt x="90208" y="171078"/>
                    <a:pt x="111797" y="169808"/>
                  </a:cubicBezTo>
                  <a:cubicBezTo>
                    <a:pt x="115608" y="148218"/>
                    <a:pt x="114972" y="129803"/>
                    <a:pt x="106083" y="110118"/>
                  </a:cubicBezTo>
                  <a:close/>
                  <a:moveTo>
                    <a:pt x="680122" y="49793"/>
                  </a:moveTo>
                  <a:cubicBezTo>
                    <a:pt x="687743" y="47253"/>
                    <a:pt x="701712" y="49158"/>
                    <a:pt x="699172" y="37728"/>
                  </a:cubicBezTo>
                  <a:cubicBezTo>
                    <a:pt x="692187" y="30743"/>
                    <a:pt x="679487" y="37093"/>
                    <a:pt x="680122" y="49793"/>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9" name="Google Shape;121;p3">
              <a:extLst>
                <a:ext uri="{FF2B5EF4-FFF2-40B4-BE49-F238E27FC236}">
                  <a16:creationId xmlns:a16="http://schemas.microsoft.com/office/drawing/2014/main" id="{65745712-0C3F-45EC-9C30-CA73E2C17891}"/>
                </a:ext>
              </a:extLst>
            </p:cNvPr>
            <p:cNvSpPr/>
            <p:nvPr/>
          </p:nvSpPr>
          <p:spPr>
            <a:xfrm rot="3011666">
              <a:off x="3210524" y="657803"/>
              <a:ext cx="199800" cy="513948"/>
            </a:xfrm>
            <a:custGeom>
              <a:avLst/>
              <a:gdLst/>
              <a:ahLst/>
              <a:cxnLst/>
              <a:rect l="l" t="t" r="r" b="b"/>
              <a:pathLst>
                <a:path w="232561" h="598221" extrusionOk="0">
                  <a:moveTo>
                    <a:pt x="113282" y="495986"/>
                  </a:moveTo>
                  <a:cubicBezTo>
                    <a:pt x="77722" y="519481"/>
                    <a:pt x="56132" y="585521"/>
                    <a:pt x="22477" y="598221"/>
                  </a:cubicBezTo>
                  <a:cubicBezTo>
                    <a:pt x="-37848" y="484556"/>
                    <a:pt x="39622" y="335966"/>
                    <a:pt x="64388" y="215316"/>
                  </a:cubicBezTo>
                  <a:cubicBezTo>
                    <a:pt x="82802" y="153086"/>
                    <a:pt x="100582" y="90856"/>
                    <a:pt x="115822" y="27991"/>
                  </a:cubicBezTo>
                  <a:cubicBezTo>
                    <a:pt x="125982" y="-24714"/>
                    <a:pt x="192657" y="10846"/>
                    <a:pt x="223772" y="23546"/>
                  </a:cubicBezTo>
                  <a:cubicBezTo>
                    <a:pt x="247268" y="47041"/>
                    <a:pt x="216788" y="92761"/>
                    <a:pt x="211707" y="121971"/>
                  </a:cubicBezTo>
                  <a:cubicBezTo>
                    <a:pt x="177418" y="245161"/>
                    <a:pt x="139952" y="370891"/>
                    <a:pt x="113282" y="495986"/>
                  </a:cubicBezTo>
                  <a:close/>
                  <a:moveTo>
                    <a:pt x="45338" y="459156"/>
                  </a:moveTo>
                  <a:cubicBezTo>
                    <a:pt x="74547" y="330886"/>
                    <a:pt x="116457" y="203886"/>
                    <a:pt x="145668" y="76886"/>
                  </a:cubicBezTo>
                  <a:cubicBezTo>
                    <a:pt x="109472" y="78156"/>
                    <a:pt x="92963" y="222301"/>
                    <a:pt x="77088" y="257861"/>
                  </a:cubicBezTo>
                  <a:cubicBezTo>
                    <a:pt x="76452" y="295961"/>
                    <a:pt x="252" y="454076"/>
                    <a:pt x="45972" y="458521"/>
                  </a:cubicBezTo>
                  <a:cubicBezTo>
                    <a:pt x="56768" y="469316"/>
                    <a:pt x="69468" y="475666"/>
                    <a:pt x="85977" y="474396"/>
                  </a:cubicBezTo>
                  <a:cubicBezTo>
                    <a:pt x="99313" y="448996"/>
                    <a:pt x="223772" y="55296"/>
                    <a:pt x="175513" y="85776"/>
                  </a:cubicBezTo>
                  <a:cubicBezTo>
                    <a:pt x="122807" y="140386"/>
                    <a:pt x="105027" y="464871"/>
                    <a:pt x="45338" y="459156"/>
                  </a:cubicBezTo>
                  <a:close/>
                  <a:moveTo>
                    <a:pt x="202818" y="67361"/>
                  </a:moveTo>
                  <a:cubicBezTo>
                    <a:pt x="204722" y="55296"/>
                    <a:pt x="205357" y="47676"/>
                    <a:pt x="206627" y="40691"/>
                  </a:cubicBezTo>
                  <a:cubicBezTo>
                    <a:pt x="183768" y="22276"/>
                    <a:pt x="139318" y="7671"/>
                    <a:pt x="136777" y="48311"/>
                  </a:cubicBezTo>
                  <a:cubicBezTo>
                    <a:pt x="156463" y="61011"/>
                    <a:pt x="178052" y="61646"/>
                    <a:pt x="202818" y="67361"/>
                  </a:cubicBezTo>
                  <a:close/>
                  <a:moveTo>
                    <a:pt x="28193" y="481381"/>
                  </a:moveTo>
                  <a:cubicBezTo>
                    <a:pt x="20572" y="551231"/>
                    <a:pt x="45338" y="558216"/>
                    <a:pt x="77088" y="497891"/>
                  </a:cubicBezTo>
                  <a:cubicBezTo>
                    <a:pt x="61847" y="488366"/>
                    <a:pt x="45972" y="487096"/>
                    <a:pt x="28193" y="481381"/>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0" name="Google Shape;122;p3">
              <a:extLst>
                <a:ext uri="{FF2B5EF4-FFF2-40B4-BE49-F238E27FC236}">
                  <a16:creationId xmlns:a16="http://schemas.microsoft.com/office/drawing/2014/main" id="{7B829C39-2590-47E2-8710-BABEF413F2C4}"/>
                </a:ext>
              </a:extLst>
            </p:cNvPr>
            <p:cNvSpPr/>
            <p:nvPr/>
          </p:nvSpPr>
          <p:spPr>
            <a:xfrm rot="2196195">
              <a:off x="6146037" y="457710"/>
              <a:ext cx="248001" cy="649145"/>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1" name="Google Shape;123;p3">
              <a:extLst>
                <a:ext uri="{FF2B5EF4-FFF2-40B4-BE49-F238E27FC236}">
                  <a16:creationId xmlns:a16="http://schemas.microsoft.com/office/drawing/2014/main" id="{E2175861-EC9F-4D11-A9B9-5ED7178A5D26}"/>
                </a:ext>
              </a:extLst>
            </p:cNvPr>
            <p:cNvSpPr/>
            <p:nvPr/>
          </p:nvSpPr>
          <p:spPr>
            <a:xfrm rot="9911830">
              <a:off x="5498424" y="4613124"/>
              <a:ext cx="338915" cy="323847"/>
            </a:xfrm>
            <a:custGeom>
              <a:avLst/>
              <a:gdLst/>
              <a:ahLst/>
              <a:cxnLst/>
              <a:rect l="l" t="t" r="r" b="b"/>
              <a:pathLst>
                <a:path w="393594" h="376095" extrusionOk="0">
                  <a:moveTo>
                    <a:pt x="214418" y="305042"/>
                  </a:moveTo>
                  <a:cubicBezTo>
                    <a:pt x="268393" y="256783"/>
                    <a:pt x="326179" y="286627"/>
                    <a:pt x="373168" y="327902"/>
                  </a:cubicBezTo>
                  <a:cubicBezTo>
                    <a:pt x="334433" y="348222"/>
                    <a:pt x="287443" y="358383"/>
                    <a:pt x="242358" y="352667"/>
                  </a:cubicBezTo>
                  <a:cubicBezTo>
                    <a:pt x="242358" y="360922"/>
                    <a:pt x="242358" y="367908"/>
                    <a:pt x="242358" y="374892"/>
                  </a:cubicBezTo>
                  <a:cubicBezTo>
                    <a:pt x="208704" y="387592"/>
                    <a:pt x="190289" y="296152"/>
                    <a:pt x="189654" y="269483"/>
                  </a:cubicBezTo>
                  <a:cubicBezTo>
                    <a:pt x="-846" y="341237"/>
                    <a:pt x="-74507" y="101208"/>
                    <a:pt x="94404" y="17387"/>
                  </a:cubicBezTo>
                  <a:cubicBezTo>
                    <a:pt x="178858" y="4052"/>
                    <a:pt x="289983" y="-24523"/>
                    <a:pt x="357293" y="44058"/>
                  </a:cubicBezTo>
                  <a:cubicBezTo>
                    <a:pt x="419523" y="101208"/>
                    <a:pt x="399839" y="240272"/>
                    <a:pt x="312843" y="258687"/>
                  </a:cubicBezTo>
                  <a:cubicBezTo>
                    <a:pt x="260139" y="256147"/>
                    <a:pt x="199179" y="220587"/>
                    <a:pt x="214418" y="305042"/>
                  </a:cubicBezTo>
                  <a:close/>
                  <a:moveTo>
                    <a:pt x="369993" y="131687"/>
                  </a:moveTo>
                  <a:cubicBezTo>
                    <a:pt x="377614" y="58662"/>
                    <a:pt x="298873" y="-2298"/>
                    <a:pt x="229658" y="22467"/>
                  </a:cubicBezTo>
                  <a:cubicBezTo>
                    <a:pt x="215054" y="28817"/>
                    <a:pt x="199179" y="30722"/>
                    <a:pt x="183304" y="23737"/>
                  </a:cubicBezTo>
                  <a:cubicBezTo>
                    <a:pt x="79164" y="3417"/>
                    <a:pt x="-14182" y="120258"/>
                    <a:pt x="37254" y="217412"/>
                  </a:cubicBezTo>
                  <a:cubicBezTo>
                    <a:pt x="86148" y="318377"/>
                    <a:pt x="176954" y="218047"/>
                    <a:pt x="249979" y="231383"/>
                  </a:cubicBezTo>
                  <a:cubicBezTo>
                    <a:pt x="321098" y="265037"/>
                    <a:pt x="372533" y="203442"/>
                    <a:pt x="369993" y="131687"/>
                  </a:cubicBezTo>
                  <a:close/>
                  <a:moveTo>
                    <a:pt x="329354" y="320283"/>
                  </a:moveTo>
                  <a:cubicBezTo>
                    <a:pt x="316654" y="302502"/>
                    <a:pt x="260773" y="284087"/>
                    <a:pt x="255693" y="313297"/>
                  </a:cubicBezTo>
                  <a:cubicBezTo>
                    <a:pt x="266489" y="313297"/>
                    <a:pt x="288714" y="301233"/>
                    <a:pt x="289348" y="318377"/>
                  </a:cubicBezTo>
                  <a:cubicBezTo>
                    <a:pt x="289348" y="327902"/>
                    <a:pt x="272839" y="324092"/>
                    <a:pt x="275379" y="337427"/>
                  </a:cubicBezTo>
                  <a:cubicBezTo>
                    <a:pt x="293158" y="336158"/>
                    <a:pt x="310304" y="333617"/>
                    <a:pt x="329354" y="320283"/>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2" name="Google Shape;124;p3">
              <a:extLst>
                <a:ext uri="{FF2B5EF4-FFF2-40B4-BE49-F238E27FC236}">
                  <a16:creationId xmlns:a16="http://schemas.microsoft.com/office/drawing/2014/main" id="{1A3525D8-70CE-4CE1-B00C-FC50C9741911}"/>
                </a:ext>
              </a:extLst>
            </p:cNvPr>
            <p:cNvSpPr/>
            <p:nvPr/>
          </p:nvSpPr>
          <p:spPr>
            <a:xfrm>
              <a:off x="510215" y="271717"/>
              <a:ext cx="557022" cy="619823"/>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3" name="Google Shape;125;p3">
              <a:extLst>
                <a:ext uri="{FF2B5EF4-FFF2-40B4-BE49-F238E27FC236}">
                  <a16:creationId xmlns:a16="http://schemas.microsoft.com/office/drawing/2014/main" id="{C350A2E7-53C0-405C-9A2C-01C66AD3068C}"/>
                </a:ext>
              </a:extLst>
            </p:cNvPr>
            <p:cNvSpPr/>
            <p:nvPr/>
          </p:nvSpPr>
          <p:spPr>
            <a:xfrm>
              <a:off x="1778886" y="4237081"/>
              <a:ext cx="556337" cy="631409"/>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4" name="Google Shape;126;p3">
              <a:extLst>
                <a:ext uri="{FF2B5EF4-FFF2-40B4-BE49-F238E27FC236}">
                  <a16:creationId xmlns:a16="http://schemas.microsoft.com/office/drawing/2014/main" id="{D93D1F43-D738-46E7-8390-A696F6D1FDAD}"/>
                </a:ext>
              </a:extLst>
            </p:cNvPr>
            <p:cNvSpPr/>
            <p:nvPr/>
          </p:nvSpPr>
          <p:spPr>
            <a:xfrm rot="-982808">
              <a:off x="7867083" y="4603094"/>
              <a:ext cx="701993" cy="567693"/>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5" name="Google Shape;127;p3">
              <a:extLst>
                <a:ext uri="{FF2B5EF4-FFF2-40B4-BE49-F238E27FC236}">
                  <a16:creationId xmlns:a16="http://schemas.microsoft.com/office/drawing/2014/main" id="{7B352C66-7B72-4D46-8287-9BD85434F192}"/>
                </a:ext>
              </a:extLst>
            </p:cNvPr>
            <p:cNvSpPr/>
            <p:nvPr/>
          </p:nvSpPr>
          <p:spPr>
            <a:xfrm rot="1185294">
              <a:off x="4798350" y="3885963"/>
              <a:ext cx="616477" cy="671778"/>
            </a:xfrm>
            <a:custGeom>
              <a:avLst/>
              <a:gdLst/>
              <a:ahLst/>
              <a:cxnLst/>
              <a:rect l="l" t="t" r="r" b="b"/>
              <a:pathLst>
                <a:path w="718509" h="782962" extrusionOk="0">
                  <a:moveTo>
                    <a:pt x="707390" y="178442"/>
                  </a:moveTo>
                  <a:cubicBezTo>
                    <a:pt x="705485" y="163837"/>
                    <a:pt x="700405" y="154947"/>
                    <a:pt x="683895" y="153042"/>
                  </a:cubicBezTo>
                  <a:cubicBezTo>
                    <a:pt x="685800" y="135897"/>
                    <a:pt x="673100" y="127642"/>
                    <a:pt x="665480" y="114942"/>
                  </a:cubicBezTo>
                  <a:cubicBezTo>
                    <a:pt x="664845" y="85097"/>
                    <a:pt x="638810" y="88907"/>
                    <a:pt x="618490" y="95257"/>
                  </a:cubicBezTo>
                  <a:cubicBezTo>
                    <a:pt x="595630" y="74302"/>
                    <a:pt x="582295" y="68587"/>
                    <a:pt x="555625" y="88272"/>
                  </a:cubicBezTo>
                  <a:cubicBezTo>
                    <a:pt x="523875" y="100972"/>
                    <a:pt x="523240" y="30487"/>
                    <a:pt x="488315" y="60332"/>
                  </a:cubicBezTo>
                  <a:cubicBezTo>
                    <a:pt x="445135" y="96527"/>
                    <a:pt x="462915" y="-3803"/>
                    <a:pt x="385445" y="42552"/>
                  </a:cubicBezTo>
                  <a:cubicBezTo>
                    <a:pt x="359410" y="-34918"/>
                    <a:pt x="319405" y="13977"/>
                    <a:pt x="274320" y="29852"/>
                  </a:cubicBezTo>
                  <a:cubicBezTo>
                    <a:pt x="182245" y="239402"/>
                    <a:pt x="65405" y="447047"/>
                    <a:pt x="0" y="662312"/>
                  </a:cubicBezTo>
                  <a:cubicBezTo>
                    <a:pt x="161925" y="678822"/>
                    <a:pt x="313055" y="747402"/>
                    <a:pt x="471170" y="782962"/>
                  </a:cubicBezTo>
                  <a:cubicBezTo>
                    <a:pt x="532130" y="658502"/>
                    <a:pt x="575310" y="535947"/>
                    <a:pt x="636905" y="413392"/>
                  </a:cubicBezTo>
                  <a:cubicBezTo>
                    <a:pt x="664210" y="349892"/>
                    <a:pt x="688975" y="285757"/>
                    <a:pt x="714375" y="221622"/>
                  </a:cubicBezTo>
                  <a:cubicBezTo>
                    <a:pt x="718185" y="205747"/>
                    <a:pt x="723900" y="190507"/>
                    <a:pt x="707390" y="178442"/>
                  </a:cubicBezTo>
                  <a:close/>
                  <a:moveTo>
                    <a:pt x="655955" y="152407"/>
                  </a:moveTo>
                  <a:cubicBezTo>
                    <a:pt x="652780" y="161297"/>
                    <a:pt x="650240" y="170187"/>
                    <a:pt x="646430" y="180347"/>
                  </a:cubicBezTo>
                  <a:cubicBezTo>
                    <a:pt x="604520" y="162567"/>
                    <a:pt x="608330" y="116847"/>
                    <a:pt x="655955" y="152407"/>
                  </a:cubicBezTo>
                  <a:close/>
                  <a:moveTo>
                    <a:pt x="561975" y="127642"/>
                  </a:moveTo>
                  <a:cubicBezTo>
                    <a:pt x="572770" y="118117"/>
                    <a:pt x="577850" y="125737"/>
                    <a:pt x="590550" y="133992"/>
                  </a:cubicBezTo>
                  <a:cubicBezTo>
                    <a:pt x="576580" y="138437"/>
                    <a:pt x="558800" y="146057"/>
                    <a:pt x="561975" y="127642"/>
                  </a:cubicBezTo>
                  <a:close/>
                  <a:moveTo>
                    <a:pt x="353695" y="33027"/>
                  </a:moveTo>
                  <a:cubicBezTo>
                    <a:pt x="351155" y="47632"/>
                    <a:pt x="334010" y="34297"/>
                    <a:pt x="323215" y="31757"/>
                  </a:cubicBezTo>
                  <a:cubicBezTo>
                    <a:pt x="334010" y="17152"/>
                    <a:pt x="350520" y="17787"/>
                    <a:pt x="353695" y="33027"/>
                  </a:cubicBezTo>
                  <a:close/>
                  <a:moveTo>
                    <a:pt x="43180" y="618497"/>
                  </a:moveTo>
                  <a:cubicBezTo>
                    <a:pt x="46990" y="609607"/>
                    <a:pt x="54610" y="612147"/>
                    <a:pt x="59055" y="613417"/>
                  </a:cubicBezTo>
                  <a:cubicBezTo>
                    <a:pt x="99060" y="635642"/>
                    <a:pt x="160020" y="625482"/>
                    <a:pt x="189865" y="659137"/>
                  </a:cubicBezTo>
                  <a:cubicBezTo>
                    <a:pt x="140970" y="652152"/>
                    <a:pt x="87630" y="638817"/>
                    <a:pt x="43180" y="618497"/>
                  </a:cubicBezTo>
                  <a:close/>
                  <a:moveTo>
                    <a:pt x="201295" y="663582"/>
                  </a:moveTo>
                  <a:cubicBezTo>
                    <a:pt x="198755" y="662312"/>
                    <a:pt x="196215" y="661677"/>
                    <a:pt x="193675" y="660407"/>
                  </a:cubicBezTo>
                  <a:cubicBezTo>
                    <a:pt x="196215" y="660407"/>
                    <a:pt x="199390" y="659772"/>
                    <a:pt x="201930" y="659772"/>
                  </a:cubicBezTo>
                  <a:cubicBezTo>
                    <a:pt x="201295" y="661042"/>
                    <a:pt x="201295" y="662312"/>
                    <a:pt x="201295" y="663582"/>
                  </a:cubicBezTo>
                  <a:close/>
                  <a:moveTo>
                    <a:pt x="228600" y="667392"/>
                  </a:moveTo>
                  <a:cubicBezTo>
                    <a:pt x="246380" y="662312"/>
                    <a:pt x="262255" y="666122"/>
                    <a:pt x="276860" y="680727"/>
                  </a:cubicBezTo>
                  <a:cubicBezTo>
                    <a:pt x="256540" y="687077"/>
                    <a:pt x="242570" y="678822"/>
                    <a:pt x="228600" y="667392"/>
                  </a:cubicBezTo>
                  <a:close/>
                  <a:moveTo>
                    <a:pt x="434975" y="704222"/>
                  </a:moveTo>
                  <a:cubicBezTo>
                    <a:pt x="306070" y="664852"/>
                    <a:pt x="177800" y="628657"/>
                    <a:pt x="47625" y="588652"/>
                  </a:cubicBezTo>
                  <a:cubicBezTo>
                    <a:pt x="114935" y="409582"/>
                    <a:pt x="198120" y="233052"/>
                    <a:pt x="284480" y="61602"/>
                  </a:cubicBezTo>
                  <a:cubicBezTo>
                    <a:pt x="314960" y="97162"/>
                    <a:pt x="369570" y="94622"/>
                    <a:pt x="323215" y="62872"/>
                  </a:cubicBezTo>
                  <a:cubicBezTo>
                    <a:pt x="340995" y="59697"/>
                    <a:pt x="354330" y="64777"/>
                    <a:pt x="369570" y="70492"/>
                  </a:cubicBezTo>
                  <a:cubicBezTo>
                    <a:pt x="377825" y="143517"/>
                    <a:pt x="474980" y="111132"/>
                    <a:pt x="398145" y="86367"/>
                  </a:cubicBezTo>
                  <a:cubicBezTo>
                    <a:pt x="411480" y="67952"/>
                    <a:pt x="439420" y="83827"/>
                    <a:pt x="457200" y="89542"/>
                  </a:cubicBezTo>
                  <a:cubicBezTo>
                    <a:pt x="461010" y="179712"/>
                    <a:pt x="532130" y="156852"/>
                    <a:pt x="506095" y="131452"/>
                  </a:cubicBezTo>
                  <a:cubicBezTo>
                    <a:pt x="485140" y="128912"/>
                    <a:pt x="480695" y="129547"/>
                    <a:pt x="483870" y="104147"/>
                  </a:cubicBezTo>
                  <a:cubicBezTo>
                    <a:pt x="501650" y="101607"/>
                    <a:pt x="518795" y="107957"/>
                    <a:pt x="536575" y="110497"/>
                  </a:cubicBezTo>
                  <a:cubicBezTo>
                    <a:pt x="542290" y="147327"/>
                    <a:pt x="556260" y="169552"/>
                    <a:pt x="595630" y="161932"/>
                  </a:cubicBezTo>
                  <a:cubicBezTo>
                    <a:pt x="610235" y="174632"/>
                    <a:pt x="624205" y="186697"/>
                    <a:pt x="638810" y="199397"/>
                  </a:cubicBezTo>
                  <a:cubicBezTo>
                    <a:pt x="590550" y="376562"/>
                    <a:pt x="498475" y="533407"/>
                    <a:pt x="434975" y="704222"/>
                  </a:cubicBezTo>
                  <a:close/>
                  <a:moveTo>
                    <a:pt x="560705" y="508642"/>
                  </a:moveTo>
                  <a:cubicBezTo>
                    <a:pt x="560705" y="508642"/>
                    <a:pt x="560705" y="508007"/>
                    <a:pt x="560705" y="508642"/>
                  </a:cubicBezTo>
                  <a:cubicBezTo>
                    <a:pt x="561340" y="509277"/>
                    <a:pt x="561975" y="509912"/>
                    <a:pt x="562610" y="509912"/>
                  </a:cubicBezTo>
                  <a:cubicBezTo>
                    <a:pt x="561975" y="509277"/>
                    <a:pt x="561340" y="509277"/>
                    <a:pt x="560705" y="508642"/>
                  </a:cubicBezTo>
                  <a:close/>
                  <a:moveTo>
                    <a:pt x="602615" y="438792"/>
                  </a:moveTo>
                  <a:cubicBezTo>
                    <a:pt x="588010" y="457842"/>
                    <a:pt x="586740" y="504832"/>
                    <a:pt x="561340" y="508007"/>
                  </a:cubicBezTo>
                  <a:cubicBezTo>
                    <a:pt x="607695" y="405772"/>
                    <a:pt x="632460" y="297822"/>
                    <a:pt x="690245" y="201302"/>
                  </a:cubicBezTo>
                  <a:cubicBezTo>
                    <a:pt x="678180" y="284487"/>
                    <a:pt x="633730" y="360052"/>
                    <a:pt x="602615" y="438792"/>
                  </a:cubicBezTo>
                  <a:close/>
                  <a:moveTo>
                    <a:pt x="313690" y="335287"/>
                  </a:moveTo>
                  <a:cubicBezTo>
                    <a:pt x="297815" y="333382"/>
                    <a:pt x="197485" y="287027"/>
                    <a:pt x="229870" y="330842"/>
                  </a:cubicBezTo>
                  <a:cubicBezTo>
                    <a:pt x="312420" y="365767"/>
                    <a:pt x="409575" y="363862"/>
                    <a:pt x="485775" y="412757"/>
                  </a:cubicBezTo>
                  <a:cubicBezTo>
                    <a:pt x="496570" y="419107"/>
                    <a:pt x="505460" y="426092"/>
                    <a:pt x="517525" y="415297"/>
                  </a:cubicBezTo>
                  <a:cubicBezTo>
                    <a:pt x="468630" y="357512"/>
                    <a:pt x="381000" y="360052"/>
                    <a:pt x="313690" y="335287"/>
                  </a:cubicBezTo>
                  <a:close/>
                  <a:moveTo>
                    <a:pt x="247650" y="245752"/>
                  </a:moveTo>
                  <a:cubicBezTo>
                    <a:pt x="237490" y="288932"/>
                    <a:pt x="370205" y="285757"/>
                    <a:pt x="402590" y="304172"/>
                  </a:cubicBezTo>
                  <a:cubicBezTo>
                    <a:pt x="441325" y="314332"/>
                    <a:pt x="480060" y="325762"/>
                    <a:pt x="514985" y="346717"/>
                  </a:cubicBezTo>
                  <a:cubicBezTo>
                    <a:pt x="520065" y="349892"/>
                    <a:pt x="526415" y="350527"/>
                    <a:pt x="528955" y="344812"/>
                  </a:cubicBezTo>
                  <a:cubicBezTo>
                    <a:pt x="528955" y="296552"/>
                    <a:pt x="299720" y="266072"/>
                    <a:pt x="247650" y="245752"/>
                  </a:cubicBezTo>
                  <a:close/>
                  <a:moveTo>
                    <a:pt x="190500" y="440062"/>
                  </a:moveTo>
                  <a:cubicBezTo>
                    <a:pt x="114300" y="454032"/>
                    <a:pt x="260350" y="477527"/>
                    <a:pt x="276860" y="483242"/>
                  </a:cubicBezTo>
                  <a:cubicBezTo>
                    <a:pt x="335915" y="490862"/>
                    <a:pt x="387350" y="520072"/>
                    <a:pt x="443230" y="535947"/>
                  </a:cubicBezTo>
                  <a:cubicBezTo>
                    <a:pt x="503555" y="508642"/>
                    <a:pt x="214630" y="446412"/>
                    <a:pt x="190500" y="440062"/>
                  </a:cubicBezTo>
                  <a:close/>
                  <a:moveTo>
                    <a:pt x="268605" y="189237"/>
                  </a:moveTo>
                  <a:cubicBezTo>
                    <a:pt x="246380" y="228607"/>
                    <a:pt x="356870" y="221622"/>
                    <a:pt x="381000" y="234322"/>
                  </a:cubicBezTo>
                  <a:cubicBezTo>
                    <a:pt x="434340" y="241307"/>
                    <a:pt x="481330" y="267977"/>
                    <a:pt x="532130" y="281312"/>
                  </a:cubicBezTo>
                  <a:cubicBezTo>
                    <a:pt x="610870" y="260992"/>
                    <a:pt x="292735" y="193047"/>
                    <a:pt x="268605" y="189237"/>
                  </a:cubicBezTo>
                  <a:close/>
                  <a:moveTo>
                    <a:pt x="529590" y="191777"/>
                  </a:moveTo>
                  <a:cubicBezTo>
                    <a:pt x="450215" y="181617"/>
                    <a:pt x="375920" y="153042"/>
                    <a:pt x="297815" y="136532"/>
                  </a:cubicBezTo>
                  <a:cubicBezTo>
                    <a:pt x="245745" y="161932"/>
                    <a:pt x="375920" y="169552"/>
                    <a:pt x="391795" y="180982"/>
                  </a:cubicBezTo>
                  <a:cubicBezTo>
                    <a:pt x="440055" y="196222"/>
                    <a:pt x="493395" y="197492"/>
                    <a:pt x="538480" y="220352"/>
                  </a:cubicBezTo>
                  <a:cubicBezTo>
                    <a:pt x="547370" y="224797"/>
                    <a:pt x="560070" y="217177"/>
                    <a:pt x="560070" y="205747"/>
                  </a:cubicBezTo>
                  <a:cubicBezTo>
                    <a:pt x="554990" y="193682"/>
                    <a:pt x="541020" y="193682"/>
                    <a:pt x="529590" y="191777"/>
                  </a:cubicBezTo>
                  <a:close/>
                  <a:moveTo>
                    <a:pt x="210185" y="381642"/>
                  </a:moveTo>
                  <a:cubicBezTo>
                    <a:pt x="205105" y="407677"/>
                    <a:pt x="219710" y="401327"/>
                    <a:pt x="234950" y="405137"/>
                  </a:cubicBezTo>
                  <a:cubicBezTo>
                    <a:pt x="308610" y="414027"/>
                    <a:pt x="380365" y="435617"/>
                    <a:pt x="449580" y="460382"/>
                  </a:cubicBezTo>
                  <a:cubicBezTo>
                    <a:pt x="534670" y="436887"/>
                    <a:pt x="233680" y="381007"/>
                    <a:pt x="210185" y="381642"/>
                  </a:cubicBezTo>
                  <a:close/>
                  <a:moveTo>
                    <a:pt x="158115" y="502292"/>
                  </a:moveTo>
                  <a:cubicBezTo>
                    <a:pt x="135890" y="498482"/>
                    <a:pt x="132080" y="519437"/>
                    <a:pt x="150495" y="523247"/>
                  </a:cubicBezTo>
                  <a:cubicBezTo>
                    <a:pt x="202565" y="528327"/>
                    <a:pt x="250190" y="551187"/>
                    <a:pt x="300355" y="561982"/>
                  </a:cubicBezTo>
                  <a:cubicBezTo>
                    <a:pt x="330200" y="530867"/>
                    <a:pt x="177165" y="511182"/>
                    <a:pt x="158115" y="502292"/>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6" name="Google Shape;128;p3">
              <a:extLst>
                <a:ext uri="{FF2B5EF4-FFF2-40B4-BE49-F238E27FC236}">
                  <a16:creationId xmlns:a16="http://schemas.microsoft.com/office/drawing/2014/main" id="{DD11AFDF-9ADA-413F-88BB-D1A61CA48A22}"/>
                </a:ext>
              </a:extLst>
            </p:cNvPr>
            <p:cNvSpPr/>
            <p:nvPr/>
          </p:nvSpPr>
          <p:spPr>
            <a:xfrm>
              <a:off x="1393062" y="748927"/>
              <a:ext cx="579203" cy="652168"/>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7" name="Google Shape;129;p3">
              <a:extLst>
                <a:ext uri="{FF2B5EF4-FFF2-40B4-BE49-F238E27FC236}">
                  <a16:creationId xmlns:a16="http://schemas.microsoft.com/office/drawing/2014/main" id="{95430F5E-BF6A-479A-B0E5-4881661F4642}"/>
                </a:ext>
              </a:extLst>
            </p:cNvPr>
            <p:cNvSpPr/>
            <p:nvPr/>
          </p:nvSpPr>
          <p:spPr>
            <a:xfrm>
              <a:off x="7317433" y="2956555"/>
              <a:ext cx="716315" cy="573888"/>
            </a:xfrm>
            <a:custGeom>
              <a:avLst/>
              <a:gdLst/>
              <a:ahLst/>
              <a:cxnLst/>
              <a:rect l="l" t="t" r="r" b="b"/>
              <a:pathLst>
                <a:path w="832925" h="667312" extrusionOk="0">
                  <a:moveTo>
                    <a:pt x="832654" y="510467"/>
                  </a:moveTo>
                  <a:cubicBezTo>
                    <a:pt x="829479" y="434902"/>
                    <a:pt x="811699" y="361242"/>
                    <a:pt x="802174" y="286312"/>
                  </a:cubicBezTo>
                  <a:cubicBezTo>
                    <a:pt x="772964" y="118672"/>
                    <a:pt x="808524" y="-22933"/>
                    <a:pt x="580559" y="3102"/>
                  </a:cubicBezTo>
                  <a:cubicBezTo>
                    <a:pt x="476419" y="-8963"/>
                    <a:pt x="405934" y="116132"/>
                    <a:pt x="355134" y="85652"/>
                  </a:cubicBezTo>
                  <a:cubicBezTo>
                    <a:pt x="259884" y="32312"/>
                    <a:pt x="139869" y="51362"/>
                    <a:pt x="38269" y="73587"/>
                  </a:cubicBezTo>
                  <a:cubicBezTo>
                    <a:pt x="-11261" y="84382"/>
                    <a:pt x="-2371" y="107242"/>
                    <a:pt x="8424" y="146612"/>
                  </a:cubicBezTo>
                  <a:cubicBezTo>
                    <a:pt x="29379" y="309172"/>
                    <a:pt x="48429" y="470462"/>
                    <a:pt x="82084" y="629847"/>
                  </a:cubicBezTo>
                  <a:cubicBezTo>
                    <a:pt x="83989" y="650802"/>
                    <a:pt x="107484" y="641277"/>
                    <a:pt x="120184" y="636197"/>
                  </a:cubicBezTo>
                  <a:cubicBezTo>
                    <a:pt x="129709" y="645722"/>
                    <a:pt x="124629" y="663502"/>
                    <a:pt x="143044" y="667312"/>
                  </a:cubicBezTo>
                  <a:cubicBezTo>
                    <a:pt x="237024" y="612067"/>
                    <a:pt x="358309" y="609527"/>
                    <a:pt x="463084" y="627942"/>
                  </a:cubicBezTo>
                  <a:cubicBezTo>
                    <a:pt x="553254" y="563807"/>
                    <a:pt x="668824" y="563172"/>
                    <a:pt x="774869" y="573967"/>
                  </a:cubicBezTo>
                  <a:cubicBezTo>
                    <a:pt x="792014" y="565712"/>
                    <a:pt x="786299" y="546027"/>
                    <a:pt x="793919" y="532692"/>
                  </a:cubicBezTo>
                  <a:cubicBezTo>
                    <a:pt x="810429" y="527612"/>
                    <a:pt x="835829" y="539677"/>
                    <a:pt x="832654" y="510467"/>
                  </a:cubicBezTo>
                  <a:close/>
                  <a:moveTo>
                    <a:pt x="377359" y="595557"/>
                  </a:moveTo>
                  <a:cubicBezTo>
                    <a:pt x="298619" y="600002"/>
                    <a:pt x="222419" y="601907"/>
                    <a:pt x="148759" y="633022"/>
                  </a:cubicBezTo>
                  <a:cubicBezTo>
                    <a:pt x="134789" y="583492"/>
                    <a:pt x="351959" y="558092"/>
                    <a:pt x="385614" y="586667"/>
                  </a:cubicBezTo>
                  <a:cubicBezTo>
                    <a:pt x="385614" y="594287"/>
                    <a:pt x="381804" y="595557"/>
                    <a:pt x="377359" y="595557"/>
                  </a:cubicBezTo>
                  <a:close/>
                  <a:moveTo>
                    <a:pt x="432604" y="585397"/>
                  </a:moveTo>
                  <a:cubicBezTo>
                    <a:pt x="332909" y="518722"/>
                    <a:pt x="209084" y="561267"/>
                    <a:pt x="107484" y="605717"/>
                  </a:cubicBezTo>
                  <a:cubicBezTo>
                    <a:pt x="60494" y="509832"/>
                    <a:pt x="77639" y="394897"/>
                    <a:pt x="47159" y="292662"/>
                  </a:cubicBezTo>
                  <a:cubicBezTo>
                    <a:pt x="51604" y="252022"/>
                    <a:pt x="2074" y="106607"/>
                    <a:pt x="45254" y="97082"/>
                  </a:cubicBezTo>
                  <a:cubicBezTo>
                    <a:pt x="143044" y="74857"/>
                    <a:pt x="338624" y="38027"/>
                    <a:pt x="385614" y="152962"/>
                  </a:cubicBezTo>
                  <a:cubicBezTo>
                    <a:pt x="410379" y="295837"/>
                    <a:pt x="436414" y="439347"/>
                    <a:pt x="432604" y="585397"/>
                  </a:cubicBezTo>
                  <a:close/>
                  <a:moveTo>
                    <a:pt x="766614" y="547297"/>
                  </a:moveTo>
                  <a:cubicBezTo>
                    <a:pt x="691049" y="546662"/>
                    <a:pt x="619294" y="547297"/>
                    <a:pt x="546269" y="561267"/>
                  </a:cubicBezTo>
                  <a:cubicBezTo>
                    <a:pt x="548809" y="521262"/>
                    <a:pt x="785664" y="490782"/>
                    <a:pt x="766614" y="547297"/>
                  </a:cubicBezTo>
                  <a:close/>
                  <a:moveTo>
                    <a:pt x="804714" y="505387"/>
                  </a:moveTo>
                  <a:cubicBezTo>
                    <a:pt x="673269" y="483162"/>
                    <a:pt x="569129" y="493322"/>
                    <a:pt x="464354" y="577777"/>
                  </a:cubicBezTo>
                  <a:cubicBezTo>
                    <a:pt x="442129" y="429187"/>
                    <a:pt x="440224" y="275517"/>
                    <a:pt x="403394" y="128197"/>
                  </a:cubicBezTo>
                  <a:cubicBezTo>
                    <a:pt x="464989" y="31677"/>
                    <a:pt x="617389" y="-10233"/>
                    <a:pt x="717084" y="45647"/>
                  </a:cubicBezTo>
                  <a:cubicBezTo>
                    <a:pt x="772964" y="92637"/>
                    <a:pt x="754549" y="188522"/>
                    <a:pt x="772329" y="255197"/>
                  </a:cubicBezTo>
                  <a:cubicBezTo>
                    <a:pt x="776774" y="340287"/>
                    <a:pt x="809159" y="420932"/>
                    <a:pt x="804714" y="505387"/>
                  </a:cubicBezTo>
                  <a:close/>
                  <a:moveTo>
                    <a:pt x="634534" y="306632"/>
                  </a:moveTo>
                  <a:cubicBezTo>
                    <a:pt x="633264" y="339652"/>
                    <a:pt x="643424" y="370132"/>
                    <a:pt x="639614" y="404422"/>
                  </a:cubicBezTo>
                  <a:cubicBezTo>
                    <a:pt x="447209" y="426012"/>
                    <a:pt x="456734" y="468557"/>
                    <a:pt x="644059" y="424107"/>
                  </a:cubicBezTo>
                  <a:cubicBezTo>
                    <a:pt x="648504" y="439347"/>
                    <a:pt x="652314" y="453317"/>
                    <a:pt x="656759" y="468557"/>
                  </a:cubicBezTo>
                  <a:cubicBezTo>
                    <a:pt x="692954" y="465382"/>
                    <a:pt x="738674" y="470462"/>
                    <a:pt x="767249" y="447602"/>
                  </a:cubicBezTo>
                  <a:cubicBezTo>
                    <a:pt x="737404" y="353622"/>
                    <a:pt x="781219" y="259007"/>
                    <a:pt x="634534" y="306632"/>
                  </a:cubicBezTo>
                  <a:close/>
                  <a:moveTo>
                    <a:pt x="675809" y="441887"/>
                  </a:moveTo>
                  <a:cubicBezTo>
                    <a:pt x="660569" y="405692"/>
                    <a:pt x="656759" y="376482"/>
                    <a:pt x="661839" y="327587"/>
                  </a:cubicBezTo>
                  <a:cubicBezTo>
                    <a:pt x="682159" y="317427"/>
                    <a:pt x="701844" y="319967"/>
                    <a:pt x="721529" y="322507"/>
                  </a:cubicBezTo>
                  <a:cubicBezTo>
                    <a:pt x="738039" y="356162"/>
                    <a:pt x="730419" y="395532"/>
                    <a:pt x="736134" y="433632"/>
                  </a:cubicBezTo>
                  <a:cubicBezTo>
                    <a:pt x="715814" y="436172"/>
                    <a:pt x="696129" y="443792"/>
                    <a:pt x="675809" y="441887"/>
                  </a:cubicBezTo>
                  <a:close/>
                  <a:moveTo>
                    <a:pt x="732959" y="166932"/>
                  </a:moveTo>
                  <a:cubicBezTo>
                    <a:pt x="737404" y="169472"/>
                    <a:pt x="744389" y="166932"/>
                    <a:pt x="745659" y="161217"/>
                  </a:cubicBezTo>
                  <a:cubicBezTo>
                    <a:pt x="744389" y="125657"/>
                    <a:pt x="672634" y="141532"/>
                    <a:pt x="657394" y="133912"/>
                  </a:cubicBezTo>
                  <a:cubicBezTo>
                    <a:pt x="623104" y="134547"/>
                    <a:pt x="419904" y="153597"/>
                    <a:pt x="476419" y="191697"/>
                  </a:cubicBezTo>
                  <a:cubicBezTo>
                    <a:pt x="556429" y="162487"/>
                    <a:pt x="649774" y="134547"/>
                    <a:pt x="732959" y="166932"/>
                  </a:cubicBezTo>
                  <a:close/>
                  <a:moveTo>
                    <a:pt x="726609" y="92002"/>
                  </a:moveTo>
                  <a:cubicBezTo>
                    <a:pt x="717719" y="29772"/>
                    <a:pt x="482134" y="92002"/>
                    <a:pt x="449114" y="126927"/>
                  </a:cubicBezTo>
                  <a:cubicBezTo>
                    <a:pt x="452924" y="132642"/>
                    <a:pt x="455464" y="137087"/>
                    <a:pt x="459274" y="143437"/>
                  </a:cubicBezTo>
                  <a:cubicBezTo>
                    <a:pt x="539284" y="94542"/>
                    <a:pt x="635169" y="79937"/>
                    <a:pt x="726609" y="92002"/>
                  </a:cubicBezTo>
                  <a:close/>
                  <a:moveTo>
                    <a:pt x="494199" y="248847"/>
                  </a:moveTo>
                  <a:cubicBezTo>
                    <a:pt x="562144" y="217097"/>
                    <a:pt x="643424" y="223447"/>
                    <a:pt x="716449" y="235512"/>
                  </a:cubicBezTo>
                  <a:cubicBezTo>
                    <a:pt x="743119" y="187887"/>
                    <a:pt x="480229" y="199317"/>
                    <a:pt x="478959" y="238687"/>
                  </a:cubicBezTo>
                  <a:cubicBezTo>
                    <a:pt x="478959" y="246942"/>
                    <a:pt x="487214" y="252657"/>
                    <a:pt x="494199" y="248847"/>
                  </a:cubicBezTo>
                  <a:close/>
                  <a:moveTo>
                    <a:pt x="528489" y="290122"/>
                  </a:moveTo>
                  <a:cubicBezTo>
                    <a:pt x="592624" y="271707"/>
                    <a:pt x="654854" y="280597"/>
                    <a:pt x="720259" y="272977"/>
                  </a:cubicBezTo>
                  <a:cubicBezTo>
                    <a:pt x="682159" y="245037"/>
                    <a:pt x="508804" y="252022"/>
                    <a:pt x="482769" y="285677"/>
                  </a:cubicBezTo>
                  <a:cubicBezTo>
                    <a:pt x="488484" y="303457"/>
                    <a:pt x="515154" y="290122"/>
                    <a:pt x="528489" y="290122"/>
                  </a:cubicBezTo>
                  <a:close/>
                  <a:moveTo>
                    <a:pt x="487214" y="344097"/>
                  </a:moveTo>
                  <a:cubicBezTo>
                    <a:pt x="524679" y="329492"/>
                    <a:pt x="568494" y="330762"/>
                    <a:pt x="602784" y="322507"/>
                  </a:cubicBezTo>
                  <a:cubicBezTo>
                    <a:pt x="610404" y="283772"/>
                    <a:pt x="438954" y="313617"/>
                    <a:pt x="487214" y="344097"/>
                  </a:cubicBezTo>
                  <a:close/>
                  <a:moveTo>
                    <a:pt x="570399" y="357432"/>
                  </a:moveTo>
                  <a:cubicBezTo>
                    <a:pt x="570399" y="356797"/>
                    <a:pt x="570399" y="356162"/>
                    <a:pt x="569764" y="355527"/>
                  </a:cubicBezTo>
                  <a:cubicBezTo>
                    <a:pt x="552619" y="361242"/>
                    <a:pt x="472609" y="361242"/>
                    <a:pt x="503089" y="389817"/>
                  </a:cubicBezTo>
                  <a:cubicBezTo>
                    <a:pt x="527219" y="389817"/>
                    <a:pt x="663744" y="368862"/>
                    <a:pt x="570399" y="357432"/>
                  </a:cubicBezTo>
                  <a:close/>
                  <a:moveTo>
                    <a:pt x="527219" y="465382"/>
                  </a:moveTo>
                  <a:cubicBezTo>
                    <a:pt x="531029" y="504752"/>
                    <a:pt x="577384" y="471097"/>
                    <a:pt x="599609" y="467287"/>
                  </a:cubicBezTo>
                  <a:cubicBezTo>
                    <a:pt x="643424" y="424742"/>
                    <a:pt x="545634" y="460937"/>
                    <a:pt x="527219" y="465382"/>
                  </a:cubicBezTo>
                  <a:close/>
                  <a:moveTo>
                    <a:pt x="80814" y="149152"/>
                  </a:moveTo>
                  <a:cubicBezTo>
                    <a:pt x="89069" y="207572"/>
                    <a:pt x="91609" y="268532"/>
                    <a:pt x="106849" y="325682"/>
                  </a:cubicBezTo>
                  <a:cubicBezTo>
                    <a:pt x="121454" y="349812"/>
                    <a:pt x="158284" y="325047"/>
                    <a:pt x="180509" y="323777"/>
                  </a:cubicBezTo>
                  <a:cubicBezTo>
                    <a:pt x="231944" y="314887"/>
                    <a:pt x="315129" y="299647"/>
                    <a:pt x="360849" y="323777"/>
                  </a:cubicBezTo>
                  <a:cubicBezTo>
                    <a:pt x="404029" y="299647"/>
                    <a:pt x="364024" y="247577"/>
                    <a:pt x="364024" y="210112"/>
                  </a:cubicBezTo>
                  <a:cubicBezTo>
                    <a:pt x="369104" y="76127"/>
                    <a:pt x="162729" y="123752"/>
                    <a:pt x="80814" y="149152"/>
                  </a:cubicBezTo>
                  <a:close/>
                  <a:moveTo>
                    <a:pt x="354499" y="290122"/>
                  </a:moveTo>
                  <a:cubicBezTo>
                    <a:pt x="277029" y="288852"/>
                    <a:pt x="202099" y="298377"/>
                    <a:pt x="125899" y="307902"/>
                  </a:cubicBezTo>
                  <a:cubicBezTo>
                    <a:pt x="118914" y="262817"/>
                    <a:pt x="111929" y="218367"/>
                    <a:pt x="104944" y="172647"/>
                  </a:cubicBezTo>
                  <a:cubicBezTo>
                    <a:pt x="172254" y="133277"/>
                    <a:pt x="262424" y="130102"/>
                    <a:pt x="332909" y="165662"/>
                  </a:cubicBezTo>
                  <a:cubicBezTo>
                    <a:pt x="350054" y="232337"/>
                    <a:pt x="357039" y="269802"/>
                    <a:pt x="354499" y="290122"/>
                  </a:cubicBezTo>
                  <a:close/>
                  <a:moveTo>
                    <a:pt x="227499" y="369497"/>
                  </a:moveTo>
                  <a:cubicBezTo>
                    <a:pt x="222419" y="351082"/>
                    <a:pt x="220514" y="348542"/>
                    <a:pt x="210989" y="347907"/>
                  </a:cubicBezTo>
                  <a:cubicBezTo>
                    <a:pt x="187494" y="351082"/>
                    <a:pt x="103039" y="349812"/>
                    <a:pt x="130344" y="388547"/>
                  </a:cubicBezTo>
                  <a:cubicBezTo>
                    <a:pt x="161459" y="381562"/>
                    <a:pt x="191304" y="365687"/>
                    <a:pt x="227499" y="369497"/>
                  </a:cubicBezTo>
                  <a:close/>
                  <a:moveTo>
                    <a:pt x="143679" y="431727"/>
                  </a:moveTo>
                  <a:cubicBezTo>
                    <a:pt x="177334" y="419662"/>
                    <a:pt x="207814" y="421567"/>
                    <a:pt x="243374" y="420297"/>
                  </a:cubicBezTo>
                  <a:cubicBezTo>
                    <a:pt x="233849" y="382832"/>
                    <a:pt x="99864" y="399342"/>
                    <a:pt x="143679" y="431727"/>
                  </a:cubicBezTo>
                  <a:close/>
                  <a:moveTo>
                    <a:pt x="288459" y="401882"/>
                  </a:moveTo>
                  <a:cubicBezTo>
                    <a:pt x="315764" y="406327"/>
                    <a:pt x="342434" y="389817"/>
                    <a:pt x="369739" y="399977"/>
                  </a:cubicBezTo>
                  <a:cubicBezTo>
                    <a:pt x="371644" y="400612"/>
                    <a:pt x="375454" y="395532"/>
                    <a:pt x="379899" y="392357"/>
                  </a:cubicBezTo>
                  <a:cubicBezTo>
                    <a:pt x="375454" y="363147"/>
                    <a:pt x="253534" y="375212"/>
                    <a:pt x="288459" y="401882"/>
                  </a:cubicBezTo>
                  <a:close/>
                  <a:moveTo>
                    <a:pt x="207179" y="439982"/>
                  </a:moveTo>
                  <a:cubicBezTo>
                    <a:pt x="207179" y="440617"/>
                    <a:pt x="207179" y="440617"/>
                    <a:pt x="207179" y="441252"/>
                  </a:cubicBezTo>
                  <a:cubicBezTo>
                    <a:pt x="190034" y="445697"/>
                    <a:pt x="151934" y="438077"/>
                    <a:pt x="148759" y="460302"/>
                  </a:cubicBezTo>
                  <a:cubicBezTo>
                    <a:pt x="155109" y="492687"/>
                    <a:pt x="295444" y="438712"/>
                    <a:pt x="207179" y="439982"/>
                  </a:cubicBezTo>
                  <a:close/>
                  <a:moveTo>
                    <a:pt x="297984" y="448237"/>
                  </a:moveTo>
                  <a:cubicBezTo>
                    <a:pt x="320844" y="443792"/>
                    <a:pt x="368469" y="461572"/>
                    <a:pt x="371009" y="427282"/>
                  </a:cubicBezTo>
                  <a:cubicBezTo>
                    <a:pt x="350054" y="426012"/>
                    <a:pt x="270044" y="410772"/>
                    <a:pt x="297984" y="448237"/>
                  </a:cubicBezTo>
                  <a:close/>
                  <a:moveTo>
                    <a:pt x="291634" y="359972"/>
                  </a:moveTo>
                  <a:cubicBezTo>
                    <a:pt x="311954" y="347907"/>
                    <a:pt x="353864" y="361242"/>
                    <a:pt x="362754" y="339652"/>
                  </a:cubicBezTo>
                  <a:cubicBezTo>
                    <a:pt x="350054" y="319332"/>
                    <a:pt x="244009" y="335207"/>
                    <a:pt x="291634" y="359972"/>
                  </a:cubicBezTo>
                  <a:close/>
                  <a:moveTo>
                    <a:pt x="177969" y="519357"/>
                  </a:moveTo>
                  <a:cubicBezTo>
                    <a:pt x="199559" y="512372"/>
                    <a:pt x="228134" y="521897"/>
                    <a:pt x="239564" y="497132"/>
                  </a:cubicBezTo>
                  <a:cubicBezTo>
                    <a:pt x="217974" y="490147"/>
                    <a:pt x="144314" y="494592"/>
                    <a:pt x="177969" y="519357"/>
                  </a:cubicBezTo>
                  <a:close/>
                  <a:moveTo>
                    <a:pt x="332274" y="485067"/>
                  </a:moveTo>
                  <a:cubicBezTo>
                    <a:pt x="311954" y="485702"/>
                    <a:pt x="265599" y="490782"/>
                    <a:pt x="301794" y="508562"/>
                  </a:cubicBezTo>
                  <a:cubicBezTo>
                    <a:pt x="326559" y="509832"/>
                    <a:pt x="396409" y="498402"/>
                    <a:pt x="332274" y="485067"/>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8" name="Google Shape;130;p3">
              <a:extLst>
                <a:ext uri="{FF2B5EF4-FFF2-40B4-BE49-F238E27FC236}">
                  <a16:creationId xmlns:a16="http://schemas.microsoft.com/office/drawing/2014/main" id="{C58D23D2-086A-4899-96CA-FAF579AEAA82}"/>
                </a:ext>
              </a:extLst>
            </p:cNvPr>
            <p:cNvSpPr/>
            <p:nvPr/>
          </p:nvSpPr>
          <p:spPr>
            <a:xfrm>
              <a:off x="8750637" y="1716146"/>
              <a:ext cx="454206" cy="406096"/>
            </a:xfrm>
            <a:custGeom>
              <a:avLst/>
              <a:gdLst/>
              <a:ahLst/>
              <a:cxnLst/>
              <a:rect l="l" t="t" r="r" b="b"/>
              <a:pathLst>
                <a:path w="528147" h="472205" extrusionOk="0">
                  <a:moveTo>
                    <a:pt x="395469" y="177165"/>
                  </a:moveTo>
                  <a:cubicBezTo>
                    <a:pt x="443094" y="36830"/>
                    <a:pt x="381499" y="-53340"/>
                    <a:pt x="264659" y="86360"/>
                  </a:cubicBezTo>
                  <a:cubicBezTo>
                    <a:pt x="239894" y="41275"/>
                    <a:pt x="195444" y="0"/>
                    <a:pt x="143374" y="0"/>
                  </a:cubicBezTo>
                  <a:cubicBezTo>
                    <a:pt x="65269" y="15240"/>
                    <a:pt x="123054" y="139065"/>
                    <a:pt x="131944" y="187325"/>
                  </a:cubicBezTo>
                  <a:cubicBezTo>
                    <a:pt x="76064" y="179070"/>
                    <a:pt x="-40776" y="242570"/>
                    <a:pt x="14469" y="300990"/>
                  </a:cubicBezTo>
                  <a:cubicBezTo>
                    <a:pt x="41774" y="327660"/>
                    <a:pt x="81144" y="321945"/>
                    <a:pt x="109719" y="344170"/>
                  </a:cubicBezTo>
                  <a:cubicBezTo>
                    <a:pt x="102734" y="370840"/>
                    <a:pt x="109084" y="399415"/>
                    <a:pt x="92574" y="423545"/>
                  </a:cubicBezTo>
                  <a:cubicBezTo>
                    <a:pt x="86859" y="433070"/>
                    <a:pt x="90034" y="441960"/>
                    <a:pt x="95749" y="450215"/>
                  </a:cubicBezTo>
                  <a:cubicBezTo>
                    <a:pt x="112259" y="475615"/>
                    <a:pt x="147819" y="474345"/>
                    <a:pt x="159249" y="450850"/>
                  </a:cubicBezTo>
                  <a:cubicBezTo>
                    <a:pt x="175759" y="424180"/>
                    <a:pt x="207509" y="409575"/>
                    <a:pt x="235449" y="397510"/>
                  </a:cubicBezTo>
                  <a:cubicBezTo>
                    <a:pt x="289424" y="513715"/>
                    <a:pt x="403724" y="490220"/>
                    <a:pt x="379594" y="355600"/>
                  </a:cubicBezTo>
                  <a:cubicBezTo>
                    <a:pt x="470399" y="330200"/>
                    <a:pt x="493259" y="345440"/>
                    <a:pt x="525009" y="245110"/>
                  </a:cubicBezTo>
                  <a:cubicBezTo>
                    <a:pt x="549139" y="182880"/>
                    <a:pt x="427219" y="204470"/>
                    <a:pt x="395469" y="177165"/>
                  </a:cubicBezTo>
                  <a:close/>
                  <a:moveTo>
                    <a:pt x="392294" y="59055"/>
                  </a:moveTo>
                  <a:cubicBezTo>
                    <a:pt x="393564" y="106680"/>
                    <a:pt x="391659" y="133985"/>
                    <a:pt x="363719" y="175260"/>
                  </a:cubicBezTo>
                  <a:cubicBezTo>
                    <a:pt x="314824" y="185420"/>
                    <a:pt x="309744" y="137795"/>
                    <a:pt x="290059" y="103505"/>
                  </a:cubicBezTo>
                  <a:cubicBezTo>
                    <a:pt x="316094" y="73025"/>
                    <a:pt x="348479" y="12065"/>
                    <a:pt x="392294" y="59055"/>
                  </a:cubicBezTo>
                  <a:close/>
                  <a:moveTo>
                    <a:pt x="347209" y="325755"/>
                  </a:moveTo>
                  <a:cubicBezTo>
                    <a:pt x="331969" y="330835"/>
                    <a:pt x="317999" y="330200"/>
                    <a:pt x="298314" y="327025"/>
                  </a:cubicBezTo>
                  <a:cubicBezTo>
                    <a:pt x="311649" y="308610"/>
                    <a:pt x="318634" y="292100"/>
                    <a:pt x="333239" y="278130"/>
                  </a:cubicBezTo>
                  <a:cubicBezTo>
                    <a:pt x="345304" y="292735"/>
                    <a:pt x="349749" y="307975"/>
                    <a:pt x="347209" y="325755"/>
                  </a:cubicBezTo>
                  <a:close/>
                  <a:moveTo>
                    <a:pt x="271009" y="130175"/>
                  </a:moveTo>
                  <a:cubicBezTo>
                    <a:pt x="287519" y="140970"/>
                    <a:pt x="288789" y="144145"/>
                    <a:pt x="293234" y="172720"/>
                  </a:cubicBezTo>
                  <a:cubicBezTo>
                    <a:pt x="277359" y="178435"/>
                    <a:pt x="262119" y="180975"/>
                    <a:pt x="244339" y="174625"/>
                  </a:cubicBezTo>
                  <a:cubicBezTo>
                    <a:pt x="247514" y="155575"/>
                    <a:pt x="259579" y="142875"/>
                    <a:pt x="271009" y="130175"/>
                  </a:cubicBezTo>
                  <a:close/>
                  <a:moveTo>
                    <a:pt x="131309" y="77470"/>
                  </a:moveTo>
                  <a:cubicBezTo>
                    <a:pt x="173854" y="74930"/>
                    <a:pt x="176394" y="73025"/>
                    <a:pt x="187189" y="26670"/>
                  </a:cubicBezTo>
                  <a:cubicBezTo>
                    <a:pt x="208779" y="61595"/>
                    <a:pt x="240529" y="69215"/>
                    <a:pt x="250689" y="109220"/>
                  </a:cubicBezTo>
                  <a:cubicBezTo>
                    <a:pt x="229099" y="140970"/>
                    <a:pt x="209414" y="200025"/>
                    <a:pt x="161154" y="180975"/>
                  </a:cubicBezTo>
                  <a:cubicBezTo>
                    <a:pt x="144644" y="148590"/>
                    <a:pt x="124324" y="116840"/>
                    <a:pt x="131309" y="77470"/>
                  </a:cubicBezTo>
                  <a:close/>
                  <a:moveTo>
                    <a:pt x="191634" y="321310"/>
                  </a:moveTo>
                  <a:cubicBezTo>
                    <a:pt x="176394" y="325755"/>
                    <a:pt x="165599" y="326390"/>
                    <a:pt x="154169" y="320040"/>
                  </a:cubicBezTo>
                  <a:cubicBezTo>
                    <a:pt x="156074" y="305435"/>
                    <a:pt x="160519" y="293370"/>
                    <a:pt x="172584" y="283210"/>
                  </a:cubicBezTo>
                  <a:cubicBezTo>
                    <a:pt x="185284" y="292735"/>
                    <a:pt x="185919" y="306070"/>
                    <a:pt x="191634" y="321310"/>
                  </a:cubicBezTo>
                  <a:close/>
                  <a:moveTo>
                    <a:pt x="23359" y="274955"/>
                  </a:moveTo>
                  <a:cubicBezTo>
                    <a:pt x="39869" y="215265"/>
                    <a:pt x="92574" y="210185"/>
                    <a:pt x="145279" y="213995"/>
                  </a:cubicBezTo>
                  <a:cubicBezTo>
                    <a:pt x="175759" y="248285"/>
                    <a:pt x="140834" y="281305"/>
                    <a:pt x="124959" y="314960"/>
                  </a:cubicBezTo>
                  <a:cubicBezTo>
                    <a:pt x="83049" y="313690"/>
                    <a:pt x="43679" y="297815"/>
                    <a:pt x="23359" y="274955"/>
                  </a:cubicBezTo>
                  <a:close/>
                  <a:moveTo>
                    <a:pt x="163059" y="412115"/>
                  </a:moveTo>
                  <a:cubicBezTo>
                    <a:pt x="152264" y="408940"/>
                    <a:pt x="142739" y="405765"/>
                    <a:pt x="131944" y="402590"/>
                  </a:cubicBezTo>
                  <a:cubicBezTo>
                    <a:pt x="125594" y="382905"/>
                    <a:pt x="126229" y="365125"/>
                    <a:pt x="143374" y="347345"/>
                  </a:cubicBezTo>
                  <a:cubicBezTo>
                    <a:pt x="170044" y="349250"/>
                    <a:pt x="208144" y="337185"/>
                    <a:pt x="214494" y="377190"/>
                  </a:cubicBezTo>
                  <a:cubicBezTo>
                    <a:pt x="196714" y="389255"/>
                    <a:pt x="180204" y="400685"/>
                    <a:pt x="163059" y="412115"/>
                  </a:cubicBezTo>
                  <a:close/>
                  <a:moveTo>
                    <a:pt x="225289" y="327025"/>
                  </a:moveTo>
                  <a:cubicBezTo>
                    <a:pt x="170679" y="248285"/>
                    <a:pt x="196079" y="189230"/>
                    <a:pt x="295139" y="198120"/>
                  </a:cubicBezTo>
                  <a:cubicBezTo>
                    <a:pt x="326254" y="193040"/>
                    <a:pt x="331969" y="241935"/>
                    <a:pt x="314824" y="260350"/>
                  </a:cubicBezTo>
                  <a:cubicBezTo>
                    <a:pt x="285614" y="290830"/>
                    <a:pt x="279264" y="341630"/>
                    <a:pt x="225289" y="327025"/>
                  </a:cubicBezTo>
                  <a:close/>
                  <a:moveTo>
                    <a:pt x="253864" y="379095"/>
                  </a:moveTo>
                  <a:cubicBezTo>
                    <a:pt x="271644" y="343535"/>
                    <a:pt x="316729" y="349885"/>
                    <a:pt x="350384" y="355600"/>
                  </a:cubicBezTo>
                  <a:cubicBezTo>
                    <a:pt x="385309" y="470535"/>
                    <a:pt x="287519" y="482600"/>
                    <a:pt x="253864" y="379095"/>
                  </a:cubicBezTo>
                  <a:close/>
                  <a:moveTo>
                    <a:pt x="377689" y="327025"/>
                  </a:moveTo>
                  <a:cubicBezTo>
                    <a:pt x="365624" y="281305"/>
                    <a:pt x="337684" y="234950"/>
                    <a:pt x="383404" y="201295"/>
                  </a:cubicBezTo>
                  <a:cubicBezTo>
                    <a:pt x="408804" y="207645"/>
                    <a:pt x="434204" y="213360"/>
                    <a:pt x="460239" y="219710"/>
                  </a:cubicBezTo>
                  <a:cubicBezTo>
                    <a:pt x="462779" y="241300"/>
                    <a:pt x="469764" y="257175"/>
                    <a:pt x="488179" y="269875"/>
                  </a:cubicBezTo>
                  <a:cubicBezTo>
                    <a:pt x="492624" y="324485"/>
                    <a:pt x="417059" y="320675"/>
                    <a:pt x="377689" y="327025"/>
                  </a:cubicBezTo>
                  <a:close/>
                  <a:moveTo>
                    <a:pt x="257039" y="222250"/>
                  </a:moveTo>
                  <a:cubicBezTo>
                    <a:pt x="196714" y="216535"/>
                    <a:pt x="185284" y="288290"/>
                    <a:pt x="248149" y="290830"/>
                  </a:cubicBezTo>
                  <a:cubicBezTo>
                    <a:pt x="289424" y="291465"/>
                    <a:pt x="307204" y="229235"/>
                    <a:pt x="257039" y="222250"/>
                  </a:cubicBezTo>
                  <a:close/>
                  <a:moveTo>
                    <a:pt x="243069" y="266700"/>
                  </a:moveTo>
                  <a:cubicBezTo>
                    <a:pt x="215764" y="264795"/>
                    <a:pt x="229099" y="242570"/>
                    <a:pt x="248149" y="240030"/>
                  </a:cubicBezTo>
                  <a:cubicBezTo>
                    <a:pt x="272279" y="237490"/>
                    <a:pt x="262119" y="269240"/>
                    <a:pt x="243069" y="266700"/>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9" name="Google Shape;131;p3">
              <a:extLst>
                <a:ext uri="{FF2B5EF4-FFF2-40B4-BE49-F238E27FC236}">
                  <a16:creationId xmlns:a16="http://schemas.microsoft.com/office/drawing/2014/main" id="{322C0835-F152-41BD-9EE2-77C35F50ADB1}"/>
                </a:ext>
              </a:extLst>
            </p:cNvPr>
            <p:cNvSpPr/>
            <p:nvPr/>
          </p:nvSpPr>
          <p:spPr>
            <a:xfrm rot="-2424156">
              <a:off x="2052510" y="-106317"/>
              <a:ext cx="373867" cy="493313"/>
            </a:xfrm>
            <a:custGeom>
              <a:avLst/>
              <a:gdLst/>
              <a:ahLst/>
              <a:cxnLst/>
              <a:rect l="l" t="t" r="r" b="b"/>
              <a:pathLst>
                <a:path w="434661" h="573530" extrusionOk="0">
                  <a:moveTo>
                    <a:pt x="430380" y="417373"/>
                  </a:moveTo>
                  <a:cubicBezTo>
                    <a:pt x="427840" y="354508"/>
                    <a:pt x="363705" y="334823"/>
                    <a:pt x="311635" y="329743"/>
                  </a:cubicBezTo>
                  <a:cubicBezTo>
                    <a:pt x="264010" y="315138"/>
                    <a:pt x="297665" y="236398"/>
                    <a:pt x="288775" y="197028"/>
                  </a:cubicBezTo>
                  <a:cubicBezTo>
                    <a:pt x="290680" y="118923"/>
                    <a:pt x="325605" y="15418"/>
                    <a:pt x="217655" y="178"/>
                  </a:cubicBezTo>
                  <a:cubicBezTo>
                    <a:pt x="211305" y="-1092"/>
                    <a:pt x="199875" y="4623"/>
                    <a:pt x="202415" y="11608"/>
                  </a:cubicBezTo>
                  <a:cubicBezTo>
                    <a:pt x="207495" y="87808"/>
                    <a:pt x="223370" y="169088"/>
                    <a:pt x="197335" y="242748"/>
                  </a:cubicBezTo>
                  <a:cubicBezTo>
                    <a:pt x="158600" y="220523"/>
                    <a:pt x="52555" y="59868"/>
                    <a:pt x="24615" y="87173"/>
                  </a:cubicBezTo>
                  <a:cubicBezTo>
                    <a:pt x="-68095" y="172263"/>
                    <a:pt x="127485" y="297993"/>
                    <a:pt x="175745" y="366573"/>
                  </a:cubicBezTo>
                  <a:cubicBezTo>
                    <a:pt x="205590" y="403403"/>
                    <a:pt x="41760" y="420548"/>
                    <a:pt x="141455" y="548818"/>
                  </a:cubicBezTo>
                  <a:cubicBezTo>
                    <a:pt x="221465" y="630733"/>
                    <a:pt x="298935" y="488493"/>
                    <a:pt x="240515" y="419913"/>
                  </a:cubicBezTo>
                  <a:cubicBezTo>
                    <a:pt x="234165" y="409753"/>
                    <a:pt x="241150" y="384353"/>
                    <a:pt x="256390" y="395148"/>
                  </a:cubicBezTo>
                  <a:cubicBezTo>
                    <a:pt x="288775" y="436423"/>
                    <a:pt x="313540" y="498653"/>
                    <a:pt x="379580" y="489128"/>
                  </a:cubicBezTo>
                  <a:cubicBezTo>
                    <a:pt x="412600" y="482778"/>
                    <a:pt x="446890" y="451028"/>
                    <a:pt x="430380" y="417373"/>
                  </a:cubicBezTo>
                  <a:close/>
                  <a:moveTo>
                    <a:pt x="227180" y="242748"/>
                  </a:moveTo>
                  <a:cubicBezTo>
                    <a:pt x="237975" y="171628"/>
                    <a:pt x="223370" y="100508"/>
                    <a:pt x="232260" y="30023"/>
                  </a:cubicBezTo>
                  <a:cubicBezTo>
                    <a:pt x="277980" y="26213"/>
                    <a:pt x="280520" y="81458"/>
                    <a:pt x="275440" y="113843"/>
                  </a:cubicBezTo>
                  <a:cubicBezTo>
                    <a:pt x="264645" y="171628"/>
                    <a:pt x="276075" y="233858"/>
                    <a:pt x="262105" y="290373"/>
                  </a:cubicBezTo>
                  <a:cubicBezTo>
                    <a:pt x="234800" y="280848"/>
                    <a:pt x="224640" y="268148"/>
                    <a:pt x="227180" y="242748"/>
                  </a:cubicBezTo>
                  <a:close/>
                  <a:moveTo>
                    <a:pt x="152885" y="518338"/>
                  </a:moveTo>
                  <a:cubicBezTo>
                    <a:pt x="152885" y="518338"/>
                    <a:pt x="152885" y="517703"/>
                    <a:pt x="152250" y="517703"/>
                  </a:cubicBezTo>
                  <a:cubicBezTo>
                    <a:pt x="95735" y="500558"/>
                    <a:pt x="151615" y="386258"/>
                    <a:pt x="202415" y="423088"/>
                  </a:cubicBezTo>
                  <a:cubicBezTo>
                    <a:pt x="199240" y="431978"/>
                    <a:pt x="190985" y="433883"/>
                    <a:pt x="182730" y="436423"/>
                  </a:cubicBezTo>
                  <a:cubicBezTo>
                    <a:pt x="152885" y="442773"/>
                    <a:pt x="133835" y="484683"/>
                    <a:pt x="152885" y="518338"/>
                  </a:cubicBezTo>
                  <a:cubicBezTo>
                    <a:pt x="152885" y="518338"/>
                    <a:pt x="152885" y="518338"/>
                    <a:pt x="152885" y="518338"/>
                  </a:cubicBezTo>
                  <a:close/>
                  <a:moveTo>
                    <a:pt x="211305" y="402133"/>
                  </a:moveTo>
                  <a:cubicBezTo>
                    <a:pt x="200510" y="403403"/>
                    <a:pt x="196065" y="378003"/>
                    <a:pt x="209400" y="376733"/>
                  </a:cubicBezTo>
                  <a:cubicBezTo>
                    <a:pt x="225910" y="374828"/>
                    <a:pt x="228450" y="402133"/>
                    <a:pt x="211305" y="402133"/>
                  </a:cubicBezTo>
                  <a:close/>
                  <a:moveTo>
                    <a:pt x="235435" y="458648"/>
                  </a:moveTo>
                  <a:cubicBezTo>
                    <a:pt x="227180" y="451663"/>
                    <a:pt x="220830" y="444043"/>
                    <a:pt x="220195" y="433248"/>
                  </a:cubicBezTo>
                  <a:cubicBezTo>
                    <a:pt x="237340" y="439598"/>
                    <a:pt x="237340" y="439598"/>
                    <a:pt x="235435" y="458648"/>
                  </a:cubicBezTo>
                  <a:close/>
                  <a:moveTo>
                    <a:pt x="177015" y="545008"/>
                  </a:moveTo>
                  <a:cubicBezTo>
                    <a:pt x="180825" y="545008"/>
                    <a:pt x="184000" y="545643"/>
                    <a:pt x="188445" y="545643"/>
                  </a:cubicBezTo>
                  <a:cubicBezTo>
                    <a:pt x="187175" y="555168"/>
                    <a:pt x="175110" y="553263"/>
                    <a:pt x="177015" y="545008"/>
                  </a:cubicBezTo>
                  <a:close/>
                  <a:moveTo>
                    <a:pt x="164950" y="510718"/>
                  </a:moveTo>
                  <a:cubicBezTo>
                    <a:pt x="148440" y="469443"/>
                    <a:pt x="209400" y="428803"/>
                    <a:pt x="222735" y="484048"/>
                  </a:cubicBezTo>
                  <a:cubicBezTo>
                    <a:pt x="217020" y="511988"/>
                    <a:pt x="186540" y="543738"/>
                    <a:pt x="164950" y="510718"/>
                  </a:cubicBezTo>
                  <a:close/>
                  <a:moveTo>
                    <a:pt x="241150" y="477698"/>
                  </a:moveTo>
                  <a:cubicBezTo>
                    <a:pt x="247500" y="493573"/>
                    <a:pt x="240515" y="504368"/>
                    <a:pt x="241785" y="515163"/>
                  </a:cubicBezTo>
                  <a:cubicBezTo>
                    <a:pt x="240515" y="504368"/>
                    <a:pt x="236070" y="493573"/>
                    <a:pt x="241150" y="477698"/>
                  </a:cubicBezTo>
                  <a:close/>
                  <a:moveTo>
                    <a:pt x="242420" y="515163"/>
                  </a:moveTo>
                  <a:cubicBezTo>
                    <a:pt x="237975" y="520878"/>
                    <a:pt x="233530" y="526593"/>
                    <a:pt x="228450" y="532943"/>
                  </a:cubicBezTo>
                  <a:cubicBezTo>
                    <a:pt x="229085" y="513893"/>
                    <a:pt x="229085" y="513893"/>
                    <a:pt x="242420" y="515163"/>
                  </a:cubicBezTo>
                  <a:close/>
                  <a:moveTo>
                    <a:pt x="27155" y="113208"/>
                  </a:moveTo>
                  <a:cubicBezTo>
                    <a:pt x="65890" y="91618"/>
                    <a:pt x="171300" y="284658"/>
                    <a:pt x="220195" y="293548"/>
                  </a:cubicBezTo>
                  <a:lnTo>
                    <a:pt x="219560" y="300533"/>
                  </a:lnTo>
                  <a:cubicBezTo>
                    <a:pt x="140185" y="304978"/>
                    <a:pt x="221465" y="384353"/>
                    <a:pt x="237340" y="308788"/>
                  </a:cubicBezTo>
                  <a:cubicBezTo>
                    <a:pt x="257025" y="318313"/>
                    <a:pt x="270995" y="334188"/>
                    <a:pt x="287505" y="345618"/>
                  </a:cubicBezTo>
                  <a:cubicBezTo>
                    <a:pt x="250675" y="449123"/>
                    <a:pt x="-15390" y="171628"/>
                    <a:pt x="27155" y="113208"/>
                  </a:cubicBezTo>
                  <a:close/>
                  <a:moveTo>
                    <a:pt x="361165" y="474523"/>
                  </a:moveTo>
                  <a:cubicBezTo>
                    <a:pt x="306555" y="467538"/>
                    <a:pt x="248770" y="360858"/>
                    <a:pt x="328780" y="350063"/>
                  </a:cubicBezTo>
                  <a:cubicBezTo>
                    <a:pt x="400535" y="349428"/>
                    <a:pt x="460860" y="469443"/>
                    <a:pt x="361165" y="474523"/>
                  </a:cubicBezTo>
                  <a:close/>
                  <a:moveTo>
                    <a:pt x="305285" y="380543"/>
                  </a:moveTo>
                  <a:cubicBezTo>
                    <a:pt x="314810" y="401498"/>
                    <a:pt x="324970" y="421818"/>
                    <a:pt x="340845" y="439598"/>
                  </a:cubicBezTo>
                  <a:cubicBezTo>
                    <a:pt x="368785" y="464363"/>
                    <a:pt x="409425" y="441503"/>
                    <a:pt x="387835" y="405308"/>
                  </a:cubicBezTo>
                  <a:cubicBezTo>
                    <a:pt x="365610" y="382448"/>
                    <a:pt x="336400" y="346888"/>
                    <a:pt x="305285" y="380543"/>
                  </a:cubicBezTo>
                  <a:close/>
                  <a:moveTo>
                    <a:pt x="368785" y="429438"/>
                  </a:moveTo>
                  <a:cubicBezTo>
                    <a:pt x="350370" y="433248"/>
                    <a:pt x="342115" y="409118"/>
                    <a:pt x="336400" y="390068"/>
                  </a:cubicBezTo>
                  <a:cubicBezTo>
                    <a:pt x="355450" y="395148"/>
                    <a:pt x="378310" y="411658"/>
                    <a:pt x="368785" y="429438"/>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0" name="Google Shape;132;p3">
              <a:extLst>
                <a:ext uri="{FF2B5EF4-FFF2-40B4-BE49-F238E27FC236}">
                  <a16:creationId xmlns:a16="http://schemas.microsoft.com/office/drawing/2014/main" id="{9A8D009F-7E08-4CCE-A86A-BA4170D78ECD}"/>
                </a:ext>
              </a:extLst>
            </p:cNvPr>
            <p:cNvSpPr/>
            <p:nvPr/>
          </p:nvSpPr>
          <p:spPr>
            <a:xfrm>
              <a:off x="5960437" y="3855732"/>
              <a:ext cx="712864" cy="419317"/>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1" name="Google Shape;133;p3">
              <a:extLst>
                <a:ext uri="{FF2B5EF4-FFF2-40B4-BE49-F238E27FC236}">
                  <a16:creationId xmlns:a16="http://schemas.microsoft.com/office/drawing/2014/main" id="{B26D16EB-CAF3-40C1-B403-368196AE17A5}"/>
                </a:ext>
              </a:extLst>
            </p:cNvPr>
            <p:cNvGrpSpPr/>
            <p:nvPr/>
          </p:nvGrpSpPr>
          <p:grpSpPr>
            <a:xfrm rot="891035">
              <a:off x="1165229" y="1691730"/>
              <a:ext cx="657771" cy="386113"/>
              <a:chOff x="1429156" y="1387535"/>
              <a:chExt cx="657769" cy="386112"/>
            </a:xfrm>
          </p:grpSpPr>
          <p:sp>
            <p:nvSpPr>
              <p:cNvPr id="71" name="Google Shape;134;p3">
                <a:extLst>
                  <a:ext uri="{FF2B5EF4-FFF2-40B4-BE49-F238E27FC236}">
                    <a16:creationId xmlns:a16="http://schemas.microsoft.com/office/drawing/2014/main" id="{75ACE2E8-E896-4D2F-AA37-81A8AEFC8139}"/>
                  </a:ext>
                </a:extLst>
              </p:cNvPr>
              <p:cNvSpPr/>
              <p:nvPr/>
            </p:nvSpPr>
            <p:spPr>
              <a:xfrm>
                <a:off x="1429156" y="1387535"/>
                <a:ext cx="657769" cy="386112"/>
              </a:xfrm>
              <a:custGeom>
                <a:avLst/>
                <a:gdLst/>
                <a:ahLst/>
                <a:cxnLst/>
                <a:rect l="l" t="t" r="r" b="b"/>
                <a:pathLst>
                  <a:path w="764848" h="448968" extrusionOk="0">
                    <a:moveTo>
                      <a:pt x="741700" y="448969"/>
                    </a:moveTo>
                    <a:cubicBezTo>
                      <a:pt x="719475" y="440079"/>
                      <a:pt x="715030" y="440714"/>
                      <a:pt x="686455" y="443889"/>
                    </a:cubicBezTo>
                    <a:cubicBezTo>
                      <a:pt x="552470" y="455319"/>
                      <a:pt x="419120" y="428649"/>
                      <a:pt x="285770" y="436269"/>
                    </a:cubicBezTo>
                    <a:cubicBezTo>
                      <a:pt x="193060" y="430554"/>
                      <a:pt x="98445" y="428649"/>
                      <a:pt x="6370" y="441349"/>
                    </a:cubicBezTo>
                    <a:cubicBezTo>
                      <a:pt x="-45700" y="400709"/>
                      <a:pt x="237510" y="281329"/>
                      <a:pt x="273070" y="259739"/>
                    </a:cubicBezTo>
                    <a:cubicBezTo>
                      <a:pt x="431820" y="183539"/>
                      <a:pt x="582950" y="91464"/>
                      <a:pt x="735985" y="3834"/>
                    </a:cubicBezTo>
                    <a:cubicBezTo>
                      <a:pt x="748685" y="-3786"/>
                      <a:pt x="759480" y="24"/>
                      <a:pt x="761385" y="14629"/>
                    </a:cubicBezTo>
                    <a:cubicBezTo>
                      <a:pt x="772180" y="114324"/>
                      <a:pt x="753765" y="215924"/>
                      <a:pt x="759480" y="316889"/>
                    </a:cubicBezTo>
                    <a:cubicBezTo>
                      <a:pt x="752495" y="359434"/>
                      <a:pt x="769640" y="414044"/>
                      <a:pt x="741700" y="448969"/>
                    </a:cubicBezTo>
                    <a:close/>
                    <a:moveTo>
                      <a:pt x="615970" y="418489"/>
                    </a:moveTo>
                    <a:cubicBezTo>
                      <a:pt x="647720" y="425474"/>
                      <a:pt x="636290" y="413409"/>
                      <a:pt x="645815" y="393724"/>
                    </a:cubicBezTo>
                    <a:cubicBezTo>
                      <a:pt x="661690" y="396264"/>
                      <a:pt x="657880" y="414044"/>
                      <a:pt x="669945" y="421029"/>
                    </a:cubicBezTo>
                    <a:cubicBezTo>
                      <a:pt x="675660" y="420394"/>
                      <a:pt x="682645" y="420394"/>
                      <a:pt x="690900" y="419759"/>
                    </a:cubicBezTo>
                    <a:cubicBezTo>
                      <a:pt x="692170" y="410234"/>
                      <a:pt x="692805" y="402614"/>
                      <a:pt x="694075" y="394994"/>
                    </a:cubicBezTo>
                    <a:cubicBezTo>
                      <a:pt x="703600" y="394994"/>
                      <a:pt x="705505" y="401979"/>
                      <a:pt x="708680" y="407059"/>
                    </a:cubicBezTo>
                    <a:cubicBezTo>
                      <a:pt x="718205" y="421664"/>
                      <a:pt x="735350" y="405154"/>
                      <a:pt x="734080" y="391819"/>
                    </a:cubicBezTo>
                    <a:cubicBezTo>
                      <a:pt x="734715" y="274344"/>
                      <a:pt x="747415" y="153059"/>
                      <a:pt x="738525" y="37489"/>
                    </a:cubicBezTo>
                    <a:cubicBezTo>
                      <a:pt x="616605" y="87019"/>
                      <a:pt x="508020" y="171474"/>
                      <a:pt x="388005" y="229259"/>
                    </a:cubicBezTo>
                    <a:cubicBezTo>
                      <a:pt x="278785" y="288314"/>
                      <a:pt x="157500" y="328954"/>
                      <a:pt x="59710" y="406424"/>
                    </a:cubicBezTo>
                    <a:cubicBezTo>
                      <a:pt x="81300" y="415949"/>
                      <a:pt x="101620" y="415949"/>
                      <a:pt x="122575" y="412139"/>
                    </a:cubicBezTo>
                    <a:cubicBezTo>
                      <a:pt x="125115" y="401344"/>
                      <a:pt x="127020" y="392454"/>
                      <a:pt x="128925" y="383564"/>
                    </a:cubicBezTo>
                    <a:cubicBezTo>
                      <a:pt x="154325" y="379119"/>
                      <a:pt x="141625" y="432459"/>
                      <a:pt x="165120" y="404519"/>
                    </a:cubicBezTo>
                    <a:cubicBezTo>
                      <a:pt x="167025" y="400074"/>
                      <a:pt x="165755" y="393724"/>
                      <a:pt x="174010" y="391819"/>
                    </a:cubicBezTo>
                    <a:cubicBezTo>
                      <a:pt x="194965" y="416584"/>
                      <a:pt x="208935" y="421664"/>
                      <a:pt x="221000" y="386104"/>
                    </a:cubicBezTo>
                    <a:cubicBezTo>
                      <a:pt x="238145" y="394994"/>
                      <a:pt x="238780" y="428649"/>
                      <a:pt x="264180" y="408964"/>
                    </a:cubicBezTo>
                    <a:cubicBezTo>
                      <a:pt x="266085" y="401344"/>
                      <a:pt x="267990" y="393724"/>
                      <a:pt x="269895" y="385469"/>
                    </a:cubicBezTo>
                    <a:cubicBezTo>
                      <a:pt x="286405" y="388644"/>
                      <a:pt x="279420" y="407059"/>
                      <a:pt x="292755" y="414044"/>
                    </a:cubicBezTo>
                    <a:cubicBezTo>
                      <a:pt x="299105" y="413409"/>
                      <a:pt x="308630" y="412774"/>
                      <a:pt x="314345" y="412139"/>
                    </a:cubicBezTo>
                    <a:cubicBezTo>
                      <a:pt x="323870" y="404519"/>
                      <a:pt x="314980" y="392454"/>
                      <a:pt x="327045" y="388644"/>
                    </a:cubicBezTo>
                    <a:cubicBezTo>
                      <a:pt x="339745" y="400709"/>
                      <a:pt x="348635" y="422934"/>
                      <a:pt x="374670" y="409599"/>
                    </a:cubicBezTo>
                    <a:cubicBezTo>
                      <a:pt x="374035" y="400709"/>
                      <a:pt x="373400" y="391819"/>
                      <a:pt x="372765" y="379119"/>
                    </a:cubicBezTo>
                    <a:cubicBezTo>
                      <a:pt x="405785" y="384199"/>
                      <a:pt x="385465" y="430554"/>
                      <a:pt x="425470" y="414679"/>
                    </a:cubicBezTo>
                    <a:cubicBezTo>
                      <a:pt x="429915" y="409599"/>
                      <a:pt x="424200" y="399439"/>
                      <a:pt x="434360" y="394994"/>
                    </a:cubicBezTo>
                    <a:cubicBezTo>
                      <a:pt x="445790" y="408329"/>
                      <a:pt x="454045" y="430554"/>
                      <a:pt x="478810" y="416584"/>
                    </a:cubicBezTo>
                    <a:cubicBezTo>
                      <a:pt x="485160" y="407694"/>
                      <a:pt x="473730" y="396264"/>
                      <a:pt x="483890" y="386739"/>
                    </a:cubicBezTo>
                    <a:cubicBezTo>
                      <a:pt x="503575" y="401344"/>
                      <a:pt x="502940" y="441984"/>
                      <a:pt x="535325" y="421029"/>
                    </a:cubicBezTo>
                    <a:cubicBezTo>
                      <a:pt x="535960" y="410234"/>
                      <a:pt x="536595" y="398804"/>
                      <a:pt x="537865" y="386739"/>
                    </a:cubicBezTo>
                    <a:cubicBezTo>
                      <a:pt x="560090" y="389914"/>
                      <a:pt x="549295" y="410869"/>
                      <a:pt x="561360" y="421029"/>
                    </a:cubicBezTo>
                    <a:cubicBezTo>
                      <a:pt x="600730" y="433094"/>
                      <a:pt x="587395" y="409599"/>
                      <a:pt x="600095" y="388009"/>
                    </a:cubicBezTo>
                    <a:cubicBezTo>
                      <a:pt x="605810" y="398169"/>
                      <a:pt x="610255" y="407059"/>
                      <a:pt x="615970" y="418489"/>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2" name="Google Shape;135;p3">
                <a:extLst>
                  <a:ext uri="{FF2B5EF4-FFF2-40B4-BE49-F238E27FC236}">
                    <a16:creationId xmlns:a16="http://schemas.microsoft.com/office/drawing/2014/main" id="{7206F198-9F89-4266-9D50-C07019C2CD7E}"/>
                  </a:ext>
                </a:extLst>
              </p:cNvPr>
              <p:cNvSpPr/>
              <p:nvPr/>
            </p:nvSpPr>
            <p:spPr>
              <a:xfrm>
                <a:off x="1703617" y="1534561"/>
                <a:ext cx="308110" cy="146566"/>
              </a:xfrm>
              <a:custGeom>
                <a:avLst/>
                <a:gdLst/>
                <a:ahLst/>
                <a:cxnLst/>
                <a:rect l="l" t="t" r="r" b="b"/>
                <a:pathLst>
                  <a:path w="358267" h="170426" extrusionOk="0">
                    <a:moveTo>
                      <a:pt x="331351" y="0"/>
                    </a:moveTo>
                    <a:cubicBezTo>
                      <a:pt x="385326" y="29845"/>
                      <a:pt x="340241" y="100330"/>
                      <a:pt x="347226" y="149860"/>
                    </a:cubicBezTo>
                    <a:cubicBezTo>
                      <a:pt x="345956" y="186690"/>
                      <a:pt x="250706" y="162560"/>
                      <a:pt x="222766" y="163830"/>
                    </a:cubicBezTo>
                    <a:cubicBezTo>
                      <a:pt x="152281" y="173990"/>
                      <a:pt x="81796" y="159385"/>
                      <a:pt x="10676" y="165735"/>
                    </a:cubicBezTo>
                    <a:cubicBezTo>
                      <a:pt x="-67429" y="148590"/>
                      <a:pt x="307856" y="15240"/>
                      <a:pt x="331351" y="0"/>
                    </a:cubicBezTo>
                    <a:close/>
                    <a:moveTo>
                      <a:pt x="331986" y="27305"/>
                    </a:moveTo>
                    <a:cubicBezTo>
                      <a:pt x="281821" y="40005"/>
                      <a:pt x="86241" y="122555"/>
                      <a:pt x="64651" y="139700"/>
                    </a:cubicBezTo>
                    <a:cubicBezTo>
                      <a:pt x="146566" y="156845"/>
                      <a:pt x="236736" y="147955"/>
                      <a:pt x="321191" y="142875"/>
                    </a:cubicBezTo>
                    <a:cubicBezTo>
                      <a:pt x="327541" y="104140"/>
                      <a:pt x="333891" y="66675"/>
                      <a:pt x="331986" y="27305"/>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32" name="Google Shape;136;p3">
              <a:extLst>
                <a:ext uri="{FF2B5EF4-FFF2-40B4-BE49-F238E27FC236}">
                  <a16:creationId xmlns:a16="http://schemas.microsoft.com/office/drawing/2014/main" id="{375853E5-8D2D-4BFD-A344-777696706008}"/>
                </a:ext>
              </a:extLst>
            </p:cNvPr>
            <p:cNvSpPr/>
            <p:nvPr/>
          </p:nvSpPr>
          <p:spPr>
            <a:xfrm rot="-1696692">
              <a:off x="7441723" y="1525254"/>
              <a:ext cx="760522" cy="200454"/>
            </a:xfrm>
            <a:custGeom>
              <a:avLst/>
              <a:gdLst/>
              <a:ahLst/>
              <a:cxnLst/>
              <a:rect l="l" t="t" r="r" b="b"/>
              <a:pathLst>
                <a:path w="884171" h="233045" extrusionOk="0">
                  <a:moveTo>
                    <a:pt x="857928" y="0"/>
                  </a:moveTo>
                  <a:cubicBezTo>
                    <a:pt x="574717" y="35560"/>
                    <a:pt x="287698" y="28575"/>
                    <a:pt x="3218" y="62230"/>
                  </a:cubicBezTo>
                  <a:cubicBezTo>
                    <a:pt x="6393" y="102870"/>
                    <a:pt x="-13927" y="213360"/>
                    <a:pt x="19727" y="233045"/>
                  </a:cubicBezTo>
                  <a:cubicBezTo>
                    <a:pt x="151173" y="226695"/>
                    <a:pt x="281348" y="213995"/>
                    <a:pt x="413427" y="214630"/>
                  </a:cubicBezTo>
                  <a:cubicBezTo>
                    <a:pt x="563923" y="219075"/>
                    <a:pt x="715053" y="208280"/>
                    <a:pt x="865548" y="195580"/>
                  </a:cubicBezTo>
                  <a:cubicBezTo>
                    <a:pt x="899203" y="207010"/>
                    <a:pt x="881423" y="5080"/>
                    <a:pt x="857928" y="0"/>
                  </a:cubicBezTo>
                  <a:close/>
                  <a:moveTo>
                    <a:pt x="860467" y="169545"/>
                  </a:moveTo>
                  <a:cubicBezTo>
                    <a:pt x="825542" y="180340"/>
                    <a:pt x="790617" y="177165"/>
                    <a:pt x="756328" y="185420"/>
                  </a:cubicBezTo>
                  <a:cubicBezTo>
                    <a:pt x="748707" y="175260"/>
                    <a:pt x="742357" y="167005"/>
                    <a:pt x="735373" y="157480"/>
                  </a:cubicBezTo>
                  <a:cubicBezTo>
                    <a:pt x="723942" y="175260"/>
                    <a:pt x="730928" y="186690"/>
                    <a:pt x="703623" y="183515"/>
                  </a:cubicBezTo>
                  <a:cubicBezTo>
                    <a:pt x="699813" y="175895"/>
                    <a:pt x="695367" y="168275"/>
                    <a:pt x="690923" y="160020"/>
                  </a:cubicBezTo>
                  <a:cubicBezTo>
                    <a:pt x="677588" y="164465"/>
                    <a:pt x="685842" y="179070"/>
                    <a:pt x="676317" y="184150"/>
                  </a:cubicBezTo>
                  <a:cubicBezTo>
                    <a:pt x="662982" y="182245"/>
                    <a:pt x="673778" y="159385"/>
                    <a:pt x="654092" y="161290"/>
                  </a:cubicBezTo>
                  <a:cubicBezTo>
                    <a:pt x="652188" y="168910"/>
                    <a:pt x="649648" y="177800"/>
                    <a:pt x="647742" y="186690"/>
                  </a:cubicBezTo>
                  <a:cubicBezTo>
                    <a:pt x="598213" y="209550"/>
                    <a:pt x="632503" y="132080"/>
                    <a:pt x="597578" y="128270"/>
                  </a:cubicBezTo>
                  <a:cubicBezTo>
                    <a:pt x="574717" y="146050"/>
                    <a:pt x="625517" y="198120"/>
                    <a:pt x="575988" y="194310"/>
                  </a:cubicBezTo>
                  <a:cubicBezTo>
                    <a:pt x="571542" y="184150"/>
                    <a:pt x="566463" y="172720"/>
                    <a:pt x="561382" y="160020"/>
                  </a:cubicBezTo>
                  <a:cubicBezTo>
                    <a:pt x="548682" y="168910"/>
                    <a:pt x="555667" y="180975"/>
                    <a:pt x="551223" y="189865"/>
                  </a:cubicBezTo>
                  <a:cubicBezTo>
                    <a:pt x="527727" y="199390"/>
                    <a:pt x="528363" y="180340"/>
                    <a:pt x="515663" y="167640"/>
                  </a:cubicBezTo>
                  <a:cubicBezTo>
                    <a:pt x="506138" y="172720"/>
                    <a:pt x="510582" y="179070"/>
                    <a:pt x="509948" y="184785"/>
                  </a:cubicBezTo>
                  <a:cubicBezTo>
                    <a:pt x="503598" y="211455"/>
                    <a:pt x="478832" y="184150"/>
                    <a:pt x="477563" y="168275"/>
                  </a:cubicBezTo>
                  <a:cubicBezTo>
                    <a:pt x="475657" y="168275"/>
                    <a:pt x="473118" y="168910"/>
                    <a:pt x="471213" y="168910"/>
                  </a:cubicBezTo>
                  <a:cubicBezTo>
                    <a:pt x="468673" y="176530"/>
                    <a:pt x="468038" y="185420"/>
                    <a:pt x="468673" y="192405"/>
                  </a:cubicBezTo>
                  <a:cubicBezTo>
                    <a:pt x="419143" y="222885"/>
                    <a:pt x="449623" y="139065"/>
                    <a:pt x="420413" y="134620"/>
                  </a:cubicBezTo>
                  <a:cubicBezTo>
                    <a:pt x="403268" y="157480"/>
                    <a:pt x="441368" y="204470"/>
                    <a:pt x="384852" y="194310"/>
                  </a:cubicBezTo>
                  <a:cubicBezTo>
                    <a:pt x="379773" y="186690"/>
                    <a:pt x="374057" y="178435"/>
                    <a:pt x="367707" y="168910"/>
                  </a:cubicBezTo>
                  <a:cubicBezTo>
                    <a:pt x="355643" y="175260"/>
                    <a:pt x="365802" y="188595"/>
                    <a:pt x="356277" y="194310"/>
                  </a:cubicBezTo>
                  <a:cubicBezTo>
                    <a:pt x="341038" y="190500"/>
                    <a:pt x="348023" y="171450"/>
                    <a:pt x="337227" y="164465"/>
                  </a:cubicBezTo>
                  <a:cubicBezTo>
                    <a:pt x="323893" y="161290"/>
                    <a:pt x="327702" y="179705"/>
                    <a:pt x="325798" y="187960"/>
                  </a:cubicBezTo>
                  <a:cubicBezTo>
                    <a:pt x="311827" y="185420"/>
                    <a:pt x="316907" y="161290"/>
                    <a:pt x="299763" y="167640"/>
                  </a:cubicBezTo>
                  <a:cubicBezTo>
                    <a:pt x="299127" y="175260"/>
                    <a:pt x="298493" y="183515"/>
                    <a:pt x="297857" y="193040"/>
                  </a:cubicBezTo>
                  <a:cubicBezTo>
                    <a:pt x="284523" y="198120"/>
                    <a:pt x="270552" y="196215"/>
                    <a:pt x="255313" y="193675"/>
                  </a:cubicBezTo>
                  <a:cubicBezTo>
                    <a:pt x="253407" y="123190"/>
                    <a:pt x="226102" y="121285"/>
                    <a:pt x="228643" y="193675"/>
                  </a:cubicBezTo>
                  <a:cubicBezTo>
                    <a:pt x="208957" y="210185"/>
                    <a:pt x="200068" y="191770"/>
                    <a:pt x="189907" y="181610"/>
                  </a:cubicBezTo>
                  <a:cubicBezTo>
                    <a:pt x="187368" y="183515"/>
                    <a:pt x="184827" y="184150"/>
                    <a:pt x="184193" y="185420"/>
                  </a:cubicBezTo>
                  <a:cubicBezTo>
                    <a:pt x="179748" y="215265"/>
                    <a:pt x="160063" y="195580"/>
                    <a:pt x="153713" y="178435"/>
                  </a:cubicBezTo>
                  <a:cubicBezTo>
                    <a:pt x="136568" y="176530"/>
                    <a:pt x="152443" y="219075"/>
                    <a:pt x="127043" y="200025"/>
                  </a:cubicBezTo>
                  <a:cubicBezTo>
                    <a:pt x="124502" y="193040"/>
                    <a:pt x="122598" y="184150"/>
                    <a:pt x="116248" y="179070"/>
                  </a:cubicBezTo>
                  <a:cubicBezTo>
                    <a:pt x="104818" y="182245"/>
                    <a:pt x="108627" y="191135"/>
                    <a:pt x="106088" y="197485"/>
                  </a:cubicBezTo>
                  <a:cubicBezTo>
                    <a:pt x="76877" y="236855"/>
                    <a:pt x="86402" y="157480"/>
                    <a:pt x="76877" y="144780"/>
                  </a:cubicBezTo>
                  <a:cubicBezTo>
                    <a:pt x="43857" y="125095"/>
                    <a:pt x="66718" y="187325"/>
                    <a:pt x="62273" y="203200"/>
                  </a:cubicBezTo>
                  <a:cubicBezTo>
                    <a:pt x="52113" y="213360"/>
                    <a:pt x="41318" y="208280"/>
                    <a:pt x="29888" y="208280"/>
                  </a:cubicBezTo>
                  <a:cubicBezTo>
                    <a:pt x="26077" y="177165"/>
                    <a:pt x="5123" y="95250"/>
                    <a:pt x="35602" y="78740"/>
                  </a:cubicBezTo>
                  <a:cubicBezTo>
                    <a:pt x="133393" y="58420"/>
                    <a:pt x="233723" y="57785"/>
                    <a:pt x="333418" y="53975"/>
                  </a:cubicBezTo>
                  <a:cubicBezTo>
                    <a:pt x="505502" y="41910"/>
                    <a:pt x="680763" y="26670"/>
                    <a:pt x="852213" y="30480"/>
                  </a:cubicBezTo>
                  <a:cubicBezTo>
                    <a:pt x="863007" y="74930"/>
                    <a:pt x="864913" y="125730"/>
                    <a:pt x="860467" y="169545"/>
                  </a:cubicBezTo>
                  <a:close/>
                  <a:moveTo>
                    <a:pt x="776648" y="102235"/>
                  </a:moveTo>
                  <a:cubicBezTo>
                    <a:pt x="776648" y="144780"/>
                    <a:pt x="831892" y="132080"/>
                    <a:pt x="839513" y="100965"/>
                  </a:cubicBezTo>
                  <a:cubicBezTo>
                    <a:pt x="838878" y="50800"/>
                    <a:pt x="779188" y="59055"/>
                    <a:pt x="776648" y="102235"/>
                  </a:cubicBezTo>
                  <a:close/>
                  <a:moveTo>
                    <a:pt x="796967" y="102235"/>
                  </a:moveTo>
                  <a:cubicBezTo>
                    <a:pt x="799507" y="89535"/>
                    <a:pt x="809032" y="91440"/>
                    <a:pt x="817288" y="101600"/>
                  </a:cubicBezTo>
                  <a:cubicBezTo>
                    <a:pt x="809032" y="107315"/>
                    <a:pt x="796332" y="116205"/>
                    <a:pt x="796967" y="10223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3" name="Google Shape;137;p3">
              <a:extLst>
                <a:ext uri="{FF2B5EF4-FFF2-40B4-BE49-F238E27FC236}">
                  <a16:creationId xmlns:a16="http://schemas.microsoft.com/office/drawing/2014/main" id="{6421FDF3-8380-4586-B83E-2921B2CFAF8F}"/>
                </a:ext>
              </a:extLst>
            </p:cNvPr>
            <p:cNvSpPr/>
            <p:nvPr/>
          </p:nvSpPr>
          <p:spPr>
            <a:xfrm>
              <a:off x="1161548" y="2558031"/>
              <a:ext cx="665135" cy="522113"/>
            </a:xfrm>
            <a:custGeom>
              <a:avLst/>
              <a:gdLst/>
              <a:ahLst/>
              <a:cxnLst/>
              <a:rect l="l" t="t" r="r" b="b"/>
              <a:pathLst>
                <a:path w="773413" h="607108" extrusionOk="0">
                  <a:moveTo>
                    <a:pt x="330200" y="266676"/>
                  </a:moveTo>
                  <a:cubicBezTo>
                    <a:pt x="311785" y="287631"/>
                    <a:pt x="356870" y="297791"/>
                    <a:pt x="365125" y="312396"/>
                  </a:cubicBezTo>
                  <a:cubicBezTo>
                    <a:pt x="452120" y="383516"/>
                    <a:pt x="374650" y="271121"/>
                    <a:pt x="330200" y="266676"/>
                  </a:cubicBezTo>
                  <a:close/>
                  <a:moveTo>
                    <a:pt x="345440" y="379706"/>
                  </a:moveTo>
                  <a:cubicBezTo>
                    <a:pt x="343535" y="361291"/>
                    <a:pt x="321945" y="360021"/>
                    <a:pt x="318770" y="343511"/>
                  </a:cubicBezTo>
                  <a:cubicBezTo>
                    <a:pt x="320675" y="320016"/>
                    <a:pt x="302260" y="323826"/>
                    <a:pt x="288925" y="317476"/>
                  </a:cubicBezTo>
                  <a:cubicBezTo>
                    <a:pt x="288290" y="309856"/>
                    <a:pt x="287655" y="302871"/>
                    <a:pt x="287020" y="295886"/>
                  </a:cubicBezTo>
                  <a:cubicBezTo>
                    <a:pt x="256540" y="302871"/>
                    <a:pt x="237490" y="313031"/>
                    <a:pt x="245745" y="340336"/>
                  </a:cubicBezTo>
                  <a:cubicBezTo>
                    <a:pt x="258445" y="358116"/>
                    <a:pt x="277495" y="337796"/>
                    <a:pt x="294005" y="347956"/>
                  </a:cubicBezTo>
                  <a:cubicBezTo>
                    <a:pt x="292100" y="368911"/>
                    <a:pt x="304800" y="377801"/>
                    <a:pt x="325120" y="377801"/>
                  </a:cubicBezTo>
                  <a:cubicBezTo>
                    <a:pt x="336550" y="404471"/>
                    <a:pt x="335915" y="405106"/>
                    <a:pt x="358775" y="416536"/>
                  </a:cubicBezTo>
                  <a:cubicBezTo>
                    <a:pt x="372110" y="422251"/>
                    <a:pt x="386715" y="457176"/>
                    <a:pt x="400050" y="436221"/>
                  </a:cubicBezTo>
                  <a:cubicBezTo>
                    <a:pt x="391795" y="396851"/>
                    <a:pt x="360680" y="405106"/>
                    <a:pt x="345440" y="379706"/>
                  </a:cubicBezTo>
                  <a:close/>
                  <a:moveTo>
                    <a:pt x="507365" y="428601"/>
                  </a:moveTo>
                  <a:cubicBezTo>
                    <a:pt x="495935" y="401296"/>
                    <a:pt x="474345" y="382881"/>
                    <a:pt x="453390" y="364466"/>
                  </a:cubicBezTo>
                  <a:cubicBezTo>
                    <a:pt x="431165" y="346051"/>
                    <a:pt x="431165" y="391136"/>
                    <a:pt x="451485" y="393676"/>
                  </a:cubicBezTo>
                  <a:cubicBezTo>
                    <a:pt x="487045" y="408916"/>
                    <a:pt x="488315" y="451461"/>
                    <a:pt x="525145" y="467336"/>
                  </a:cubicBezTo>
                  <a:cubicBezTo>
                    <a:pt x="542925" y="447651"/>
                    <a:pt x="513715" y="441301"/>
                    <a:pt x="507365" y="428601"/>
                  </a:cubicBezTo>
                  <a:close/>
                  <a:moveTo>
                    <a:pt x="504825" y="315571"/>
                  </a:moveTo>
                  <a:cubicBezTo>
                    <a:pt x="500380" y="301601"/>
                    <a:pt x="481965" y="299061"/>
                    <a:pt x="480060" y="284456"/>
                  </a:cubicBezTo>
                  <a:cubicBezTo>
                    <a:pt x="474980" y="258421"/>
                    <a:pt x="442595" y="265406"/>
                    <a:pt x="434340" y="241276"/>
                  </a:cubicBezTo>
                  <a:cubicBezTo>
                    <a:pt x="421005" y="238101"/>
                    <a:pt x="410210" y="251436"/>
                    <a:pt x="398145" y="240006"/>
                  </a:cubicBezTo>
                  <a:cubicBezTo>
                    <a:pt x="403860" y="233656"/>
                    <a:pt x="408940" y="232386"/>
                    <a:pt x="417195" y="228576"/>
                  </a:cubicBezTo>
                  <a:cubicBezTo>
                    <a:pt x="400050" y="175871"/>
                    <a:pt x="313690" y="272391"/>
                    <a:pt x="419735" y="267311"/>
                  </a:cubicBezTo>
                  <a:cubicBezTo>
                    <a:pt x="422275" y="289536"/>
                    <a:pt x="445770" y="278741"/>
                    <a:pt x="461645" y="288266"/>
                  </a:cubicBezTo>
                  <a:cubicBezTo>
                    <a:pt x="460375" y="315571"/>
                    <a:pt x="490855" y="330176"/>
                    <a:pt x="508000" y="347321"/>
                  </a:cubicBezTo>
                  <a:cubicBezTo>
                    <a:pt x="532130" y="360656"/>
                    <a:pt x="526415" y="399391"/>
                    <a:pt x="563245" y="392406"/>
                  </a:cubicBezTo>
                  <a:cubicBezTo>
                    <a:pt x="560070" y="370181"/>
                    <a:pt x="537210" y="365101"/>
                    <a:pt x="537210" y="340971"/>
                  </a:cubicBezTo>
                  <a:cubicBezTo>
                    <a:pt x="524510" y="334621"/>
                    <a:pt x="509270" y="329541"/>
                    <a:pt x="504825" y="315571"/>
                  </a:cubicBezTo>
                  <a:close/>
                  <a:moveTo>
                    <a:pt x="744220" y="156186"/>
                  </a:moveTo>
                  <a:cubicBezTo>
                    <a:pt x="658495" y="119991"/>
                    <a:pt x="573405" y="78081"/>
                    <a:pt x="509270" y="8231"/>
                  </a:cubicBezTo>
                  <a:cubicBezTo>
                    <a:pt x="478155" y="-22249"/>
                    <a:pt x="454660" y="40616"/>
                    <a:pt x="430530" y="55856"/>
                  </a:cubicBezTo>
                  <a:cubicBezTo>
                    <a:pt x="309880" y="170156"/>
                    <a:pt x="172720" y="286361"/>
                    <a:pt x="0" y="294616"/>
                  </a:cubicBezTo>
                  <a:cubicBezTo>
                    <a:pt x="14605" y="319381"/>
                    <a:pt x="14605" y="318746"/>
                    <a:pt x="29845" y="328271"/>
                  </a:cubicBezTo>
                  <a:cubicBezTo>
                    <a:pt x="91440" y="365736"/>
                    <a:pt x="144780" y="415901"/>
                    <a:pt x="205740" y="454001"/>
                  </a:cubicBezTo>
                  <a:cubicBezTo>
                    <a:pt x="279400" y="483211"/>
                    <a:pt x="368935" y="638786"/>
                    <a:pt x="440690" y="601322"/>
                  </a:cubicBezTo>
                  <a:cubicBezTo>
                    <a:pt x="623570" y="562586"/>
                    <a:pt x="855980" y="342876"/>
                    <a:pt x="744220" y="156186"/>
                  </a:cubicBezTo>
                  <a:close/>
                  <a:moveTo>
                    <a:pt x="412750" y="585447"/>
                  </a:moveTo>
                  <a:cubicBezTo>
                    <a:pt x="372110" y="579731"/>
                    <a:pt x="340995" y="535916"/>
                    <a:pt x="308610" y="511786"/>
                  </a:cubicBezTo>
                  <a:cubicBezTo>
                    <a:pt x="229235" y="438761"/>
                    <a:pt x="133985" y="389866"/>
                    <a:pt x="57150" y="314301"/>
                  </a:cubicBezTo>
                  <a:cubicBezTo>
                    <a:pt x="231140" y="271756"/>
                    <a:pt x="370840" y="152376"/>
                    <a:pt x="493395" y="26646"/>
                  </a:cubicBezTo>
                  <a:cubicBezTo>
                    <a:pt x="561975" y="90781"/>
                    <a:pt x="644525" y="126976"/>
                    <a:pt x="723265" y="173966"/>
                  </a:cubicBezTo>
                  <a:cubicBezTo>
                    <a:pt x="699135" y="203176"/>
                    <a:pt x="664210" y="216511"/>
                    <a:pt x="643255" y="243816"/>
                  </a:cubicBezTo>
                  <a:cubicBezTo>
                    <a:pt x="660400" y="283186"/>
                    <a:pt x="710565" y="292076"/>
                    <a:pt x="733425" y="327636"/>
                  </a:cubicBezTo>
                  <a:cubicBezTo>
                    <a:pt x="689610" y="466701"/>
                    <a:pt x="548005" y="554966"/>
                    <a:pt x="412750" y="585447"/>
                  </a:cubicBezTo>
                  <a:close/>
                  <a:moveTo>
                    <a:pt x="674370" y="250166"/>
                  </a:moveTo>
                  <a:cubicBezTo>
                    <a:pt x="697865" y="229211"/>
                    <a:pt x="714375" y="205716"/>
                    <a:pt x="743585" y="197461"/>
                  </a:cubicBezTo>
                  <a:cubicBezTo>
                    <a:pt x="744855" y="232386"/>
                    <a:pt x="751205" y="265406"/>
                    <a:pt x="738505" y="299061"/>
                  </a:cubicBezTo>
                  <a:cubicBezTo>
                    <a:pt x="712470" y="288266"/>
                    <a:pt x="697865" y="265406"/>
                    <a:pt x="674370" y="250166"/>
                  </a:cubicBezTo>
                  <a:close/>
                  <a:moveTo>
                    <a:pt x="641985" y="310491"/>
                  </a:moveTo>
                  <a:cubicBezTo>
                    <a:pt x="619760" y="306681"/>
                    <a:pt x="605790" y="289536"/>
                    <a:pt x="589280" y="280011"/>
                  </a:cubicBezTo>
                  <a:cubicBezTo>
                    <a:pt x="587375" y="270486"/>
                    <a:pt x="586105" y="263501"/>
                    <a:pt x="584835" y="255881"/>
                  </a:cubicBezTo>
                  <a:cubicBezTo>
                    <a:pt x="541020" y="246356"/>
                    <a:pt x="568960" y="223496"/>
                    <a:pt x="506095" y="215241"/>
                  </a:cubicBezTo>
                  <a:cubicBezTo>
                    <a:pt x="534670" y="166346"/>
                    <a:pt x="490220" y="189841"/>
                    <a:pt x="461645" y="186031"/>
                  </a:cubicBezTo>
                  <a:cubicBezTo>
                    <a:pt x="436245" y="172061"/>
                    <a:pt x="474345" y="158726"/>
                    <a:pt x="487045" y="156186"/>
                  </a:cubicBezTo>
                  <a:cubicBezTo>
                    <a:pt x="502920" y="130786"/>
                    <a:pt x="456565" y="133961"/>
                    <a:pt x="447040" y="148566"/>
                  </a:cubicBezTo>
                  <a:cubicBezTo>
                    <a:pt x="419100" y="174601"/>
                    <a:pt x="444500" y="210796"/>
                    <a:pt x="478790" y="206986"/>
                  </a:cubicBezTo>
                  <a:cubicBezTo>
                    <a:pt x="490855" y="245086"/>
                    <a:pt x="502285" y="234291"/>
                    <a:pt x="534670" y="244451"/>
                  </a:cubicBezTo>
                  <a:cubicBezTo>
                    <a:pt x="539115" y="264771"/>
                    <a:pt x="565785" y="269851"/>
                    <a:pt x="571500" y="292711"/>
                  </a:cubicBezTo>
                  <a:cubicBezTo>
                    <a:pt x="590550" y="305411"/>
                    <a:pt x="613410" y="332081"/>
                    <a:pt x="638175" y="329541"/>
                  </a:cubicBezTo>
                  <a:cubicBezTo>
                    <a:pt x="647700" y="327636"/>
                    <a:pt x="648335" y="313666"/>
                    <a:pt x="641985" y="310491"/>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4" name="Google Shape;138;p3">
              <a:extLst>
                <a:ext uri="{FF2B5EF4-FFF2-40B4-BE49-F238E27FC236}">
                  <a16:creationId xmlns:a16="http://schemas.microsoft.com/office/drawing/2014/main" id="{5D66BD58-4BE5-4935-BF2C-EDC1609FD8BD}"/>
                </a:ext>
              </a:extLst>
            </p:cNvPr>
            <p:cNvGrpSpPr/>
            <p:nvPr/>
          </p:nvGrpSpPr>
          <p:grpSpPr>
            <a:xfrm>
              <a:off x="346827" y="3411153"/>
              <a:ext cx="376916" cy="455685"/>
              <a:chOff x="1010452" y="1144365"/>
              <a:chExt cx="376916" cy="455685"/>
            </a:xfrm>
          </p:grpSpPr>
          <p:sp>
            <p:nvSpPr>
              <p:cNvPr id="69" name="Google Shape;139;p3">
                <a:extLst>
                  <a:ext uri="{FF2B5EF4-FFF2-40B4-BE49-F238E27FC236}">
                    <a16:creationId xmlns:a16="http://schemas.microsoft.com/office/drawing/2014/main" id="{8C9BC79A-1AA0-4E0B-A67B-8A9CA8102CE9}"/>
                  </a:ext>
                </a:extLst>
              </p:cNvPr>
              <p:cNvSpPr/>
              <p:nvPr/>
            </p:nvSpPr>
            <p:spPr>
              <a:xfrm>
                <a:off x="1010452" y="1144365"/>
                <a:ext cx="376916" cy="455685"/>
              </a:xfrm>
              <a:custGeom>
                <a:avLst/>
                <a:gdLst/>
                <a:ahLst/>
                <a:cxnLst/>
                <a:rect l="l" t="t" r="r" b="b"/>
                <a:pathLst>
                  <a:path w="438274" h="529866" extrusionOk="0">
                    <a:moveTo>
                      <a:pt x="42669" y="358775"/>
                    </a:moveTo>
                    <a:cubicBezTo>
                      <a:pt x="32509" y="365760"/>
                      <a:pt x="24889" y="370840"/>
                      <a:pt x="16634" y="376555"/>
                    </a:cubicBezTo>
                    <a:cubicBezTo>
                      <a:pt x="759" y="367030"/>
                      <a:pt x="-511" y="353060"/>
                      <a:pt x="124" y="337820"/>
                    </a:cubicBezTo>
                    <a:cubicBezTo>
                      <a:pt x="25524" y="336550"/>
                      <a:pt x="44574" y="340360"/>
                      <a:pt x="69339" y="353060"/>
                    </a:cubicBezTo>
                    <a:cubicBezTo>
                      <a:pt x="81404" y="349250"/>
                      <a:pt x="94739" y="345440"/>
                      <a:pt x="107439" y="340995"/>
                    </a:cubicBezTo>
                    <a:cubicBezTo>
                      <a:pt x="139189" y="224155"/>
                      <a:pt x="129029" y="254000"/>
                      <a:pt x="172209" y="186055"/>
                    </a:cubicBezTo>
                    <a:cubicBezTo>
                      <a:pt x="136014" y="133985"/>
                      <a:pt x="101089" y="64770"/>
                      <a:pt x="130934" y="0"/>
                    </a:cubicBezTo>
                    <a:cubicBezTo>
                      <a:pt x="181099" y="8255"/>
                      <a:pt x="230629" y="101600"/>
                      <a:pt x="237614" y="151130"/>
                    </a:cubicBezTo>
                    <a:cubicBezTo>
                      <a:pt x="282699" y="160020"/>
                      <a:pt x="330324" y="148590"/>
                      <a:pt x="366519" y="186055"/>
                    </a:cubicBezTo>
                    <a:cubicBezTo>
                      <a:pt x="391284" y="211455"/>
                      <a:pt x="430654" y="226695"/>
                      <a:pt x="438274" y="264795"/>
                    </a:cubicBezTo>
                    <a:cubicBezTo>
                      <a:pt x="363344" y="320040"/>
                      <a:pt x="256029" y="259080"/>
                      <a:pt x="195704" y="205740"/>
                    </a:cubicBezTo>
                    <a:cubicBezTo>
                      <a:pt x="153794" y="228600"/>
                      <a:pt x="141094" y="292100"/>
                      <a:pt x="136649" y="332740"/>
                    </a:cubicBezTo>
                    <a:cubicBezTo>
                      <a:pt x="143634" y="339090"/>
                      <a:pt x="151889" y="345440"/>
                      <a:pt x="160779" y="353060"/>
                    </a:cubicBezTo>
                    <a:cubicBezTo>
                      <a:pt x="169669" y="349885"/>
                      <a:pt x="178559" y="346075"/>
                      <a:pt x="188084" y="342900"/>
                    </a:cubicBezTo>
                    <a:cubicBezTo>
                      <a:pt x="193799" y="347345"/>
                      <a:pt x="199514" y="351790"/>
                      <a:pt x="205864" y="357505"/>
                    </a:cubicBezTo>
                    <a:cubicBezTo>
                      <a:pt x="238249" y="346710"/>
                      <a:pt x="275079" y="366395"/>
                      <a:pt x="310004" y="365125"/>
                    </a:cubicBezTo>
                    <a:cubicBezTo>
                      <a:pt x="348104" y="407670"/>
                      <a:pt x="245869" y="379095"/>
                      <a:pt x="227454" y="375285"/>
                    </a:cubicBezTo>
                    <a:cubicBezTo>
                      <a:pt x="220469" y="379095"/>
                      <a:pt x="212849" y="384175"/>
                      <a:pt x="203959" y="388620"/>
                    </a:cubicBezTo>
                    <a:cubicBezTo>
                      <a:pt x="196974" y="386080"/>
                      <a:pt x="188719" y="381000"/>
                      <a:pt x="184274" y="375920"/>
                    </a:cubicBezTo>
                    <a:cubicBezTo>
                      <a:pt x="167129" y="374650"/>
                      <a:pt x="151889" y="373380"/>
                      <a:pt x="134744" y="372110"/>
                    </a:cubicBezTo>
                    <a:cubicBezTo>
                      <a:pt x="134744" y="381000"/>
                      <a:pt x="139189" y="389890"/>
                      <a:pt x="145539" y="395605"/>
                    </a:cubicBezTo>
                    <a:cubicBezTo>
                      <a:pt x="186179" y="433070"/>
                      <a:pt x="166494" y="499110"/>
                      <a:pt x="128394" y="528955"/>
                    </a:cubicBezTo>
                    <a:cubicBezTo>
                      <a:pt x="69974" y="541020"/>
                      <a:pt x="67434" y="429895"/>
                      <a:pt x="99819" y="396875"/>
                    </a:cubicBezTo>
                    <a:cubicBezTo>
                      <a:pt x="113154" y="386715"/>
                      <a:pt x="109979" y="361315"/>
                      <a:pt x="90294" y="370205"/>
                    </a:cubicBezTo>
                    <a:cubicBezTo>
                      <a:pt x="71244" y="380365"/>
                      <a:pt x="57909" y="368300"/>
                      <a:pt x="42669" y="358775"/>
                    </a:cubicBezTo>
                    <a:close/>
                    <a:moveTo>
                      <a:pt x="111884" y="481965"/>
                    </a:moveTo>
                    <a:cubicBezTo>
                      <a:pt x="107439" y="512445"/>
                      <a:pt x="133474" y="506095"/>
                      <a:pt x="111249" y="482600"/>
                    </a:cubicBezTo>
                    <a:cubicBezTo>
                      <a:pt x="110614" y="470535"/>
                      <a:pt x="109979" y="458470"/>
                      <a:pt x="108709" y="446405"/>
                    </a:cubicBezTo>
                    <a:cubicBezTo>
                      <a:pt x="105534" y="458470"/>
                      <a:pt x="99184" y="471805"/>
                      <a:pt x="111884" y="481965"/>
                    </a:cubicBezTo>
                    <a:close/>
                    <a:moveTo>
                      <a:pt x="200784" y="171450"/>
                    </a:moveTo>
                    <a:cubicBezTo>
                      <a:pt x="233804" y="126365"/>
                      <a:pt x="188084" y="57785"/>
                      <a:pt x="148079" y="34290"/>
                    </a:cubicBezTo>
                    <a:cubicBezTo>
                      <a:pt x="130934" y="70485"/>
                      <a:pt x="156334" y="168910"/>
                      <a:pt x="200784" y="171450"/>
                    </a:cubicBezTo>
                    <a:lnTo>
                      <a:pt x="200784" y="171450"/>
                    </a:lnTo>
                    <a:close/>
                    <a:moveTo>
                      <a:pt x="241424" y="220980"/>
                    </a:moveTo>
                    <a:lnTo>
                      <a:pt x="242059" y="219075"/>
                    </a:lnTo>
                    <a:lnTo>
                      <a:pt x="240154" y="220345"/>
                    </a:lnTo>
                    <a:cubicBezTo>
                      <a:pt x="289684" y="245110"/>
                      <a:pt x="363979" y="292100"/>
                      <a:pt x="412239" y="248920"/>
                    </a:cubicBezTo>
                    <a:cubicBezTo>
                      <a:pt x="370964" y="205740"/>
                      <a:pt x="304289" y="149860"/>
                      <a:pt x="243964" y="186690"/>
                    </a:cubicBezTo>
                    <a:cubicBezTo>
                      <a:pt x="269999" y="217170"/>
                      <a:pt x="344294" y="203835"/>
                      <a:pt x="353819" y="244475"/>
                    </a:cubicBezTo>
                    <a:cubicBezTo>
                      <a:pt x="318259" y="237490"/>
                      <a:pt x="280159" y="214630"/>
                      <a:pt x="241424" y="220980"/>
                    </a:cubicBezTo>
                    <a:close/>
                    <a:moveTo>
                      <a:pt x="139189" y="431165"/>
                    </a:moveTo>
                    <a:cubicBezTo>
                      <a:pt x="135379" y="450215"/>
                      <a:pt x="134744" y="450215"/>
                      <a:pt x="140459" y="465455"/>
                    </a:cubicBezTo>
                    <a:cubicBezTo>
                      <a:pt x="146809" y="453390"/>
                      <a:pt x="145539" y="443230"/>
                      <a:pt x="139189" y="431165"/>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0" name="Google Shape;140;p3">
                <a:extLst>
                  <a:ext uri="{FF2B5EF4-FFF2-40B4-BE49-F238E27FC236}">
                    <a16:creationId xmlns:a16="http://schemas.microsoft.com/office/drawing/2014/main" id="{75BFC764-F28D-40CD-A337-0DCD40399465}"/>
                  </a:ext>
                </a:extLst>
              </p:cNvPr>
              <p:cNvSpPr/>
              <p:nvPr/>
            </p:nvSpPr>
            <p:spPr>
              <a:xfrm>
                <a:off x="1151008" y="1222803"/>
                <a:ext cx="35003" cy="68520"/>
              </a:xfrm>
              <a:custGeom>
                <a:avLst/>
                <a:gdLst/>
                <a:ahLst/>
                <a:cxnLst/>
                <a:rect l="l" t="t" r="r" b="b"/>
                <a:pathLst>
                  <a:path w="40701" h="79674" extrusionOk="0">
                    <a:moveTo>
                      <a:pt x="38100" y="79674"/>
                    </a:moveTo>
                    <a:cubicBezTo>
                      <a:pt x="20320" y="56179"/>
                      <a:pt x="8255" y="30144"/>
                      <a:pt x="0" y="2840"/>
                    </a:cubicBezTo>
                    <a:cubicBezTo>
                      <a:pt x="24130" y="-16210"/>
                      <a:pt x="48895" y="66340"/>
                      <a:pt x="38100" y="79674"/>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35" name="Google Shape;141;p3">
              <a:extLst>
                <a:ext uri="{FF2B5EF4-FFF2-40B4-BE49-F238E27FC236}">
                  <a16:creationId xmlns:a16="http://schemas.microsoft.com/office/drawing/2014/main" id="{B47530CC-894E-4F4E-A9E1-811A9F54E060}"/>
                </a:ext>
              </a:extLst>
            </p:cNvPr>
            <p:cNvSpPr/>
            <p:nvPr/>
          </p:nvSpPr>
          <p:spPr>
            <a:xfrm rot="-1109260">
              <a:off x="7493180" y="3971096"/>
              <a:ext cx="396713" cy="402269"/>
            </a:xfrm>
            <a:custGeom>
              <a:avLst/>
              <a:gdLst/>
              <a:ahLst/>
              <a:cxnLst/>
              <a:rect l="l" t="t" r="r" b="b"/>
              <a:pathLst>
                <a:path w="461644" h="468109" extrusionOk="0">
                  <a:moveTo>
                    <a:pt x="313055" y="28998"/>
                  </a:moveTo>
                  <a:cubicBezTo>
                    <a:pt x="261620" y="-13547"/>
                    <a:pt x="187960" y="-4022"/>
                    <a:pt x="131445" y="23918"/>
                  </a:cubicBezTo>
                  <a:cubicBezTo>
                    <a:pt x="158750" y="209973"/>
                    <a:pt x="74295" y="277918"/>
                    <a:pt x="0" y="435398"/>
                  </a:cubicBezTo>
                  <a:cubicBezTo>
                    <a:pt x="26670" y="495088"/>
                    <a:pt x="107314" y="453178"/>
                    <a:pt x="158750" y="461433"/>
                  </a:cubicBezTo>
                  <a:cubicBezTo>
                    <a:pt x="257810" y="439208"/>
                    <a:pt x="367664" y="470323"/>
                    <a:pt x="461645" y="435398"/>
                  </a:cubicBezTo>
                  <a:cubicBezTo>
                    <a:pt x="369570" y="280458"/>
                    <a:pt x="297814" y="222038"/>
                    <a:pt x="313055" y="28998"/>
                  </a:cubicBezTo>
                  <a:close/>
                  <a:moveTo>
                    <a:pt x="270510" y="39158"/>
                  </a:moveTo>
                  <a:cubicBezTo>
                    <a:pt x="237489" y="54398"/>
                    <a:pt x="205105" y="51858"/>
                    <a:pt x="172085" y="38523"/>
                  </a:cubicBezTo>
                  <a:cubicBezTo>
                    <a:pt x="197485" y="14393"/>
                    <a:pt x="243205" y="16933"/>
                    <a:pt x="270510" y="39158"/>
                  </a:cubicBezTo>
                  <a:close/>
                  <a:moveTo>
                    <a:pt x="160655" y="63923"/>
                  </a:moveTo>
                  <a:cubicBezTo>
                    <a:pt x="203835" y="69638"/>
                    <a:pt x="242570" y="70273"/>
                    <a:pt x="287020" y="64558"/>
                  </a:cubicBezTo>
                  <a:cubicBezTo>
                    <a:pt x="301625" y="119803"/>
                    <a:pt x="283845" y="182033"/>
                    <a:pt x="306070" y="232833"/>
                  </a:cubicBezTo>
                  <a:cubicBezTo>
                    <a:pt x="314325" y="244898"/>
                    <a:pt x="330835" y="258868"/>
                    <a:pt x="321310" y="274743"/>
                  </a:cubicBezTo>
                  <a:cubicBezTo>
                    <a:pt x="258445" y="376978"/>
                    <a:pt x="194310" y="273473"/>
                    <a:pt x="116839" y="281728"/>
                  </a:cubicBezTo>
                  <a:cubicBezTo>
                    <a:pt x="172085" y="168063"/>
                    <a:pt x="155575" y="180763"/>
                    <a:pt x="160655" y="63923"/>
                  </a:cubicBezTo>
                  <a:close/>
                  <a:moveTo>
                    <a:pt x="350520" y="430318"/>
                  </a:moveTo>
                  <a:cubicBezTo>
                    <a:pt x="243839" y="425238"/>
                    <a:pt x="137795" y="444923"/>
                    <a:pt x="31750" y="441113"/>
                  </a:cubicBezTo>
                  <a:cubicBezTo>
                    <a:pt x="123189" y="141393"/>
                    <a:pt x="212089" y="450003"/>
                    <a:pt x="340360" y="284903"/>
                  </a:cubicBezTo>
                  <a:cubicBezTo>
                    <a:pt x="373380" y="329353"/>
                    <a:pt x="400685" y="368088"/>
                    <a:pt x="425450" y="415713"/>
                  </a:cubicBezTo>
                  <a:cubicBezTo>
                    <a:pt x="418464" y="425238"/>
                    <a:pt x="368935" y="431588"/>
                    <a:pt x="350520" y="430318"/>
                  </a:cubicBezTo>
                  <a:close/>
                  <a:moveTo>
                    <a:pt x="275589" y="413173"/>
                  </a:moveTo>
                  <a:cubicBezTo>
                    <a:pt x="280670" y="396663"/>
                    <a:pt x="275589" y="382058"/>
                    <a:pt x="274320" y="363643"/>
                  </a:cubicBezTo>
                  <a:cubicBezTo>
                    <a:pt x="203200" y="347768"/>
                    <a:pt x="209550" y="449368"/>
                    <a:pt x="275589" y="413173"/>
                  </a:cubicBezTo>
                  <a:close/>
                  <a:moveTo>
                    <a:pt x="250189" y="403648"/>
                  </a:moveTo>
                  <a:cubicBezTo>
                    <a:pt x="236855" y="403013"/>
                    <a:pt x="242570" y="390313"/>
                    <a:pt x="252095" y="387773"/>
                  </a:cubicBezTo>
                  <a:cubicBezTo>
                    <a:pt x="264160" y="389678"/>
                    <a:pt x="259714" y="403013"/>
                    <a:pt x="250189" y="403648"/>
                  </a:cubicBezTo>
                  <a:close/>
                  <a:moveTo>
                    <a:pt x="160020" y="336338"/>
                  </a:moveTo>
                  <a:cubicBezTo>
                    <a:pt x="121920" y="334433"/>
                    <a:pt x="120014" y="387138"/>
                    <a:pt x="158750" y="385233"/>
                  </a:cubicBezTo>
                  <a:cubicBezTo>
                    <a:pt x="191770" y="387773"/>
                    <a:pt x="194310" y="335703"/>
                    <a:pt x="160020" y="336338"/>
                  </a:cubicBezTo>
                  <a:close/>
                  <a:moveTo>
                    <a:pt x="153035" y="363008"/>
                  </a:moveTo>
                  <a:cubicBezTo>
                    <a:pt x="160020" y="361103"/>
                    <a:pt x="163830" y="354118"/>
                    <a:pt x="167639" y="365548"/>
                  </a:cubicBezTo>
                  <a:cubicBezTo>
                    <a:pt x="161289" y="366183"/>
                    <a:pt x="155575" y="370628"/>
                    <a:pt x="153035" y="363008"/>
                  </a:cubicBezTo>
                  <a:close/>
                  <a:moveTo>
                    <a:pt x="235585" y="262678"/>
                  </a:moveTo>
                  <a:cubicBezTo>
                    <a:pt x="268605" y="265218"/>
                    <a:pt x="281305" y="215053"/>
                    <a:pt x="240030" y="211243"/>
                  </a:cubicBezTo>
                  <a:cubicBezTo>
                    <a:pt x="203200" y="206798"/>
                    <a:pt x="203835" y="257598"/>
                    <a:pt x="235585" y="262678"/>
                  </a:cubicBezTo>
                  <a:close/>
                  <a:moveTo>
                    <a:pt x="248285" y="235373"/>
                  </a:moveTo>
                  <a:cubicBezTo>
                    <a:pt x="242570" y="240453"/>
                    <a:pt x="237489" y="246803"/>
                    <a:pt x="232410" y="238548"/>
                  </a:cubicBezTo>
                  <a:cubicBezTo>
                    <a:pt x="231139" y="228388"/>
                    <a:pt x="240664" y="230293"/>
                    <a:pt x="248285" y="235373"/>
                  </a:cubicBezTo>
                  <a:close/>
                  <a:moveTo>
                    <a:pt x="224155" y="133138"/>
                  </a:moveTo>
                  <a:cubicBezTo>
                    <a:pt x="224789" y="115993"/>
                    <a:pt x="196214" y="108373"/>
                    <a:pt x="193675" y="129328"/>
                  </a:cubicBezTo>
                  <a:cubicBezTo>
                    <a:pt x="190500" y="154093"/>
                    <a:pt x="222250" y="155998"/>
                    <a:pt x="224155" y="133138"/>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6" name="Google Shape;142;p3">
              <a:extLst>
                <a:ext uri="{FF2B5EF4-FFF2-40B4-BE49-F238E27FC236}">
                  <a16:creationId xmlns:a16="http://schemas.microsoft.com/office/drawing/2014/main" id="{BFFDEA78-7890-4D70-AE9F-F38D5F43582C}"/>
                </a:ext>
              </a:extLst>
            </p:cNvPr>
            <p:cNvSpPr/>
            <p:nvPr/>
          </p:nvSpPr>
          <p:spPr>
            <a:xfrm>
              <a:off x="6255960" y="791694"/>
              <a:ext cx="453103" cy="511439"/>
            </a:xfrm>
            <a:custGeom>
              <a:avLst/>
              <a:gdLst/>
              <a:ahLst/>
              <a:cxnLst/>
              <a:rect l="l" t="t" r="r" b="b"/>
              <a:pathLst>
                <a:path w="526864" h="594697" extrusionOk="0">
                  <a:moveTo>
                    <a:pt x="476936" y="348155"/>
                  </a:moveTo>
                  <a:cubicBezTo>
                    <a:pt x="414706" y="390065"/>
                    <a:pt x="352476" y="373555"/>
                    <a:pt x="427406" y="306880"/>
                  </a:cubicBezTo>
                  <a:cubicBezTo>
                    <a:pt x="588696" y="206550"/>
                    <a:pt x="435661" y="-15065"/>
                    <a:pt x="280086" y="810"/>
                  </a:cubicBezTo>
                  <a:cubicBezTo>
                    <a:pt x="137211" y="13510"/>
                    <a:pt x="14656" y="153845"/>
                    <a:pt x="51" y="293545"/>
                  </a:cubicBezTo>
                  <a:cubicBezTo>
                    <a:pt x="-3759" y="510080"/>
                    <a:pt x="205791" y="675815"/>
                    <a:pt x="402641" y="552625"/>
                  </a:cubicBezTo>
                  <a:cubicBezTo>
                    <a:pt x="461061" y="528495"/>
                    <a:pt x="601396" y="353870"/>
                    <a:pt x="476936" y="348155"/>
                  </a:cubicBezTo>
                  <a:close/>
                  <a:moveTo>
                    <a:pt x="205156" y="568500"/>
                  </a:moveTo>
                  <a:cubicBezTo>
                    <a:pt x="39421" y="529765"/>
                    <a:pt x="-27254" y="296085"/>
                    <a:pt x="67996" y="162735"/>
                  </a:cubicBezTo>
                  <a:cubicBezTo>
                    <a:pt x="139116" y="53515"/>
                    <a:pt x="294691" y="-44275"/>
                    <a:pt x="410896" y="59865"/>
                  </a:cubicBezTo>
                  <a:cubicBezTo>
                    <a:pt x="457251" y="97965"/>
                    <a:pt x="501066" y="170990"/>
                    <a:pt x="469316" y="230045"/>
                  </a:cubicBezTo>
                  <a:cubicBezTo>
                    <a:pt x="447726" y="280845"/>
                    <a:pt x="340411" y="315135"/>
                    <a:pt x="379146" y="376095"/>
                  </a:cubicBezTo>
                  <a:cubicBezTo>
                    <a:pt x="412801" y="414830"/>
                    <a:pt x="457886" y="371650"/>
                    <a:pt x="497256" y="369745"/>
                  </a:cubicBezTo>
                  <a:cubicBezTo>
                    <a:pt x="507416" y="503095"/>
                    <a:pt x="323901" y="594535"/>
                    <a:pt x="205156" y="568500"/>
                  </a:cubicBezTo>
                  <a:close/>
                  <a:moveTo>
                    <a:pt x="132766" y="332915"/>
                  </a:moveTo>
                  <a:cubicBezTo>
                    <a:pt x="154991" y="341805"/>
                    <a:pt x="200076" y="333550"/>
                    <a:pt x="181026" y="301165"/>
                  </a:cubicBezTo>
                  <a:cubicBezTo>
                    <a:pt x="172136" y="286560"/>
                    <a:pt x="167691" y="270050"/>
                    <a:pt x="172771" y="252270"/>
                  </a:cubicBezTo>
                  <a:cubicBezTo>
                    <a:pt x="176581" y="210995"/>
                    <a:pt x="122606" y="217345"/>
                    <a:pt x="95936" y="212900"/>
                  </a:cubicBezTo>
                  <a:cubicBezTo>
                    <a:pt x="30531" y="204645"/>
                    <a:pt x="20371" y="327200"/>
                    <a:pt x="76886" y="346885"/>
                  </a:cubicBezTo>
                  <a:cubicBezTo>
                    <a:pt x="96571" y="336090"/>
                    <a:pt x="109906" y="322755"/>
                    <a:pt x="132766" y="332915"/>
                  </a:cubicBezTo>
                  <a:close/>
                  <a:moveTo>
                    <a:pt x="283261" y="118920"/>
                  </a:moveTo>
                  <a:cubicBezTo>
                    <a:pt x="299771" y="35735"/>
                    <a:pt x="146101" y="25575"/>
                    <a:pt x="179756" y="118920"/>
                  </a:cubicBezTo>
                  <a:cubicBezTo>
                    <a:pt x="116256" y="200835"/>
                    <a:pt x="250241" y="230045"/>
                    <a:pt x="283261" y="118920"/>
                  </a:cubicBezTo>
                  <a:close/>
                  <a:moveTo>
                    <a:pt x="263576" y="96695"/>
                  </a:moveTo>
                  <a:cubicBezTo>
                    <a:pt x="261671" y="99870"/>
                    <a:pt x="260401" y="101775"/>
                    <a:pt x="259766" y="103045"/>
                  </a:cubicBezTo>
                  <a:cubicBezTo>
                    <a:pt x="249606" y="96060"/>
                    <a:pt x="253416" y="87170"/>
                    <a:pt x="263576" y="96695"/>
                  </a:cubicBezTo>
                  <a:close/>
                  <a:moveTo>
                    <a:pt x="229286" y="144320"/>
                  </a:moveTo>
                  <a:cubicBezTo>
                    <a:pt x="232461" y="131620"/>
                    <a:pt x="239446" y="126540"/>
                    <a:pt x="255321" y="121460"/>
                  </a:cubicBezTo>
                  <a:cubicBezTo>
                    <a:pt x="248336" y="136065"/>
                    <a:pt x="245161" y="146225"/>
                    <a:pt x="229286" y="144320"/>
                  </a:cubicBezTo>
                  <a:close/>
                  <a:moveTo>
                    <a:pt x="201346" y="404035"/>
                  </a:moveTo>
                  <a:cubicBezTo>
                    <a:pt x="199441" y="358315"/>
                    <a:pt x="131496" y="364030"/>
                    <a:pt x="106731" y="386890"/>
                  </a:cubicBezTo>
                  <a:cubicBezTo>
                    <a:pt x="81331" y="451660"/>
                    <a:pt x="128956" y="520240"/>
                    <a:pt x="190551" y="461185"/>
                  </a:cubicBezTo>
                  <a:cubicBezTo>
                    <a:pt x="208966" y="445945"/>
                    <a:pt x="200076" y="424355"/>
                    <a:pt x="201346" y="404035"/>
                  </a:cubicBezTo>
                  <a:close/>
                  <a:moveTo>
                    <a:pt x="424866" y="139875"/>
                  </a:moveTo>
                  <a:cubicBezTo>
                    <a:pt x="413436" y="53515"/>
                    <a:pt x="334696" y="68120"/>
                    <a:pt x="334061" y="151305"/>
                  </a:cubicBezTo>
                  <a:cubicBezTo>
                    <a:pt x="334061" y="216075"/>
                    <a:pt x="445821" y="205915"/>
                    <a:pt x="424866" y="139875"/>
                  </a:cubicBezTo>
                  <a:close/>
                  <a:moveTo>
                    <a:pt x="259131" y="467535"/>
                  </a:moveTo>
                  <a:cubicBezTo>
                    <a:pt x="194361" y="477060"/>
                    <a:pt x="205156" y="565960"/>
                    <a:pt x="274371" y="560880"/>
                  </a:cubicBezTo>
                  <a:cubicBezTo>
                    <a:pt x="332791" y="531035"/>
                    <a:pt x="342316" y="461185"/>
                    <a:pt x="259131" y="467535"/>
                  </a:cubicBezTo>
                  <a:close/>
                  <a:moveTo>
                    <a:pt x="410261" y="407210"/>
                  </a:moveTo>
                  <a:cubicBezTo>
                    <a:pt x="370891" y="406575"/>
                    <a:pt x="327711" y="466265"/>
                    <a:pt x="364541" y="497380"/>
                  </a:cubicBezTo>
                  <a:cubicBezTo>
                    <a:pt x="418516" y="538655"/>
                    <a:pt x="504876" y="406575"/>
                    <a:pt x="410261" y="407210"/>
                  </a:cubicBezTo>
                  <a:close/>
                  <a:moveTo>
                    <a:pt x="390576" y="483410"/>
                  </a:moveTo>
                  <a:cubicBezTo>
                    <a:pt x="351206" y="484680"/>
                    <a:pt x="389306" y="425625"/>
                    <a:pt x="413436" y="428165"/>
                  </a:cubicBezTo>
                  <a:cubicBezTo>
                    <a:pt x="455346" y="434515"/>
                    <a:pt x="410261" y="476425"/>
                    <a:pt x="390576" y="48341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7" name="Google Shape;143;p3">
              <a:extLst>
                <a:ext uri="{FF2B5EF4-FFF2-40B4-BE49-F238E27FC236}">
                  <a16:creationId xmlns:a16="http://schemas.microsoft.com/office/drawing/2014/main" id="{594D8DC3-1DC1-4C04-8D8B-12D29A61F2A4}"/>
                </a:ext>
              </a:extLst>
            </p:cNvPr>
            <p:cNvSpPr/>
            <p:nvPr/>
          </p:nvSpPr>
          <p:spPr>
            <a:xfrm rot="1799564">
              <a:off x="7155158" y="4556613"/>
              <a:ext cx="351219" cy="440001"/>
            </a:xfrm>
            <a:custGeom>
              <a:avLst/>
              <a:gdLst/>
              <a:ahLst/>
              <a:cxnLst/>
              <a:rect l="l" t="t" r="r" b="b"/>
              <a:pathLst>
                <a:path w="408305" h="511517" extrusionOk="0">
                  <a:moveTo>
                    <a:pt x="89536" y="14843"/>
                  </a:moveTo>
                  <a:cubicBezTo>
                    <a:pt x="68580" y="20558"/>
                    <a:pt x="76200" y="45323"/>
                    <a:pt x="70486" y="61198"/>
                  </a:cubicBezTo>
                  <a:cubicBezTo>
                    <a:pt x="48261" y="207248"/>
                    <a:pt x="12700" y="352663"/>
                    <a:pt x="0" y="499348"/>
                  </a:cubicBezTo>
                  <a:cubicBezTo>
                    <a:pt x="80011" y="540623"/>
                    <a:pt x="333375" y="470138"/>
                    <a:pt x="377190" y="389493"/>
                  </a:cubicBezTo>
                  <a:cubicBezTo>
                    <a:pt x="321945" y="291068"/>
                    <a:pt x="245111" y="207248"/>
                    <a:pt x="178436" y="117078"/>
                  </a:cubicBezTo>
                  <a:cubicBezTo>
                    <a:pt x="146050" y="88503"/>
                    <a:pt x="130811" y="26273"/>
                    <a:pt x="89536" y="14843"/>
                  </a:cubicBezTo>
                  <a:close/>
                  <a:moveTo>
                    <a:pt x="344805" y="390763"/>
                  </a:moveTo>
                  <a:cubicBezTo>
                    <a:pt x="313055" y="461248"/>
                    <a:pt x="111761" y="499348"/>
                    <a:pt x="36830" y="494268"/>
                  </a:cubicBezTo>
                  <a:cubicBezTo>
                    <a:pt x="33655" y="423148"/>
                    <a:pt x="287655" y="318373"/>
                    <a:pt x="344805" y="390763"/>
                  </a:cubicBezTo>
                  <a:close/>
                  <a:moveTo>
                    <a:pt x="184150" y="362188"/>
                  </a:moveTo>
                  <a:cubicBezTo>
                    <a:pt x="176530" y="351393"/>
                    <a:pt x="170180" y="341868"/>
                    <a:pt x="161290" y="329803"/>
                  </a:cubicBezTo>
                  <a:cubicBezTo>
                    <a:pt x="150495" y="343773"/>
                    <a:pt x="154305" y="353933"/>
                    <a:pt x="156211" y="369808"/>
                  </a:cubicBezTo>
                  <a:cubicBezTo>
                    <a:pt x="114300" y="394573"/>
                    <a:pt x="70486" y="415528"/>
                    <a:pt x="33655" y="447913"/>
                  </a:cubicBezTo>
                  <a:cubicBezTo>
                    <a:pt x="18415" y="439023"/>
                    <a:pt x="32386" y="417433"/>
                    <a:pt x="31750" y="403463"/>
                  </a:cubicBezTo>
                  <a:cubicBezTo>
                    <a:pt x="55880" y="288528"/>
                    <a:pt x="65405" y="170418"/>
                    <a:pt x="95886" y="57388"/>
                  </a:cubicBezTo>
                  <a:cubicBezTo>
                    <a:pt x="111125" y="52308"/>
                    <a:pt x="112395" y="68183"/>
                    <a:pt x="118111" y="78978"/>
                  </a:cubicBezTo>
                  <a:cubicBezTo>
                    <a:pt x="111761" y="80883"/>
                    <a:pt x="104775" y="82153"/>
                    <a:pt x="97155" y="84693"/>
                  </a:cubicBezTo>
                  <a:cubicBezTo>
                    <a:pt x="99695" y="98663"/>
                    <a:pt x="100330" y="123428"/>
                    <a:pt x="120015" y="112633"/>
                  </a:cubicBezTo>
                  <a:cubicBezTo>
                    <a:pt x="121286" y="104378"/>
                    <a:pt x="123190" y="96123"/>
                    <a:pt x="124461" y="87233"/>
                  </a:cubicBezTo>
                  <a:cubicBezTo>
                    <a:pt x="189230" y="173593"/>
                    <a:pt x="263525" y="252968"/>
                    <a:pt x="317500" y="346948"/>
                  </a:cubicBezTo>
                  <a:cubicBezTo>
                    <a:pt x="271780" y="346313"/>
                    <a:pt x="229870" y="353933"/>
                    <a:pt x="184150" y="362188"/>
                  </a:cubicBezTo>
                  <a:close/>
                  <a:moveTo>
                    <a:pt x="326390" y="268208"/>
                  </a:moveTo>
                  <a:cubicBezTo>
                    <a:pt x="326390" y="285988"/>
                    <a:pt x="349250" y="302498"/>
                    <a:pt x="354330" y="321548"/>
                  </a:cubicBezTo>
                  <a:cubicBezTo>
                    <a:pt x="360680" y="330438"/>
                    <a:pt x="370205" y="339328"/>
                    <a:pt x="382270" y="330438"/>
                  </a:cubicBezTo>
                  <a:cubicBezTo>
                    <a:pt x="373380" y="307578"/>
                    <a:pt x="350520" y="297418"/>
                    <a:pt x="344805" y="272018"/>
                  </a:cubicBezTo>
                  <a:cubicBezTo>
                    <a:pt x="341630" y="264398"/>
                    <a:pt x="332740" y="265033"/>
                    <a:pt x="326390" y="268208"/>
                  </a:cubicBezTo>
                  <a:close/>
                  <a:moveTo>
                    <a:pt x="160020" y="26908"/>
                  </a:moveTo>
                  <a:cubicBezTo>
                    <a:pt x="147320" y="1508"/>
                    <a:pt x="137161" y="-8652"/>
                    <a:pt x="119380" y="8493"/>
                  </a:cubicBezTo>
                  <a:cubicBezTo>
                    <a:pt x="132715" y="18653"/>
                    <a:pt x="144145" y="46593"/>
                    <a:pt x="160020" y="26908"/>
                  </a:cubicBezTo>
                  <a:close/>
                  <a:moveTo>
                    <a:pt x="280670" y="188198"/>
                  </a:moveTo>
                  <a:cubicBezTo>
                    <a:pt x="285115" y="164068"/>
                    <a:pt x="281305" y="158353"/>
                    <a:pt x="252730" y="155813"/>
                  </a:cubicBezTo>
                  <a:cubicBezTo>
                    <a:pt x="259080" y="172323"/>
                    <a:pt x="266700" y="182483"/>
                    <a:pt x="280670" y="188198"/>
                  </a:cubicBezTo>
                  <a:close/>
                  <a:moveTo>
                    <a:pt x="245111" y="131683"/>
                  </a:moveTo>
                  <a:cubicBezTo>
                    <a:pt x="254636" y="116443"/>
                    <a:pt x="235586" y="105648"/>
                    <a:pt x="218440" y="110093"/>
                  </a:cubicBezTo>
                  <a:cubicBezTo>
                    <a:pt x="226061" y="126603"/>
                    <a:pt x="231775" y="138033"/>
                    <a:pt x="245111" y="131683"/>
                  </a:cubicBezTo>
                  <a:close/>
                  <a:moveTo>
                    <a:pt x="290830" y="209788"/>
                  </a:moveTo>
                  <a:cubicBezTo>
                    <a:pt x="284480" y="219313"/>
                    <a:pt x="295275" y="227568"/>
                    <a:pt x="300990" y="234553"/>
                  </a:cubicBezTo>
                  <a:cubicBezTo>
                    <a:pt x="328295" y="239633"/>
                    <a:pt x="310515" y="205343"/>
                    <a:pt x="290830" y="209788"/>
                  </a:cubicBezTo>
                  <a:close/>
                  <a:moveTo>
                    <a:pt x="202565" y="76438"/>
                  </a:moveTo>
                  <a:cubicBezTo>
                    <a:pt x="202565" y="63103"/>
                    <a:pt x="183515" y="56118"/>
                    <a:pt x="176530" y="65643"/>
                  </a:cubicBezTo>
                  <a:cubicBezTo>
                    <a:pt x="174625" y="77708"/>
                    <a:pt x="193040" y="87233"/>
                    <a:pt x="202565" y="76438"/>
                  </a:cubicBezTo>
                  <a:close/>
                  <a:moveTo>
                    <a:pt x="389890" y="366633"/>
                  </a:moveTo>
                  <a:cubicBezTo>
                    <a:pt x="393700" y="375523"/>
                    <a:pt x="399415" y="371078"/>
                    <a:pt x="408305" y="366633"/>
                  </a:cubicBezTo>
                  <a:cubicBezTo>
                    <a:pt x="398145" y="357743"/>
                    <a:pt x="395605" y="355838"/>
                    <a:pt x="389890" y="366633"/>
                  </a:cubicBezTo>
                  <a:close/>
                  <a:moveTo>
                    <a:pt x="119380" y="157718"/>
                  </a:moveTo>
                  <a:cubicBezTo>
                    <a:pt x="102870" y="164703"/>
                    <a:pt x="128905" y="203438"/>
                    <a:pt x="139700" y="179308"/>
                  </a:cubicBezTo>
                  <a:cubicBezTo>
                    <a:pt x="134620" y="170418"/>
                    <a:pt x="132715" y="155178"/>
                    <a:pt x="119380" y="157718"/>
                  </a:cubicBezTo>
                  <a:close/>
                  <a:moveTo>
                    <a:pt x="146686" y="244078"/>
                  </a:moveTo>
                  <a:cubicBezTo>
                    <a:pt x="157480" y="238998"/>
                    <a:pt x="151130" y="216773"/>
                    <a:pt x="139700" y="214868"/>
                  </a:cubicBezTo>
                  <a:cubicBezTo>
                    <a:pt x="126365" y="219313"/>
                    <a:pt x="131445" y="247888"/>
                    <a:pt x="146686" y="244078"/>
                  </a:cubicBezTo>
                  <a:close/>
                  <a:moveTo>
                    <a:pt x="142875" y="287258"/>
                  </a:moveTo>
                  <a:cubicBezTo>
                    <a:pt x="142875" y="305673"/>
                    <a:pt x="164465" y="305673"/>
                    <a:pt x="163195" y="289798"/>
                  </a:cubicBezTo>
                  <a:cubicBezTo>
                    <a:pt x="161290" y="275828"/>
                    <a:pt x="147320" y="277098"/>
                    <a:pt x="142875" y="287258"/>
                  </a:cubicBezTo>
                  <a:close/>
                  <a:moveTo>
                    <a:pt x="172086" y="402193"/>
                  </a:moveTo>
                  <a:cubicBezTo>
                    <a:pt x="160655" y="407908"/>
                    <a:pt x="168911" y="423783"/>
                    <a:pt x="180975" y="426323"/>
                  </a:cubicBezTo>
                  <a:cubicBezTo>
                    <a:pt x="191136" y="415528"/>
                    <a:pt x="185420" y="402193"/>
                    <a:pt x="172086" y="402193"/>
                  </a:cubicBezTo>
                  <a:close/>
                  <a:moveTo>
                    <a:pt x="187961" y="447913"/>
                  </a:moveTo>
                  <a:cubicBezTo>
                    <a:pt x="184786" y="451088"/>
                    <a:pt x="182245" y="453628"/>
                    <a:pt x="180340" y="456168"/>
                  </a:cubicBezTo>
                  <a:cubicBezTo>
                    <a:pt x="187961" y="468868"/>
                    <a:pt x="201930" y="458073"/>
                    <a:pt x="187961" y="447913"/>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8" name="Google Shape;144;p3">
              <a:extLst>
                <a:ext uri="{FF2B5EF4-FFF2-40B4-BE49-F238E27FC236}">
                  <a16:creationId xmlns:a16="http://schemas.microsoft.com/office/drawing/2014/main" id="{81F1ED35-B550-4F73-8A0D-BB1EA8636792}"/>
                </a:ext>
              </a:extLst>
            </p:cNvPr>
            <p:cNvSpPr/>
            <p:nvPr/>
          </p:nvSpPr>
          <p:spPr>
            <a:xfrm>
              <a:off x="7413193" y="740389"/>
              <a:ext cx="289739" cy="456235"/>
            </a:xfrm>
            <a:custGeom>
              <a:avLst/>
              <a:gdLst/>
              <a:ahLst/>
              <a:cxnLst/>
              <a:rect l="l" t="t" r="r" b="b"/>
              <a:pathLst>
                <a:path w="336906" h="530506" extrusionOk="0">
                  <a:moveTo>
                    <a:pt x="136525" y="96168"/>
                  </a:moveTo>
                  <a:cubicBezTo>
                    <a:pt x="113030" y="223803"/>
                    <a:pt x="24130" y="329848"/>
                    <a:pt x="0" y="458118"/>
                  </a:cubicBezTo>
                  <a:cubicBezTo>
                    <a:pt x="60960" y="713388"/>
                    <a:pt x="264795" y="217453"/>
                    <a:pt x="278765" y="141253"/>
                  </a:cubicBezTo>
                  <a:cubicBezTo>
                    <a:pt x="291465" y="75213"/>
                    <a:pt x="152400" y="18698"/>
                    <a:pt x="136525" y="96168"/>
                  </a:cubicBezTo>
                  <a:close/>
                  <a:moveTo>
                    <a:pt x="69850" y="504473"/>
                  </a:moveTo>
                  <a:cubicBezTo>
                    <a:pt x="-16510" y="531778"/>
                    <a:pt x="43815" y="378743"/>
                    <a:pt x="63500" y="342548"/>
                  </a:cubicBezTo>
                  <a:cubicBezTo>
                    <a:pt x="111760" y="336833"/>
                    <a:pt x="138430" y="339373"/>
                    <a:pt x="164465" y="352073"/>
                  </a:cubicBezTo>
                  <a:cubicBezTo>
                    <a:pt x="137795" y="404778"/>
                    <a:pt x="107315" y="458753"/>
                    <a:pt x="69850" y="504473"/>
                  </a:cubicBezTo>
                  <a:close/>
                  <a:moveTo>
                    <a:pt x="182245" y="318418"/>
                  </a:moveTo>
                  <a:cubicBezTo>
                    <a:pt x="149860" y="327308"/>
                    <a:pt x="116205" y="321593"/>
                    <a:pt x="80645" y="319053"/>
                  </a:cubicBezTo>
                  <a:cubicBezTo>
                    <a:pt x="100330" y="253013"/>
                    <a:pt x="133350" y="192053"/>
                    <a:pt x="159385" y="127918"/>
                  </a:cubicBezTo>
                  <a:cubicBezTo>
                    <a:pt x="189230" y="139348"/>
                    <a:pt x="217170" y="150143"/>
                    <a:pt x="245110" y="161573"/>
                  </a:cubicBezTo>
                  <a:cubicBezTo>
                    <a:pt x="244475" y="190148"/>
                    <a:pt x="216535" y="259998"/>
                    <a:pt x="182245" y="318418"/>
                  </a:cubicBezTo>
                  <a:close/>
                  <a:moveTo>
                    <a:pt x="248285" y="134268"/>
                  </a:moveTo>
                  <a:cubicBezTo>
                    <a:pt x="222885" y="140618"/>
                    <a:pt x="121920" y="93628"/>
                    <a:pt x="187960" y="80928"/>
                  </a:cubicBezTo>
                  <a:cubicBezTo>
                    <a:pt x="208915" y="83468"/>
                    <a:pt x="281940" y="105693"/>
                    <a:pt x="248285" y="134268"/>
                  </a:cubicBezTo>
                  <a:close/>
                  <a:moveTo>
                    <a:pt x="295275" y="283"/>
                  </a:moveTo>
                  <a:cubicBezTo>
                    <a:pt x="224155" y="-6067"/>
                    <a:pt x="259715" y="96803"/>
                    <a:pt x="311785" y="73308"/>
                  </a:cubicBezTo>
                  <a:cubicBezTo>
                    <a:pt x="353695" y="53623"/>
                    <a:pt x="339725" y="-1622"/>
                    <a:pt x="295275" y="283"/>
                  </a:cubicBezTo>
                  <a:close/>
                  <a:moveTo>
                    <a:pt x="274320" y="30763"/>
                  </a:moveTo>
                  <a:cubicBezTo>
                    <a:pt x="290830" y="26318"/>
                    <a:pt x="303530" y="14253"/>
                    <a:pt x="317500" y="26318"/>
                  </a:cubicBezTo>
                  <a:cubicBezTo>
                    <a:pt x="329565" y="56163"/>
                    <a:pt x="273685" y="75848"/>
                    <a:pt x="274320" y="30763"/>
                  </a:cubicBezTo>
                  <a:close/>
                  <a:moveTo>
                    <a:pt x="210820" y="187608"/>
                  </a:moveTo>
                  <a:cubicBezTo>
                    <a:pt x="212090" y="151413"/>
                    <a:pt x="158115" y="146333"/>
                    <a:pt x="156210" y="186338"/>
                  </a:cubicBezTo>
                  <a:cubicBezTo>
                    <a:pt x="155575" y="216183"/>
                    <a:pt x="209550" y="217453"/>
                    <a:pt x="210820" y="187608"/>
                  </a:cubicBezTo>
                  <a:close/>
                  <a:moveTo>
                    <a:pt x="187960" y="180623"/>
                  </a:moveTo>
                  <a:cubicBezTo>
                    <a:pt x="193040" y="185068"/>
                    <a:pt x="189230" y="186973"/>
                    <a:pt x="186055" y="190783"/>
                  </a:cubicBezTo>
                  <a:cubicBezTo>
                    <a:pt x="179705" y="185068"/>
                    <a:pt x="183515" y="184433"/>
                    <a:pt x="187960" y="180623"/>
                  </a:cubicBezTo>
                  <a:close/>
                  <a:moveTo>
                    <a:pt x="167005" y="229518"/>
                  </a:moveTo>
                  <a:cubicBezTo>
                    <a:pt x="139700" y="230153"/>
                    <a:pt x="128270" y="275873"/>
                    <a:pt x="164465" y="276508"/>
                  </a:cubicBezTo>
                  <a:cubicBezTo>
                    <a:pt x="196215" y="277143"/>
                    <a:pt x="193675" y="232058"/>
                    <a:pt x="167005" y="229518"/>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9" name="Google Shape;145;p3">
              <a:extLst>
                <a:ext uri="{FF2B5EF4-FFF2-40B4-BE49-F238E27FC236}">
                  <a16:creationId xmlns:a16="http://schemas.microsoft.com/office/drawing/2014/main" id="{FCA7A200-8695-4433-80AB-6AD5C9BC8FB1}"/>
                </a:ext>
              </a:extLst>
            </p:cNvPr>
            <p:cNvSpPr/>
            <p:nvPr/>
          </p:nvSpPr>
          <p:spPr>
            <a:xfrm>
              <a:off x="7082287" y="-53997"/>
              <a:ext cx="602898" cy="641121"/>
            </a:xfrm>
            <a:custGeom>
              <a:avLst/>
              <a:gdLst/>
              <a:ahLst/>
              <a:cxnLst/>
              <a:rect l="l" t="t" r="r" b="b"/>
              <a:pathLst>
                <a:path w="701044" h="745490" extrusionOk="0">
                  <a:moveTo>
                    <a:pt x="690343" y="116840"/>
                  </a:moveTo>
                  <a:cubicBezTo>
                    <a:pt x="663037" y="55245"/>
                    <a:pt x="674468" y="90170"/>
                    <a:pt x="624302" y="72390"/>
                  </a:cubicBezTo>
                  <a:cubicBezTo>
                    <a:pt x="483968" y="55880"/>
                    <a:pt x="352522" y="0"/>
                    <a:pt x="209647" y="0"/>
                  </a:cubicBezTo>
                  <a:cubicBezTo>
                    <a:pt x="-38003" y="735330"/>
                    <a:pt x="-186592" y="579120"/>
                    <a:pt x="475712" y="745490"/>
                  </a:cubicBezTo>
                  <a:cubicBezTo>
                    <a:pt x="548102" y="622935"/>
                    <a:pt x="579218" y="475615"/>
                    <a:pt x="631922" y="342900"/>
                  </a:cubicBezTo>
                  <a:cubicBezTo>
                    <a:pt x="640812" y="299720"/>
                    <a:pt x="731618" y="134620"/>
                    <a:pt x="690343" y="116840"/>
                  </a:cubicBezTo>
                  <a:close/>
                  <a:moveTo>
                    <a:pt x="219172" y="41275"/>
                  </a:moveTo>
                  <a:cubicBezTo>
                    <a:pt x="230602" y="-11430"/>
                    <a:pt x="585568" y="92075"/>
                    <a:pt x="641447" y="107950"/>
                  </a:cubicBezTo>
                  <a:cubicBezTo>
                    <a:pt x="585568" y="295910"/>
                    <a:pt x="517622" y="479425"/>
                    <a:pt x="438247" y="658495"/>
                  </a:cubicBezTo>
                  <a:cubicBezTo>
                    <a:pt x="294102" y="639445"/>
                    <a:pt x="169643" y="583565"/>
                    <a:pt x="30577" y="553085"/>
                  </a:cubicBezTo>
                  <a:cubicBezTo>
                    <a:pt x="79472" y="377190"/>
                    <a:pt x="160118" y="213995"/>
                    <a:pt x="219172" y="41275"/>
                  </a:cubicBezTo>
                  <a:close/>
                  <a:moveTo>
                    <a:pt x="612872" y="333375"/>
                  </a:moveTo>
                  <a:cubicBezTo>
                    <a:pt x="569058" y="462280"/>
                    <a:pt x="518893" y="588010"/>
                    <a:pt x="469997" y="715645"/>
                  </a:cubicBezTo>
                  <a:cubicBezTo>
                    <a:pt x="320772" y="690245"/>
                    <a:pt x="174087" y="657860"/>
                    <a:pt x="30577" y="610235"/>
                  </a:cubicBezTo>
                  <a:cubicBezTo>
                    <a:pt x="24227" y="600710"/>
                    <a:pt x="22958" y="591820"/>
                    <a:pt x="30577" y="581660"/>
                  </a:cubicBezTo>
                  <a:cubicBezTo>
                    <a:pt x="151227" y="589915"/>
                    <a:pt x="265527" y="648335"/>
                    <a:pt x="384272" y="674370"/>
                  </a:cubicBezTo>
                  <a:cubicBezTo>
                    <a:pt x="461108" y="708025"/>
                    <a:pt x="464283" y="661035"/>
                    <a:pt x="487143" y="600710"/>
                  </a:cubicBezTo>
                  <a:cubicBezTo>
                    <a:pt x="563343" y="445770"/>
                    <a:pt x="599537" y="280035"/>
                    <a:pt x="664943" y="121920"/>
                  </a:cubicBezTo>
                  <a:cubicBezTo>
                    <a:pt x="691612" y="187960"/>
                    <a:pt x="622397" y="264795"/>
                    <a:pt x="612872" y="333375"/>
                  </a:cubicBezTo>
                  <a:close/>
                  <a:moveTo>
                    <a:pt x="533497" y="298450"/>
                  </a:moveTo>
                  <a:cubicBezTo>
                    <a:pt x="540483" y="255270"/>
                    <a:pt x="596362" y="196850"/>
                    <a:pt x="565883" y="157480"/>
                  </a:cubicBezTo>
                  <a:cubicBezTo>
                    <a:pt x="503018" y="130810"/>
                    <a:pt x="431262" y="120650"/>
                    <a:pt x="363952" y="105410"/>
                  </a:cubicBezTo>
                  <a:cubicBezTo>
                    <a:pt x="329662" y="93980"/>
                    <a:pt x="291562" y="78105"/>
                    <a:pt x="254733" y="90805"/>
                  </a:cubicBezTo>
                  <a:cubicBezTo>
                    <a:pt x="231872" y="146685"/>
                    <a:pt x="221712" y="208280"/>
                    <a:pt x="191233" y="264160"/>
                  </a:cubicBezTo>
                  <a:cubicBezTo>
                    <a:pt x="285847" y="318135"/>
                    <a:pt x="410308" y="321310"/>
                    <a:pt x="511908" y="368300"/>
                  </a:cubicBezTo>
                  <a:cubicBezTo>
                    <a:pt x="534768" y="354965"/>
                    <a:pt x="522702" y="320040"/>
                    <a:pt x="533497" y="298450"/>
                  </a:cubicBezTo>
                  <a:close/>
                  <a:moveTo>
                    <a:pt x="224252" y="257175"/>
                  </a:moveTo>
                  <a:cubicBezTo>
                    <a:pt x="268702" y="73025"/>
                    <a:pt x="257272" y="105410"/>
                    <a:pt x="427452" y="140335"/>
                  </a:cubicBezTo>
                  <a:cubicBezTo>
                    <a:pt x="619222" y="183515"/>
                    <a:pt x="536037" y="178435"/>
                    <a:pt x="504287" y="334010"/>
                  </a:cubicBezTo>
                  <a:cubicBezTo>
                    <a:pt x="408402" y="320040"/>
                    <a:pt x="312518" y="288290"/>
                    <a:pt x="224252" y="257175"/>
                  </a:cubicBezTo>
                  <a:close/>
                  <a:moveTo>
                    <a:pt x="297912" y="153670"/>
                  </a:moveTo>
                  <a:cubicBezTo>
                    <a:pt x="239493" y="175260"/>
                    <a:pt x="427452" y="197485"/>
                    <a:pt x="442693" y="207645"/>
                  </a:cubicBezTo>
                  <a:cubicBezTo>
                    <a:pt x="456662" y="171450"/>
                    <a:pt x="325218" y="168275"/>
                    <a:pt x="297912" y="153670"/>
                  </a:cubicBezTo>
                  <a:close/>
                  <a:moveTo>
                    <a:pt x="280768" y="226060"/>
                  </a:moveTo>
                  <a:cubicBezTo>
                    <a:pt x="305533" y="227965"/>
                    <a:pt x="325852" y="247650"/>
                    <a:pt x="348077" y="226695"/>
                  </a:cubicBezTo>
                  <a:cubicBezTo>
                    <a:pt x="327122" y="221615"/>
                    <a:pt x="259812" y="190500"/>
                    <a:pt x="280768" y="22606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0" name="Google Shape;146;p3">
              <a:extLst>
                <a:ext uri="{FF2B5EF4-FFF2-40B4-BE49-F238E27FC236}">
                  <a16:creationId xmlns:a16="http://schemas.microsoft.com/office/drawing/2014/main" id="{C35532D8-0C59-45DE-AEA2-EDF349D00105}"/>
                </a:ext>
              </a:extLst>
            </p:cNvPr>
            <p:cNvSpPr/>
            <p:nvPr/>
          </p:nvSpPr>
          <p:spPr>
            <a:xfrm>
              <a:off x="4981978" y="271723"/>
              <a:ext cx="738779" cy="460515"/>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1" name="Google Shape;147;p3">
              <a:extLst>
                <a:ext uri="{FF2B5EF4-FFF2-40B4-BE49-F238E27FC236}">
                  <a16:creationId xmlns:a16="http://schemas.microsoft.com/office/drawing/2014/main" id="{85AAC109-4491-463F-B14F-6FEBB7D58F80}"/>
                </a:ext>
              </a:extLst>
            </p:cNvPr>
            <p:cNvSpPr/>
            <p:nvPr/>
          </p:nvSpPr>
          <p:spPr>
            <a:xfrm rot="-1245048">
              <a:off x="7884626" y="2097617"/>
              <a:ext cx="363919" cy="537176"/>
            </a:xfrm>
            <a:custGeom>
              <a:avLst/>
              <a:gdLst/>
              <a:ahLst/>
              <a:cxnLst/>
              <a:rect l="l" t="t" r="r" b="b"/>
              <a:pathLst>
                <a:path w="422747" h="624012" extrusionOk="0">
                  <a:moveTo>
                    <a:pt x="410845" y="259621"/>
                  </a:moveTo>
                  <a:cubicBezTo>
                    <a:pt x="398145" y="183421"/>
                    <a:pt x="422275" y="81821"/>
                    <a:pt x="377825" y="18321"/>
                  </a:cubicBezTo>
                  <a:cubicBezTo>
                    <a:pt x="294640" y="-22319"/>
                    <a:pt x="191770" y="15781"/>
                    <a:pt x="103505" y="26576"/>
                  </a:cubicBezTo>
                  <a:cubicBezTo>
                    <a:pt x="76836" y="36101"/>
                    <a:pt x="38100" y="32291"/>
                    <a:pt x="17780" y="51976"/>
                  </a:cubicBezTo>
                  <a:cubicBezTo>
                    <a:pt x="17145" y="62771"/>
                    <a:pt x="5715" y="62771"/>
                    <a:pt x="0" y="72931"/>
                  </a:cubicBezTo>
                  <a:cubicBezTo>
                    <a:pt x="19686" y="229776"/>
                    <a:pt x="7620" y="389161"/>
                    <a:pt x="13970" y="547276"/>
                  </a:cubicBezTo>
                  <a:cubicBezTo>
                    <a:pt x="-6350" y="657766"/>
                    <a:pt x="162561" y="615856"/>
                    <a:pt x="227330" y="617761"/>
                  </a:cubicBezTo>
                  <a:cubicBezTo>
                    <a:pt x="270511" y="592361"/>
                    <a:pt x="426086" y="628556"/>
                    <a:pt x="422275" y="570771"/>
                  </a:cubicBezTo>
                  <a:cubicBezTo>
                    <a:pt x="424815" y="467266"/>
                    <a:pt x="416561" y="363126"/>
                    <a:pt x="410845" y="259621"/>
                  </a:cubicBezTo>
                  <a:close/>
                  <a:moveTo>
                    <a:pt x="353061" y="579026"/>
                  </a:moveTo>
                  <a:cubicBezTo>
                    <a:pt x="288925" y="577121"/>
                    <a:pt x="60961" y="637446"/>
                    <a:pt x="38736" y="575851"/>
                  </a:cubicBezTo>
                  <a:cubicBezTo>
                    <a:pt x="143511" y="579026"/>
                    <a:pt x="248286" y="572676"/>
                    <a:pt x="353061" y="574581"/>
                  </a:cubicBezTo>
                  <a:cubicBezTo>
                    <a:pt x="353061" y="575851"/>
                    <a:pt x="353061" y="577121"/>
                    <a:pt x="353061" y="579026"/>
                  </a:cubicBezTo>
                  <a:close/>
                  <a:moveTo>
                    <a:pt x="361315" y="547911"/>
                  </a:moveTo>
                  <a:cubicBezTo>
                    <a:pt x="252095" y="555531"/>
                    <a:pt x="144145" y="561881"/>
                    <a:pt x="35561" y="551086"/>
                  </a:cubicBezTo>
                  <a:cubicBezTo>
                    <a:pt x="39370" y="392971"/>
                    <a:pt x="33020" y="236761"/>
                    <a:pt x="27305" y="79281"/>
                  </a:cubicBezTo>
                  <a:cubicBezTo>
                    <a:pt x="112395" y="27846"/>
                    <a:pt x="231775" y="25941"/>
                    <a:pt x="329565" y="25941"/>
                  </a:cubicBezTo>
                  <a:cubicBezTo>
                    <a:pt x="369570" y="197391"/>
                    <a:pt x="365761" y="373286"/>
                    <a:pt x="361315" y="547911"/>
                  </a:cubicBezTo>
                  <a:close/>
                  <a:moveTo>
                    <a:pt x="377190" y="141511"/>
                  </a:moveTo>
                  <a:cubicBezTo>
                    <a:pt x="360045" y="110396"/>
                    <a:pt x="364490" y="76106"/>
                    <a:pt x="356870" y="41816"/>
                  </a:cubicBezTo>
                  <a:cubicBezTo>
                    <a:pt x="381000" y="13241"/>
                    <a:pt x="381000" y="121826"/>
                    <a:pt x="377190" y="141511"/>
                  </a:cubicBezTo>
                  <a:close/>
                  <a:moveTo>
                    <a:pt x="397511" y="544736"/>
                  </a:moveTo>
                  <a:cubicBezTo>
                    <a:pt x="372745" y="497746"/>
                    <a:pt x="394336" y="431071"/>
                    <a:pt x="387350" y="376461"/>
                  </a:cubicBezTo>
                  <a:cubicBezTo>
                    <a:pt x="401955" y="370746"/>
                    <a:pt x="402590" y="530766"/>
                    <a:pt x="397511" y="544736"/>
                  </a:cubicBezTo>
                  <a:close/>
                  <a:moveTo>
                    <a:pt x="302895" y="182786"/>
                  </a:moveTo>
                  <a:cubicBezTo>
                    <a:pt x="313690" y="183421"/>
                    <a:pt x="331470" y="173896"/>
                    <a:pt x="320675" y="162466"/>
                  </a:cubicBezTo>
                  <a:cubicBezTo>
                    <a:pt x="297180" y="138336"/>
                    <a:pt x="309880" y="104046"/>
                    <a:pt x="300355" y="74836"/>
                  </a:cubicBezTo>
                  <a:cubicBezTo>
                    <a:pt x="307340" y="35466"/>
                    <a:pt x="90170" y="76741"/>
                    <a:pt x="59690" y="81821"/>
                  </a:cubicBezTo>
                  <a:cubicBezTo>
                    <a:pt x="48261" y="119921"/>
                    <a:pt x="77470" y="152941"/>
                    <a:pt x="62865" y="194851"/>
                  </a:cubicBezTo>
                  <a:cubicBezTo>
                    <a:pt x="148590" y="206916"/>
                    <a:pt x="211455" y="177071"/>
                    <a:pt x="302895" y="182786"/>
                  </a:cubicBezTo>
                  <a:close/>
                  <a:moveTo>
                    <a:pt x="282575" y="83091"/>
                  </a:moveTo>
                  <a:cubicBezTo>
                    <a:pt x="292100" y="105316"/>
                    <a:pt x="287655" y="127541"/>
                    <a:pt x="290830" y="149131"/>
                  </a:cubicBezTo>
                  <a:cubicBezTo>
                    <a:pt x="227965" y="172626"/>
                    <a:pt x="154940" y="172626"/>
                    <a:pt x="87630" y="174531"/>
                  </a:cubicBezTo>
                  <a:cubicBezTo>
                    <a:pt x="75565" y="151671"/>
                    <a:pt x="83820" y="128176"/>
                    <a:pt x="72390" y="104046"/>
                  </a:cubicBezTo>
                  <a:cubicBezTo>
                    <a:pt x="140970" y="86266"/>
                    <a:pt x="212725" y="81821"/>
                    <a:pt x="282575" y="83091"/>
                  </a:cubicBezTo>
                  <a:close/>
                  <a:moveTo>
                    <a:pt x="274955" y="383446"/>
                  </a:moveTo>
                  <a:cubicBezTo>
                    <a:pt x="257811" y="411386"/>
                    <a:pt x="281305" y="441866"/>
                    <a:pt x="268605" y="477426"/>
                  </a:cubicBezTo>
                  <a:cubicBezTo>
                    <a:pt x="244475" y="452026"/>
                    <a:pt x="215900" y="479331"/>
                    <a:pt x="189865" y="461551"/>
                  </a:cubicBezTo>
                  <a:cubicBezTo>
                    <a:pt x="175261" y="454566"/>
                    <a:pt x="163195" y="458376"/>
                    <a:pt x="153036" y="471076"/>
                  </a:cubicBezTo>
                  <a:cubicBezTo>
                    <a:pt x="159386" y="509176"/>
                    <a:pt x="156845" y="525686"/>
                    <a:pt x="204470" y="518066"/>
                  </a:cubicBezTo>
                  <a:cubicBezTo>
                    <a:pt x="208280" y="509811"/>
                    <a:pt x="212725" y="500921"/>
                    <a:pt x="218440" y="490761"/>
                  </a:cubicBezTo>
                  <a:cubicBezTo>
                    <a:pt x="223520" y="501556"/>
                    <a:pt x="227330" y="510446"/>
                    <a:pt x="232411" y="521241"/>
                  </a:cubicBezTo>
                  <a:cubicBezTo>
                    <a:pt x="243840" y="517431"/>
                    <a:pt x="253365" y="513621"/>
                    <a:pt x="263525" y="510446"/>
                  </a:cubicBezTo>
                  <a:cubicBezTo>
                    <a:pt x="290195" y="526321"/>
                    <a:pt x="290195" y="526321"/>
                    <a:pt x="328295" y="509811"/>
                  </a:cubicBezTo>
                  <a:cubicBezTo>
                    <a:pt x="327661" y="468536"/>
                    <a:pt x="347345" y="349791"/>
                    <a:pt x="274955" y="383446"/>
                  </a:cubicBezTo>
                  <a:close/>
                  <a:moveTo>
                    <a:pt x="193040" y="500921"/>
                  </a:moveTo>
                  <a:cubicBezTo>
                    <a:pt x="177800" y="500921"/>
                    <a:pt x="173990" y="498381"/>
                    <a:pt x="173355" y="489491"/>
                  </a:cubicBezTo>
                  <a:cubicBezTo>
                    <a:pt x="176530" y="469806"/>
                    <a:pt x="203836" y="475521"/>
                    <a:pt x="193040" y="500921"/>
                  </a:cubicBezTo>
                  <a:close/>
                  <a:moveTo>
                    <a:pt x="309245" y="497111"/>
                  </a:moveTo>
                  <a:cubicBezTo>
                    <a:pt x="302261" y="498381"/>
                    <a:pt x="296545" y="499016"/>
                    <a:pt x="290830" y="499651"/>
                  </a:cubicBezTo>
                  <a:cubicBezTo>
                    <a:pt x="267970" y="379636"/>
                    <a:pt x="323215" y="357411"/>
                    <a:pt x="309245" y="497111"/>
                  </a:cubicBezTo>
                  <a:close/>
                  <a:moveTo>
                    <a:pt x="296545" y="210091"/>
                  </a:moveTo>
                  <a:cubicBezTo>
                    <a:pt x="233680" y="208186"/>
                    <a:pt x="267970" y="301531"/>
                    <a:pt x="319405" y="275496"/>
                  </a:cubicBezTo>
                  <a:cubicBezTo>
                    <a:pt x="336550" y="264066"/>
                    <a:pt x="332740" y="203741"/>
                    <a:pt x="296545" y="210091"/>
                  </a:cubicBezTo>
                  <a:close/>
                  <a:moveTo>
                    <a:pt x="297815" y="259621"/>
                  </a:moveTo>
                  <a:cubicBezTo>
                    <a:pt x="281940" y="260891"/>
                    <a:pt x="273050" y="230411"/>
                    <a:pt x="294640" y="229141"/>
                  </a:cubicBezTo>
                  <a:cubicBezTo>
                    <a:pt x="314961" y="225331"/>
                    <a:pt x="313690" y="259621"/>
                    <a:pt x="297815" y="259621"/>
                  </a:cubicBezTo>
                  <a:close/>
                  <a:moveTo>
                    <a:pt x="244475" y="359316"/>
                  </a:moveTo>
                  <a:cubicBezTo>
                    <a:pt x="244475" y="342171"/>
                    <a:pt x="245111" y="327566"/>
                    <a:pt x="244475" y="312961"/>
                  </a:cubicBezTo>
                  <a:cubicBezTo>
                    <a:pt x="243205" y="288196"/>
                    <a:pt x="198120" y="286926"/>
                    <a:pt x="201930" y="315501"/>
                  </a:cubicBezTo>
                  <a:cubicBezTo>
                    <a:pt x="203836" y="344076"/>
                    <a:pt x="207645" y="372651"/>
                    <a:pt x="244475" y="359316"/>
                  </a:cubicBezTo>
                  <a:close/>
                  <a:moveTo>
                    <a:pt x="89536" y="305976"/>
                  </a:moveTo>
                  <a:cubicBezTo>
                    <a:pt x="83186" y="326296"/>
                    <a:pt x="95886" y="344711"/>
                    <a:pt x="95250" y="365666"/>
                  </a:cubicBezTo>
                  <a:cubicBezTo>
                    <a:pt x="164465" y="385986"/>
                    <a:pt x="142240" y="276131"/>
                    <a:pt x="89536" y="305976"/>
                  </a:cubicBezTo>
                  <a:close/>
                  <a:moveTo>
                    <a:pt x="111125" y="321851"/>
                  </a:moveTo>
                  <a:cubicBezTo>
                    <a:pt x="123190" y="324391"/>
                    <a:pt x="117475" y="335186"/>
                    <a:pt x="118745" y="345346"/>
                  </a:cubicBezTo>
                  <a:cubicBezTo>
                    <a:pt x="105411" y="341536"/>
                    <a:pt x="100965" y="326931"/>
                    <a:pt x="111125" y="321851"/>
                  </a:cubicBezTo>
                  <a:close/>
                  <a:moveTo>
                    <a:pt x="136525" y="446946"/>
                  </a:moveTo>
                  <a:cubicBezTo>
                    <a:pt x="143511" y="375191"/>
                    <a:pt x="60961" y="365031"/>
                    <a:pt x="86995" y="447581"/>
                  </a:cubicBezTo>
                  <a:cubicBezTo>
                    <a:pt x="114300" y="460916"/>
                    <a:pt x="114300" y="460916"/>
                    <a:pt x="136525" y="446946"/>
                  </a:cubicBezTo>
                  <a:close/>
                  <a:moveTo>
                    <a:pt x="100330" y="420911"/>
                  </a:moveTo>
                  <a:cubicBezTo>
                    <a:pt x="104775" y="394876"/>
                    <a:pt x="135255" y="420276"/>
                    <a:pt x="120650" y="436151"/>
                  </a:cubicBezTo>
                  <a:cubicBezTo>
                    <a:pt x="109220" y="446946"/>
                    <a:pt x="99061" y="432976"/>
                    <a:pt x="100330" y="420911"/>
                  </a:cubicBezTo>
                  <a:close/>
                  <a:moveTo>
                    <a:pt x="195580" y="443136"/>
                  </a:moveTo>
                  <a:cubicBezTo>
                    <a:pt x="203200" y="439961"/>
                    <a:pt x="205105" y="432341"/>
                    <a:pt x="201295" y="418371"/>
                  </a:cubicBezTo>
                  <a:cubicBezTo>
                    <a:pt x="196850" y="387891"/>
                    <a:pt x="176530" y="387891"/>
                    <a:pt x="149861" y="392336"/>
                  </a:cubicBezTo>
                  <a:cubicBezTo>
                    <a:pt x="140336" y="422181"/>
                    <a:pt x="160655" y="461551"/>
                    <a:pt x="195580" y="443136"/>
                  </a:cubicBezTo>
                  <a:close/>
                  <a:moveTo>
                    <a:pt x="167640" y="418371"/>
                  </a:moveTo>
                  <a:cubicBezTo>
                    <a:pt x="172086" y="406306"/>
                    <a:pt x="187961" y="408846"/>
                    <a:pt x="187961" y="424086"/>
                  </a:cubicBezTo>
                  <a:cubicBezTo>
                    <a:pt x="182245" y="432341"/>
                    <a:pt x="165736" y="429801"/>
                    <a:pt x="167640" y="418371"/>
                  </a:cubicBezTo>
                  <a:close/>
                  <a:moveTo>
                    <a:pt x="153670" y="298356"/>
                  </a:moveTo>
                  <a:cubicBezTo>
                    <a:pt x="156211" y="323756"/>
                    <a:pt x="149861" y="351696"/>
                    <a:pt x="179705" y="368206"/>
                  </a:cubicBezTo>
                  <a:cubicBezTo>
                    <a:pt x="205105" y="341536"/>
                    <a:pt x="201930" y="284386"/>
                    <a:pt x="153670" y="298356"/>
                  </a:cubicBezTo>
                  <a:close/>
                  <a:moveTo>
                    <a:pt x="281940" y="293276"/>
                  </a:moveTo>
                  <a:cubicBezTo>
                    <a:pt x="253365" y="305341"/>
                    <a:pt x="274955" y="359951"/>
                    <a:pt x="304165" y="356141"/>
                  </a:cubicBezTo>
                  <a:cubicBezTo>
                    <a:pt x="340995" y="335186"/>
                    <a:pt x="321311" y="295181"/>
                    <a:pt x="281940" y="293276"/>
                  </a:cubicBezTo>
                  <a:close/>
                  <a:moveTo>
                    <a:pt x="295911" y="331376"/>
                  </a:moveTo>
                  <a:cubicBezTo>
                    <a:pt x="282575" y="330741"/>
                    <a:pt x="287020" y="317406"/>
                    <a:pt x="297180" y="311691"/>
                  </a:cubicBezTo>
                  <a:cubicBezTo>
                    <a:pt x="304800" y="321216"/>
                    <a:pt x="306070" y="326931"/>
                    <a:pt x="295911" y="331376"/>
                  </a:cubicBezTo>
                  <a:close/>
                  <a:moveTo>
                    <a:pt x="123825" y="282481"/>
                  </a:moveTo>
                  <a:cubicBezTo>
                    <a:pt x="137795" y="226601"/>
                    <a:pt x="78740" y="200566"/>
                    <a:pt x="79375" y="252001"/>
                  </a:cubicBezTo>
                  <a:cubicBezTo>
                    <a:pt x="79375" y="279306"/>
                    <a:pt x="96520" y="290101"/>
                    <a:pt x="123825" y="282481"/>
                  </a:cubicBezTo>
                  <a:close/>
                  <a:moveTo>
                    <a:pt x="98425" y="248826"/>
                  </a:moveTo>
                  <a:cubicBezTo>
                    <a:pt x="99695" y="250096"/>
                    <a:pt x="100330" y="251366"/>
                    <a:pt x="101600" y="252636"/>
                  </a:cubicBezTo>
                  <a:cubicBezTo>
                    <a:pt x="100330" y="253906"/>
                    <a:pt x="99061" y="254541"/>
                    <a:pt x="97155" y="255811"/>
                  </a:cubicBezTo>
                  <a:cubicBezTo>
                    <a:pt x="94615" y="252636"/>
                    <a:pt x="97155" y="250731"/>
                    <a:pt x="98425" y="248826"/>
                  </a:cubicBezTo>
                  <a:close/>
                  <a:moveTo>
                    <a:pt x="92075" y="494571"/>
                  </a:moveTo>
                  <a:cubicBezTo>
                    <a:pt x="85090" y="528861"/>
                    <a:pt x="130811" y="542831"/>
                    <a:pt x="140336" y="509176"/>
                  </a:cubicBezTo>
                  <a:cubicBezTo>
                    <a:pt x="157480" y="470441"/>
                    <a:pt x="92075" y="442501"/>
                    <a:pt x="92075" y="494571"/>
                  </a:cubicBezTo>
                  <a:close/>
                  <a:moveTo>
                    <a:pt x="120650" y="509176"/>
                  </a:moveTo>
                  <a:cubicBezTo>
                    <a:pt x="103505" y="511081"/>
                    <a:pt x="111125" y="487586"/>
                    <a:pt x="123190" y="483141"/>
                  </a:cubicBezTo>
                  <a:cubicBezTo>
                    <a:pt x="133986" y="490126"/>
                    <a:pt x="130811" y="503461"/>
                    <a:pt x="120650" y="509176"/>
                  </a:cubicBezTo>
                  <a:close/>
                  <a:moveTo>
                    <a:pt x="202565" y="236126"/>
                  </a:moveTo>
                  <a:cubicBezTo>
                    <a:pt x="179070" y="285656"/>
                    <a:pt x="231140" y="297721"/>
                    <a:pt x="239395" y="257716"/>
                  </a:cubicBezTo>
                  <a:cubicBezTo>
                    <a:pt x="245111" y="238666"/>
                    <a:pt x="234315" y="207551"/>
                    <a:pt x="211455" y="216441"/>
                  </a:cubicBezTo>
                  <a:cubicBezTo>
                    <a:pt x="207011" y="231046"/>
                    <a:pt x="232411" y="231046"/>
                    <a:pt x="218440" y="250731"/>
                  </a:cubicBezTo>
                  <a:cubicBezTo>
                    <a:pt x="213995" y="245651"/>
                    <a:pt x="210186" y="242476"/>
                    <a:pt x="202565" y="236126"/>
                  </a:cubicBezTo>
                  <a:close/>
                  <a:moveTo>
                    <a:pt x="168911" y="271686"/>
                  </a:moveTo>
                  <a:cubicBezTo>
                    <a:pt x="217805" y="236126"/>
                    <a:pt x="125730" y="175801"/>
                    <a:pt x="143511" y="248826"/>
                  </a:cubicBezTo>
                  <a:cubicBezTo>
                    <a:pt x="134620" y="267241"/>
                    <a:pt x="151765" y="288831"/>
                    <a:pt x="168911" y="271686"/>
                  </a:cubicBezTo>
                  <a:close/>
                  <a:moveTo>
                    <a:pt x="161925" y="243111"/>
                  </a:moveTo>
                  <a:cubicBezTo>
                    <a:pt x="161290" y="244381"/>
                    <a:pt x="161290" y="245016"/>
                    <a:pt x="160655" y="246921"/>
                  </a:cubicBezTo>
                  <a:cubicBezTo>
                    <a:pt x="159386" y="243746"/>
                    <a:pt x="158750" y="243111"/>
                    <a:pt x="161925" y="243111"/>
                  </a:cubicBezTo>
                  <a:close/>
                  <a:moveTo>
                    <a:pt x="238125" y="450121"/>
                  </a:moveTo>
                  <a:cubicBezTo>
                    <a:pt x="280036" y="441866"/>
                    <a:pt x="257811" y="388526"/>
                    <a:pt x="221615" y="387256"/>
                  </a:cubicBezTo>
                  <a:cubicBezTo>
                    <a:pt x="212725" y="409481"/>
                    <a:pt x="210820" y="448216"/>
                    <a:pt x="238125" y="450121"/>
                  </a:cubicBezTo>
                  <a:close/>
                  <a:moveTo>
                    <a:pt x="241936" y="415831"/>
                  </a:moveTo>
                  <a:cubicBezTo>
                    <a:pt x="243840" y="417736"/>
                    <a:pt x="245745" y="419641"/>
                    <a:pt x="248920" y="422816"/>
                  </a:cubicBezTo>
                  <a:cubicBezTo>
                    <a:pt x="245111" y="425991"/>
                    <a:pt x="241936" y="427896"/>
                    <a:pt x="239395" y="429801"/>
                  </a:cubicBezTo>
                  <a:cubicBezTo>
                    <a:pt x="235586" y="424086"/>
                    <a:pt x="235586" y="420276"/>
                    <a:pt x="241936" y="415831"/>
                  </a:cubicBezTo>
                  <a:close/>
                  <a:moveTo>
                    <a:pt x="272415" y="107856"/>
                  </a:moveTo>
                  <a:cubicBezTo>
                    <a:pt x="263525" y="83091"/>
                    <a:pt x="234315" y="98966"/>
                    <a:pt x="234950" y="120556"/>
                  </a:cubicBezTo>
                  <a:cubicBezTo>
                    <a:pt x="233045" y="161196"/>
                    <a:pt x="292736" y="142781"/>
                    <a:pt x="272415" y="107856"/>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2" name="Google Shape;148;p3">
              <a:extLst>
                <a:ext uri="{FF2B5EF4-FFF2-40B4-BE49-F238E27FC236}">
                  <a16:creationId xmlns:a16="http://schemas.microsoft.com/office/drawing/2014/main" id="{E58DA6A9-C278-4BB1-B2CB-D5E0026C1509}"/>
                </a:ext>
              </a:extLst>
            </p:cNvPr>
            <p:cNvSpPr/>
            <p:nvPr/>
          </p:nvSpPr>
          <p:spPr>
            <a:xfrm>
              <a:off x="313599" y="1360788"/>
              <a:ext cx="410163" cy="515682"/>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3" name="Google Shape;149;p3">
              <a:extLst>
                <a:ext uri="{FF2B5EF4-FFF2-40B4-BE49-F238E27FC236}">
                  <a16:creationId xmlns:a16="http://schemas.microsoft.com/office/drawing/2014/main" id="{789450D2-6F31-4A2B-B6F9-41770B7F2109}"/>
                </a:ext>
              </a:extLst>
            </p:cNvPr>
            <p:cNvSpPr/>
            <p:nvPr/>
          </p:nvSpPr>
          <p:spPr>
            <a:xfrm>
              <a:off x="2688787" y="4098763"/>
              <a:ext cx="455682" cy="432729"/>
            </a:xfrm>
            <a:custGeom>
              <a:avLst/>
              <a:gdLst/>
              <a:ahLst/>
              <a:cxnLst/>
              <a:rect l="l" t="t" r="r" b="b"/>
              <a:pathLst>
                <a:path w="529863" h="503173" extrusionOk="0">
                  <a:moveTo>
                    <a:pt x="284791" y="7"/>
                  </a:moveTo>
                  <a:cubicBezTo>
                    <a:pt x="128581" y="-1263"/>
                    <a:pt x="-16834" y="165107"/>
                    <a:pt x="1581" y="320047"/>
                  </a:cubicBezTo>
                  <a:cubicBezTo>
                    <a:pt x="39046" y="421647"/>
                    <a:pt x="142551" y="523247"/>
                    <a:pt x="258756" y="499752"/>
                  </a:cubicBezTo>
                  <a:cubicBezTo>
                    <a:pt x="592766" y="480702"/>
                    <a:pt x="637216" y="23502"/>
                    <a:pt x="284791" y="7"/>
                  </a:cubicBezTo>
                  <a:close/>
                  <a:moveTo>
                    <a:pt x="19996" y="279407"/>
                  </a:moveTo>
                  <a:cubicBezTo>
                    <a:pt x="54921" y="-23488"/>
                    <a:pt x="481641" y="-98418"/>
                    <a:pt x="510216" y="240037"/>
                  </a:cubicBezTo>
                  <a:cubicBezTo>
                    <a:pt x="498786" y="520707"/>
                    <a:pt x="47936" y="583572"/>
                    <a:pt x="19996" y="279407"/>
                  </a:cubicBezTo>
                  <a:close/>
                  <a:moveTo>
                    <a:pt x="420681" y="98432"/>
                  </a:moveTo>
                  <a:cubicBezTo>
                    <a:pt x="381311" y="71127"/>
                    <a:pt x="348926" y="18422"/>
                    <a:pt x="295586" y="25407"/>
                  </a:cubicBezTo>
                  <a:cubicBezTo>
                    <a:pt x="53651" y="36837"/>
                    <a:pt x="-66364" y="403867"/>
                    <a:pt x="216211" y="458477"/>
                  </a:cubicBezTo>
                  <a:cubicBezTo>
                    <a:pt x="395916" y="493402"/>
                    <a:pt x="611181" y="219082"/>
                    <a:pt x="420681" y="98432"/>
                  </a:cubicBezTo>
                  <a:close/>
                  <a:moveTo>
                    <a:pt x="448621" y="292742"/>
                  </a:moveTo>
                  <a:cubicBezTo>
                    <a:pt x="448621" y="321952"/>
                    <a:pt x="428301" y="340367"/>
                    <a:pt x="413061" y="361957"/>
                  </a:cubicBezTo>
                  <a:cubicBezTo>
                    <a:pt x="404171" y="358782"/>
                    <a:pt x="396551" y="356242"/>
                    <a:pt x="385756" y="353067"/>
                  </a:cubicBezTo>
                  <a:cubicBezTo>
                    <a:pt x="387026" y="363227"/>
                    <a:pt x="387661" y="371482"/>
                    <a:pt x="388931" y="381007"/>
                  </a:cubicBezTo>
                  <a:cubicBezTo>
                    <a:pt x="376866" y="389262"/>
                    <a:pt x="363531" y="398152"/>
                    <a:pt x="354006" y="405137"/>
                  </a:cubicBezTo>
                  <a:cubicBezTo>
                    <a:pt x="338131" y="406407"/>
                    <a:pt x="337496" y="387357"/>
                    <a:pt x="321621" y="391167"/>
                  </a:cubicBezTo>
                  <a:cubicBezTo>
                    <a:pt x="324796" y="427362"/>
                    <a:pt x="291776" y="441967"/>
                    <a:pt x="249231" y="436887"/>
                  </a:cubicBezTo>
                  <a:cubicBezTo>
                    <a:pt x="251771" y="392437"/>
                    <a:pt x="220656" y="385452"/>
                    <a:pt x="220656" y="434982"/>
                  </a:cubicBezTo>
                  <a:cubicBezTo>
                    <a:pt x="184461" y="439427"/>
                    <a:pt x="133661" y="422917"/>
                    <a:pt x="131121" y="384182"/>
                  </a:cubicBezTo>
                  <a:cubicBezTo>
                    <a:pt x="123501" y="374022"/>
                    <a:pt x="104451" y="381007"/>
                    <a:pt x="100641" y="363862"/>
                  </a:cubicBezTo>
                  <a:cubicBezTo>
                    <a:pt x="126676" y="342907"/>
                    <a:pt x="106356" y="340367"/>
                    <a:pt x="84131" y="337192"/>
                  </a:cubicBezTo>
                  <a:cubicBezTo>
                    <a:pt x="71431" y="309887"/>
                    <a:pt x="63176" y="283217"/>
                    <a:pt x="75241" y="253372"/>
                  </a:cubicBezTo>
                  <a:cubicBezTo>
                    <a:pt x="119691" y="255277"/>
                    <a:pt x="140011" y="238132"/>
                    <a:pt x="83496" y="227972"/>
                  </a:cubicBezTo>
                  <a:cubicBezTo>
                    <a:pt x="84131" y="196857"/>
                    <a:pt x="95561" y="172092"/>
                    <a:pt x="115246" y="151137"/>
                  </a:cubicBezTo>
                  <a:cubicBezTo>
                    <a:pt x="136836" y="150502"/>
                    <a:pt x="150171" y="158122"/>
                    <a:pt x="136201" y="127642"/>
                  </a:cubicBezTo>
                  <a:cubicBezTo>
                    <a:pt x="174301" y="55252"/>
                    <a:pt x="207321" y="129547"/>
                    <a:pt x="205416" y="75572"/>
                  </a:cubicBezTo>
                  <a:cubicBezTo>
                    <a:pt x="230181" y="48267"/>
                    <a:pt x="263201" y="50172"/>
                    <a:pt x="297491" y="50172"/>
                  </a:cubicBezTo>
                  <a:cubicBezTo>
                    <a:pt x="295586" y="66682"/>
                    <a:pt x="308921" y="107957"/>
                    <a:pt x="323526" y="78747"/>
                  </a:cubicBezTo>
                  <a:cubicBezTo>
                    <a:pt x="319716" y="17152"/>
                    <a:pt x="382581" y="87637"/>
                    <a:pt x="399726" y="104147"/>
                  </a:cubicBezTo>
                  <a:cubicBezTo>
                    <a:pt x="394646" y="118117"/>
                    <a:pt x="385121" y="125102"/>
                    <a:pt x="399726" y="135262"/>
                  </a:cubicBezTo>
                  <a:cubicBezTo>
                    <a:pt x="409251" y="131452"/>
                    <a:pt x="417506" y="128277"/>
                    <a:pt x="427031" y="124467"/>
                  </a:cubicBezTo>
                  <a:cubicBezTo>
                    <a:pt x="440366" y="138437"/>
                    <a:pt x="451161" y="153042"/>
                    <a:pt x="461956" y="168917"/>
                  </a:cubicBezTo>
                  <a:cubicBezTo>
                    <a:pt x="451796" y="175267"/>
                    <a:pt x="444176" y="179712"/>
                    <a:pt x="436556" y="184157"/>
                  </a:cubicBezTo>
                  <a:cubicBezTo>
                    <a:pt x="444176" y="199397"/>
                    <a:pt x="459416" y="190507"/>
                    <a:pt x="470846" y="199397"/>
                  </a:cubicBezTo>
                  <a:cubicBezTo>
                    <a:pt x="475926" y="240037"/>
                    <a:pt x="467036" y="281947"/>
                    <a:pt x="416871" y="266707"/>
                  </a:cubicBezTo>
                  <a:cubicBezTo>
                    <a:pt x="388931" y="285757"/>
                    <a:pt x="434651" y="288297"/>
                    <a:pt x="448621" y="292742"/>
                  </a:cubicBezTo>
                  <a:close/>
                  <a:moveTo>
                    <a:pt x="304476" y="222892"/>
                  </a:moveTo>
                  <a:cubicBezTo>
                    <a:pt x="320351" y="55887"/>
                    <a:pt x="287966" y="104782"/>
                    <a:pt x="251771" y="225432"/>
                  </a:cubicBezTo>
                  <a:cubicBezTo>
                    <a:pt x="240341" y="251467"/>
                    <a:pt x="258121" y="281312"/>
                    <a:pt x="287966" y="270517"/>
                  </a:cubicBezTo>
                  <a:cubicBezTo>
                    <a:pt x="318446" y="260357"/>
                    <a:pt x="343846" y="239402"/>
                    <a:pt x="374961" y="232417"/>
                  </a:cubicBezTo>
                  <a:cubicBezTo>
                    <a:pt x="383216" y="231147"/>
                    <a:pt x="386391" y="223527"/>
                    <a:pt x="384486" y="215272"/>
                  </a:cubicBezTo>
                  <a:cubicBezTo>
                    <a:pt x="370516" y="186062"/>
                    <a:pt x="329241" y="220987"/>
                    <a:pt x="304476" y="222892"/>
                  </a:cubicBezTo>
                  <a:close/>
                  <a:moveTo>
                    <a:pt x="273996" y="229242"/>
                  </a:moveTo>
                  <a:cubicBezTo>
                    <a:pt x="273996" y="219717"/>
                    <a:pt x="273996" y="209557"/>
                    <a:pt x="282886" y="201937"/>
                  </a:cubicBezTo>
                  <a:cubicBezTo>
                    <a:pt x="282251" y="220352"/>
                    <a:pt x="282251" y="220987"/>
                    <a:pt x="273996" y="229242"/>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4" name="Google Shape;150;p3">
              <a:extLst>
                <a:ext uri="{FF2B5EF4-FFF2-40B4-BE49-F238E27FC236}">
                  <a16:creationId xmlns:a16="http://schemas.microsoft.com/office/drawing/2014/main" id="{5573F5F2-17BD-48C0-9F23-F83B1A5A8105}"/>
                </a:ext>
              </a:extLst>
            </p:cNvPr>
            <p:cNvSpPr/>
            <p:nvPr/>
          </p:nvSpPr>
          <p:spPr>
            <a:xfrm>
              <a:off x="933400" y="1069738"/>
              <a:ext cx="175646" cy="373020"/>
            </a:xfrm>
            <a:custGeom>
              <a:avLst/>
              <a:gdLst/>
              <a:ahLst/>
              <a:cxnLst/>
              <a:rect l="l" t="t" r="r" b="b"/>
              <a:pathLst>
                <a:path w="342723" h="727844" extrusionOk="0">
                  <a:moveTo>
                    <a:pt x="45039" y="381062"/>
                  </a:moveTo>
                  <a:cubicBezTo>
                    <a:pt x="-1317" y="378522"/>
                    <a:pt x="-11476" y="360107"/>
                    <a:pt x="12653" y="325182"/>
                  </a:cubicBezTo>
                  <a:cubicBezTo>
                    <a:pt x="39958" y="272477"/>
                    <a:pt x="46308" y="211517"/>
                    <a:pt x="66628" y="156272"/>
                  </a:cubicBezTo>
                  <a:cubicBezTo>
                    <a:pt x="88853" y="99757"/>
                    <a:pt x="95203" y="15302"/>
                    <a:pt x="167594" y="3237"/>
                  </a:cubicBezTo>
                  <a:cubicBezTo>
                    <a:pt x="221569" y="-5653"/>
                    <a:pt x="288878" y="2602"/>
                    <a:pt x="328249" y="42607"/>
                  </a:cubicBezTo>
                  <a:cubicBezTo>
                    <a:pt x="373333" y="154367"/>
                    <a:pt x="300944" y="280097"/>
                    <a:pt x="276178" y="390587"/>
                  </a:cubicBezTo>
                  <a:cubicBezTo>
                    <a:pt x="243158" y="499807"/>
                    <a:pt x="232999" y="643317"/>
                    <a:pt x="145369" y="722058"/>
                  </a:cubicBezTo>
                  <a:cubicBezTo>
                    <a:pt x="-64181" y="765872"/>
                    <a:pt x="59008" y="549972"/>
                    <a:pt x="74883" y="441387"/>
                  </a:cubicBezTo>
                  <a:cubicBezTo>
                    <a:pt x="96474" y="381062"/>
                    <a:pt x="117428" y="174052"/>
                    <a:pt x="175849" y="160082"/>
                  </a:cubicBezTo>
                  <a:cubicBezTo>
                    <a:pt x="205058" y="153097"/>
                    <a:pt x="234269" y="157542"/>
                    <a:pt x="230458" y="194372"/>
                  </a:cubicBezTo>
                  <a:cubicBezTo>
                    <a:pt x="240619" y="221677"/>
                    <a:pt x="129494" y="694752"/>
                    <a:pt x="133303" y="503617"/>
                  </a:cubicBezTo>
                  <a:cubicBezTo>
                    <a:pt x="150449" y="416622"/>
                    <a:pt x="184103" y="330262"/>
                    <a:pt x="181564" y="240727"/>
                  </a:cubicBezTo>
                  <a:cubicBezTo>
                    <a:pt x="130764" y="306132"/>
                    <a:pt x="137749" y="399477"/>
                    <a:pt x="109174" y="476312"/>
                  </a:cubicBezTo>
                  <a:cubicBezTo>
                    <a:pt x="105999" y="530922"/>
                    <a:pt x="19639" y="685862"/>
                    <a:pt x="116158" y="683957"/>
                  </a:cubicBezTo>
                  <a:cubicBezTo>
                    <a:pt x="208869" y="661732"/>
                    <a:pt x="231094" y="334707"/>
                    <a:pt x="270464" y="240092"/>
                  </a:cubicBezTo>
                  <a:cubicBezTo>
                    <a:pt x="276178" y="187387"/>
                    <a:pt x="298403" y="109917"/>
                    <a:pt x="252683" y="71182"/>
                  </a:cubicBezTo>
                  <a:cubicBezTo>
                    <a:pt x="213314" y="45147"/>
                    <a:pt x="172674" y="52767"/>
                    <a:pt x="144099" y="91502"/>
                  </a:cubicBezTo>
                  <a:cubicBezTo>
                    <a:pt x="95203" y="181037"/>
                    <a:pt x="85678" y="287717"/>
                    <a:pt x="45039" y="381062"/>
                  </a:cubicBezTo>
                  <a:close/>
                  <a:moveTo>
                    <a:pt x="300944" y="198182"/>
                  </a:moveTo>
                  <a:cubicBezTo>
                    <a:pt x="321899" y="177227"/>
                    <a:pt x="309833" y="138492"/>
                    <a:pt x="314914" y="110552"/>
                  </a:cubicBezTo>
                  <a:cubicBezTo>
                    <a:pt x="319358" y="81342"/>
                    <a:pt x="322533" y="48322"/>
                    <a:pt x="288878" y="37527"/>
                  </a:cubicBezTo>
                  <a:cubicBezTo>
                    <a:pt x="246969" y="18477"/>
                    <a:pt x="137749" y="1332"/>
                    <a:pt x="133303" y="62292"/>
                  </a:cubicBezTo>
                  <a:cubicBezTo>
                    <a:pt x="243794" y="-24703"/>
                    <a:pt x="324439" y="87692"/>
                    <a:pt x="300944" y="200722"/>
                  </a:cubicBezTo>
                  <a:cubicBezTo>
                    <a:pt x="300944" y="200087"/>
                    <a:pt x="300944" y="199452"/>
                    <a:pt x="300944" y="198182"/>
                  </a:cubicBezTo>
                  <a:close/>
                  <a:moveTo>
                    <a:pt x="124414" y="705547"/>
                  </a:moveTo>
                  <a:cubicBezTo>
                    <a:pt x="92028" y="697927"/>
                    <a:pt x="73614" y="690942"/>
                    <a:pt x="47578" y="676972"/>
                  </a:cubicBezTo>
                  <a:cubicBezTo>
                    <a:pt x="39958" y="705547"/>
                    <a:pt x="97744" y="711897"/>
                    <a:pt x="124414" y="705547"/>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5" name="Google Shape;151;p3">
              <a:extLst>
                <a:ext uri="{FF2B5EF4-FFF2-40B4-BE49-F238E27FC236}">
                  <a16:creationId xmlns:a16="http://schemas.microsoft.com/office/drawing/2014/main" id="{1669DDF8-3A03-4864-9401-6964B3660B6E}"/>
                </a:ext>
              </a:extLst>
            </p:cNvPr>
            <p:cNvSpPr/>
            <p:nvPr/>
          </p:nvSpPr>
          <p:spPr>
            <a:xfrm>
              <a:off x="8204352" y="3801552"/>
              <a:ext cx="240787" cy="203050"/>
            </a:xfrm>
            <a:custGeom>
              <a:avLst/>
              <a:gdLst/>
              <a:ahLst/>
              <a:cxnLst/>
              <a:rect l="l" t="t" r="r" b="b"/>
              <a:pathLst>
                <a:path w="279985" h="236105" extrusionOk="0">
                  <a:moveTo>
                    <a:pt x="224300" y="47511"/>
                  </a:moveTo>
                  <a:cubicBezTo>
                    <a:pt x="226204" y="79261"/>
                    <a:pt x="221125" y="105931"/>
                    <a:pt x="208425" y="131331"/>
                  </a:cubicBezTo>
                  <a:cubicBezTo>
                    <a:pt x="221759" y="154826"/>
                    <a:pt x="285895" y="220866"/>
                    <a:pt x="279545" y="236106"/>
                  </a:cubicBezTo>
                  <a:cubicBezTo>
                    <a:pt x="240175" y="235471"/>
                    <a:pt x="211600" y="195466"/>
                    <a:pt x="177309" y="177686"/>
                  </a:cubicBezTo>
                  <a:cubicBezTo>
                    <a:pt x="143654" y="201816"/>
                    <a:pt x="92220" y="247536"/>
                    <a:pt x="79520" y="180226"/>
                  </a:cubicBezTo>
                  <a:cubicBezTo>
                    <a:pt x="76979" y="116091"/>
                    <a:pt x="-26525" y="129426"/>
                    <a:pt x="6495" y="57671"/>
                  </a:cubicBezTo>
                  <a:cubicBezTo>
                    <a:pt x="60470" y="-73774"/>
                    <a:pt x="91584" y="62116"/>
                    <a:pt x="169054" y="51321"/>
                  </a:cubicBezTo>
                  <a:cubicBezTo>
                    <a:pt x="187470" y="48781"/>
                    <a:pt x="205884" y="39891"/>
                    <a:pt x="224300" y="47511"/>
                  </a:cubicBezTo>
                  <a:close/>
                  <a:moveTo>
                    <a:pt x="217950" y="187211"/>
                  </a:moveTo>
                  <a:cubicBezTo>
                    <a:pt x="218584" y="187211"/>
                    <a:pt x="218584" y="186576"/>
                    <a:pt x="219220" y="186576"/>
                  </a:cubicBezTo>
                  <a:cubicBezTo>
                    <a:pt x="218584" y="186576"/>
                    <a:pt x="217950" y="187211"/>
                    <a:pt x="217315" y="187211"/>
                  </a:cubicBezTo>
                  <a:cubicBezTo>
                    <a:pt x="224300" y="172606"/>
                    <a:pt x="211600" y="156096"/>
                    <a:pt x="196995" y="158636"/>
                  </a:cubicBezTo>
                  <a:cubicBezTo>
                    <a:pt x="196359" y="171336"/>
                    <a:pt x="210329" y="177686"/>
                    <a:pt x="217950" y="187211"/>
                  </a:cubicBezTo>
                  <a:close/>
                  <a:moveTo>
                    <a:pt x="87140" y="47511"/>
                  </a:moveTo>
                  <a:cubicBezTo>
                    <a:pt x="75075" y="65926"/>
                    <a:pt x="63009" y="84341"/>
                    <a:pt x="50945" y="103391"/>
                  </a:cubicBezTo>
                  <a:cubicBezTo>
                    <a:pt x="66820" y="119901"/>
                    <a:pt x="82059" y="135776"/>
                    <a:pt x="96665" y="151016"/>
                  </a:cubicBezTo>
                  <a:cubicBezTo>
                    <a:pt x="125875" y="135776"/>
                    <a:pt x="153815" y="112281"/>
                    <a:pt x="149370" y="78626"/>
                  </a:cubicBezTo>
                  <a:cubicBezTo>
                    <a:pt x="129684" y="69101"/>
                    <a:pt x="110634" y="59576"/>
                    <a:pt x="87140" y="47511"/>
                  </a:cubicBezTo>
                  <a:close/>
                  <a:moveTo>
                    <a:pt x="202075" y="76721"/>
                  </a:moveTo>
                  <a:cubicBezTo>
                    <a:pt x="174770" y="65291"/>
                    <a:pt x="153179" y="156096"/>
                    <a:pt x="103650" y="180861"/>
                  </a:cubicBezTo>
                  <a:cubicBezTo>
                    <a:pt x="118890" y="218961"/>
                    <a:pt x="213504" y="108471"/>
                    <a:pt x="202075" y="76721"/>
                  </a:cubicBezTo>
                  <a:close/>
                  <a:moveTo>
                    <a:pt x="22370" y="86246"/>
                  </a:moveTo>
                  <a:cubicBezTo>
                    <a:pt x="54120" y="77356"/>
                    <a:pt x="60470" y="54496"/>
                    <a:pt x="67454" y="32271"/>
                  </a:cubicBezTo>
                  <a:cubicBezTo>
                    <a:pt x="47134" y="4331"/>
                    <a:pt x="24909" y="63386"/>
                    <a:pt x="22370" y="8624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6" name="Google Shape;152;p3">
              <a:extLst>
                <a:ext uri="{FF2B5EF4-FFF2-40B4-BE49-F238E27FC236}">
                  <a16:creationId xmlns:a16="http://schemas.microsoft.com/office/drawing/2014/main" id="{FD5CC3CC-71F7-4EA4-9714-7E4B1A822154}"/>
                </a:ext>
              </a:extLst>
            </p:cNvPr>
            <p:cNvSpPr/>
            <p:nvPr/>
          </p:nvSpPr>
          <p:spPr>
            <a:xfrm>
              <a:off x="8204357" y="240186"/>
              <a:ext cx="175884" cy="174728"/>
            </a:xfrm>
            <a:custGeom>
              <a:avLst/>
              <a:gdLst/>
              <a:ahLst/>
              <a:cxnLst/>
              <a:rect l="l" t="t" r="r" b="b"/>
              <a:pathLst>
                <a:path w="204516" h="203172" extrusionOk="0">
                  <a:moveTo>
                    <a:pt x="139555" y="137768"/>
                  </a:moveTo>
                  <a:cubicBezTo>
                    <a:pt x="146541" y="154278"/>
                    <a:pt x="194166" y="201903"/>
                    <a:pt x="157971" y="203173"/>
                  </a:cubicBezTo>
                  <a:cubicBezTo>
                    <a:pt x="139555" y="186028"/>
                    <a:pt x="135746" y="163168"/>
                    <a:pt x="112250" y="148563"/>
                  </a:cubicBezTo>
                  <a:cubicBezTo>
                    <a:pt x="-110000" y="230478"/>
                    <a:pt x="44941" y="-27967"/>
                    <a:pt x="173210" y="2513"/>
                  </a:cubicBezTo>
                  <a:cubicBezTo>
                    <a:pt x="245600" y="34898"/>
                    <a:pt x="174480" y="104113"/>
                    <a:pt x="139555" y="137768"/>
                  </a:cubicBezTo>
                  <a:close/>
                  <a:moveTo>
                    <a:pt x="184005" y="29183"/>
                  </a:moveTo>
                  <a:cubicBezTo>
                    <a:pt x="117330" y="1243"/>
                    <a:pt x="46846" y="67283"/>
                    <a:pt x="20175" y="123163"/>
                  </a:cubicBezTo>
                  <a:cubicBezTo>
                    <a:pt x="32875" y="190473"/>
                    <a:pt x="196705" y="83158"/>
                    <a:pt x="184005" y="29183"/>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7" name="Google Shape;153;p3">
              <a:extLst>
                <a:ext uri="{FF2B5EF4-FFF2-40B4-BE49-F238E27FC236}">
                  <a16:creationId xmlns:a16="http://schemas.microsoft.com/office/drawing/2014/main" id="{66AD0467-5823-4999-AD6B-89A8E5203963}"/>
                </a:ext>
              </a:extLst>
            </p:cNvPr>
            <p:cNvSpPr/>
            <p:nvPr/>
          </p:nvSpPr>
          <p:spPr>
            <a:xfrm>
              <a:off x="8514477" y="3303552"/>
              <a:ext cx="236138" cy="229907"/>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8" name="Google Shape;154;p3">
              <a:extLst>
                <a:ext uri="{FF2B5EF4-FFF2-40B4-BE49-F238E27FC236}">
                  <a16:creationId xmlns:a16="http://schemas.microsoft.com/office/drawing/2014/main" id="{273E409A-ECD6-470B-8EF7-98B6344C2682}"/>
                </a:ext>
              </a:extLst>
            </p:cNvPr>
            <p:cNvSpPr/>
            <p:nvPr/>
          </p:nvSpPr>
          <p:spPr>
            <a:xfrm rot="9304419">
              <a:off x="3726725" y="4079275"/>
              <a:ext cx="219185" cy="471718"/>
            </a:xfrm>
            <a:custGeom>
              <a:avLst/>
              <a:gdLst/>
              <a:ahLst/>
              <a:cxnLst/>
              <a:rect l="l" t="t" r="r" b="b"/>
              <a:pathLst>
                <a:path w="254831" h="548433" extrusionOk="0">
                  <a:moveTo>
                    <a:pt x="1225" y="243944"/>
                  </a:moveTo>
                  <a:cubicBezTo>
                    <a:pt x="-2584" y="153774"/>
                    <a:pt x="42500" y="76304"/>
                    <a:pt x="97110" y="7724"/>
                  </a:cubicBezTo>
                  <a:cubicBezTo>
                    <a:pt x="171406" y="-39901"/>
                    <a:pt x="226016" y="146154"/>
                    <a:pt x="245700" y="198859"/>
                  </a:cubicBezTo>
                  <a:cubicBezTo>
                    <a:pt x="276816" y="301729"/>
                    <a:pt x="217125" y="404599"/>
                    <a:pt x="233000" y="508104"/>
                  </a:cubicBezTo>
                  <a:cubicBezTo>
                    <a:pt x="238716" y="550014"/>
                    <a:pt x="205696" y="569064"/>
                    <a:pt x="201250" y="516359"/>
                  </a:cubicBezTo>
                  <a:cubicBezTo>
                    <a:pt x="164421" y="394439"/>
                    <a:pt x="-16554" y="432539"/>
                    <a:pt x="1225" y="243944"/>
                  </a:cubicBezTo>
                  <a:close/>
                  <a:moveTo>
                    <a:pt x="114891" y="236959"/>
                  </a:moveTo>
                  <a:cubicBezTo>
                    <a:pt x="103460" y="228704"/>
                    <a:pt x="21546" y="208384"/>
                    <a:pt x="57741" y="193144"/>
                  </a:cubicBezTo>
                  <a:cubicBezTo>
                    <a:pt x="78060" y="196954"/>
                    <a:pt x="88856" y="214734"/>
                    <a:pt x="111081" y="216639"/>
                  </a:cubicBezTo>
                  <a:cubicBezTo>
                    <a:pt x="108541" y="178539"/>
                    <a:pt x="97110" y="143614"/>
                    <a:pt x="105366" y="106784"/>
                  </a:cubicBezTo>
                  <a:cubicBezTo>
                    <a:pt x="111081" y="107419"/>
                    <a:pt x="116160" y="108054"/>
                    <a:pt x="120606" y="108054"/>
                  </a:cubicBezTo>
                  <a:cubicBezTo>
                    <a:pt x="123781" y="120754"/>
                    <a:pt x="126321" y="131549"/>
                    <a:pt x="129496" y="144249"/>
                  </a:cubicBezTo>
                  <a:cubicBezTo>
                    <a:pt x="182200" y="111229"/>
                    <a:pt x="146641" y="163934"/>
                    <a:pt x="130766" y="183619"/>
                  </a:cubicBezTo>
                  <a:cubicBezTo>
                    <a:pt x="135210" y="210924"/>
                    <a:pt x="135846" y="238229"/>
                    <a:pt x="149181" y="265534"/>
                  </a:cubicBezTo>
                  <a:cubicBezTo>
                    <a:pt x="163785" y="256009"/>
                    <a:pt x="167596" y="243309"/>
                    <a:pt x="186646" y="248389"/>
                  </a:cubicBezTo>
                  <a:cubicBezTo>
                    <a:pt x="175216" y="271249"/>
                    <a:pt x="149181" y="286489"/>
                    <a:pt x="154896" y="311254"/>
                  </a:cubicBezTo>
                  <a:cubicBezTo>
                    <a:pt x="171406" y="348719"/>
                    <a:pt x="172675" y="392534"/>
                    <a:pt x="204425" y="422379"/>
                  </a:cubicBezTo>
                  <a:cubicBezTo>
                    <a:pt x="252050" y="285219"/>
                    <a:pt x="233635" y="137264"/>
                    <a:pt x="136481" y="27409"/>
                  </a:cubicBezTo>
                  <a:cubicBezTo>
                    <a:pt x="86950" y="-1166"/>
                    <a:pt x="19006" y="177269"/>
                    <a:pt x="24721" y="219814"/>
                  </a:cubicBezTo>
                  <a:cubicBezTo>
                    <a:pt x="8846" y="328399"/>
                    <a:pt x="72346" y="405869"/>
                    <a:pt x="175216" y="431269"/>
                  </a:cubicBezTo>
                  <a:cubicBezTo>
                    <a:pt x="170135" y="362689"/>
                    <a:pt x="112350" y="366499"/>
                    <a:pt x="80600" y="323954"/>
                  </a:cubicBezTo>
                  <a:cubicBezTo>
                    <a:pt x="106635" y="317604"/>
                    <a:pt x="118700" y="347449"/>
                    <a:pt x="140925" y="338559"/>
                  </a:cubicBezTo>
                  <a:cubicBezTo>
                    <a:pt x="128225" y="305539"/>
                    <a:pt x="128860" y="270614"/>
                    <a:pt x="114891" y="236959"/>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9" name="Google Shape;155;p3">
              <a:extLst>
                <a:ext uri="{FF2B5EF4-FFF2-40B4-BE49-F238E27FC236}">
                  <a16:creationId xmlns:a16="http://schemas.microsoft.com/office/drawing/2014/main" id="{E9F45DAE-D07F-4A54-A8CA-371949E134EF}"/>
                </a:ext>
              </a:extLst>
            </p:cNvPr>
            <p:cNvSpPr/>
            <p:nvPr/>
          </p:nvSpPr>
          <p:spPr>
            <a:xfrm>
              <a:off x="3033704" y="205770"/>
              <a:ext cx="238646" cy="243555"/>
            </a:xfrm>
            <a:custGeom>
              <a:avLst/>
              <a:gdLst/>
              <a:ahLst/>
              <a:cxnLst/>
              <a:rect l="l" t="t" r="r" b="b"/>
              <a:pathLst>
                <a:path w="277495" h="283204" extrusionOk="0">
                  <a:moveTo>
                    <a:pt x="208280" y="49133"/>
                  </a:moveTo>
                  <a:cubicBezTo>
                    <a:pt x="137795" y="91043"/>
                    <a:pt x="68580" y="136763"/>
                    <a:pt x="0" y="179943"/>
                  </a:cubicBezTo>
                  <a:cubicBezTo>
                    <a:pt x="8890" y="202168"/>
                    <a:pt x="26670" y="266938"/>
                    <a:pt x="57150" y="247888"/>
                  </a:cubicBezTo>
                  <a:cubicBezTo>
                    <a:pt x="130175" y="204708"/>
                    <a:pt x="208280" y="168513"/>
                    <a:pt x="277495" y="120888"/>
                  </a:cubicBezTo>
                  <a:cubicBezTo>
                    <a:pt x="258445" y="97393"/>
                    <a:pt x="247650" y="28178"/>
                    <a:pt x="208280" y="49133"/>
                  </a:cubicBezTo>
                  <a:close/>
                  <a:moveTo>
                    <a:pt x="46355" y="226933"/>
                  </a:moveTo>
                  <a:cubicBezTo>
                    <a:pt x="33655" y="218043"/>
                    <a:pt x="29210" y="206613"/>
                    <a:pt x="25400" y="192643"/>
                  </a:cubicBezTo>
                  <a:cubicBezTo>
                    <a:pt x="88265" y="150733"/>
                    <a:pt x="149225" y="105648"/>
                    <a:pt x="218440" y="71358"/>
                  </a:cubicBezTo>
                  <a:cubicBezTo>
                    <a:pt x="236220" y="75803"/>
                    <a:pt x="240030" y="91678"/>
                    <a:pt x="247015" y="107553"/>
                  </a:cubicBezTo>
                  <a:cubicBezTo>
                    <a:pt x="186055" y="158353"/>
                    <a:pt x="114300" y="189468"/>
                    <a:pt x="46355" y="226933"/>
                  </a:cubicBezTo>
                  <a:close/>
                  <a:moveTo>
                    <a:pt x="181610" y="200898"/>
                  </a:moveTo>
                  <a:cubicBezTo>
                    <a:pt x="130810" y="200898"/>
                    <a:pt x="120650" y="289798"/>
                    <a:pt x="181610" y="282813"/>
                  </a:cubicBezTo>
                  <a:cubicBezTo>
                    <a:pt x="240665" y="284083"/>
                    <a:pt x="243840" y="201533"/>
                    <a:pt x="181610" y="200898"/>
                  </a:cubicBezTo>
                  <a:close/>
                  <a:moveTo>
                    <a:pt x="163830" y="259318"/>
                  </a:moveTo>
                  <a:cubicBezTo>
                    <a:pt x="159385" y="227568"/>
                    <a:pt x="184785" y="232013"/>
                    <a:pt x="205105" y="234553"/>
                  </a:cubicBezTo>
                  <a:cubicBezTo>
                    <a:pt x="208280" y="258683"/>
                    <a:pt x="182245" y="268843"/>
                    <a:pt x="163830" y="259318"/>
                  </a:cubicBezTo>
                  <a:close/>
                  <a:moveTo>
                    <a:pt x="123190" y="32623"/>
                  </a:moveTo>
                  <a:cubicBezTo>
                    <a:pt x="104140" y="-16272"/>
                    <a:pt x="28575" y="-9922"/>
                    <a:pt x="29210" y="49768"/>
                  </a:cubicBezTo>
                  <a:cubicBezTo>
                    <a:pt x="38735" y="111998"/>
                    <a:pt x="126365" y="90408"/>
                    <a:pt x="123190" y="32623"/>
                  </a:cubicBezTo>
                  <a:close/>
                  <a:moveTo>
                    <a:pt x="81280" y="20558"/>
                  </a:moveTo>
                  <a:cubicBezTo>
                    <a:pt x="127635" y="19923"/>
                    <a:pt x="81915" y="87868"/>
                    <a:pt x="55880" y="63103"/>
                  </a:cubicBezTo>
                  <a:cubicBezTo>
                    <a:pt x="37465" y="47228"/>
                    <a:pt x="61595" y="16748"/>
                    <a:pt x="81280" y="20558"/>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0" name="Google Shape;156;p3">
              <a:extLst>
                <a:ext uri="{FF2B5EF4-FFF2-40B4-BE49-F238E27FC236}">
                  <a16:creationId xmlns:a16="http://schemas.microsoft.com/office/drawing/2014/main" id="{658AC260-88AF-48F4-A331-C8C9FB4AF599}"/>
                </a:ext>
              </a:extLst>
            </p:cNvPr>
            <p:cNvSpPr/>
            <p:nvPr/>
          </p:nvSpPr>
          <p:spPr>
            <a:xfrm>
              <a:off x="8737650" y="439219"/>
              <a:ext cx="257856" cy="284838"/>
            </a:xfrm>
            <a:custGeom>
              <a:avLst/>
              <a:gdLst/>
              <a:ahLst/>
              <a:cxnLst/>
              <a:rect l="l" t="t" r="r" b="b"/>
              <a:pathLst>
                <a:path w="299833" h="331207" extrusionOk="0">
                  <a:moveTo>
                    <a:pt x="209405" y="209687"/>
                  </a:moveTo>
                  <a:cubicBezTo>
                    <a:pt x="197340" y="292237"/>
                    <a:pt x="224645" y="334782"/>
                    <a:pt x="116695" y="330972"/>
                  </a:cubicBezTo>
                  <a:cubicBezTo>
                    <a:pt x="76690" y="318272"/>
                    <a:pt x="105900" y="251597"/>
                    <a:pt x="82405" y="221752"/>
                  </a:cubicBezTo>
                  <a:cubicBezTo>
                    <a:pt x="-9670" y="236992"/>
                    <a:pt x="-780" y="222387"/>
                    <a:pt x="1125" y="136662"/>
                  </a:cubicBezTo>
                  <a:cubicBezTo>
                    <a:pt x="15730" y="118882"/>
                    <a:pt x="46210" y="123327"/>
                    <a:pt x="67800" y="118247"/>
                  </a:cubicBezTo>
                  <a:cubicBezTo>
                    <a:pt x="113520" y="107452"/>
                    <a:pt x="65895" y="38872"/>
                    <a:pt x="89390" y="5852"/>
                  </a:cubicBezTo>
                  <a:cubicBezTo>
                    <a:pt x="202420" y="-15103"/>
                    <a:pt x="175750" y="20457"/>
                    <a:pt x="194165" y="108722"/>
                  </a:cubicBezTo>
                  <a:cubicBezTo>
                    <a:pt x="225280" y="118247"/>
                    <a:pt x="286240" y="96022"/>
                    <a:pt x="293225" y="135392"/>
                  </a:cubicBezTo>
                  <a:cubicBezTo>
                    <a:pt x="318625" y="214767"/>
                    <a:pt x="266555" y="199527"/>
                    <a:pt x="209405" y="209687"/>
                  </a:cubicBezTo>
                  <a:close/>
                  <a:moveTo>
                    <a:pt x="27795" y="202067"/>
                  </a:moveTo>
                  <a:cubicBezTo>
                    <a:pt x="155430" y="169682"/>
                    <a:pt x="92565" y="223657"/>
                    <a:pt x="125585" y="302397"/>
                  </a:cubicBezTo>
                  <a:cubicBezTo>
                    <a:pt x="140190" y="304302"/>
                    <a:pt x="156065" y="306842"/>
                    <a:pt x="171305" y="301127"/>
                  </a:cubicBezTo>
                  <a:cubicBezTo>
                    <a:pt x="195435" y="266202"/>
                    <a:pt x="166860" y="221752"/>
                    <a:pt x="189720" y="188097"/>
                  </a:cubicBezTo>
                  <a:cubicBezTo>
                    <a:pt x="215755" y="184287"/>
                    <a:pt x="243695" y="179842"/>
                    <a:pt x="271635" y="175397"/>
                  </a:cubicBezTo>
                  <a:cubicBezTo>
                    <a:pt x="276715" y="160792"/>
                    <a:pt x="276715" y="149362"/>
                    <a:pt x="267825" y="137932"/>
                  </a:cubicBezTo>
                  <a:cubicBezTo>
                    <a:pt x="176385" y="125867"/>
                    <a:pt x="163050" y="146187"/>
                    <a:pt x="160510" y="40142"/>
                  </a:cubicBezTo>
                  <a:cubicBezTo>
                    <a:pt x="158605" y="17917"/>
                    <a:pt x="136380" y="21092"/>
                    <a:pt x="120505" y="26172"/>
                  </a:cubicBezTo>
                  <a:cubicBezTo>
                    <a:pt x="85580" y="45857"/>
                    <a:pt x="120505" y="101737"/>
                    <a:pt x="108440" y="134757"/>
                  </a:cubicBezTo>
                  <a:cubicBezTo>
                    <a:pt x="77325" y="141742"/>
                    <a:pt x="53195" y="136662"/>
                    <a:pt x="23350" y="153172"/>
                  </a:cubicBezTo>
                  <a:cubicBezTo>
                    <a:pt x="23350" y="172857"/>
                    <a:pt x="23350" y="182382"/>
                    <a:pt x="27795" y="202067"/>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1" name="Google Shape;157;p3">
              <a:extLst>
                <a:ext uri="{FF2B5EF4-FFF2-40B4-BE49-F238E27FC236}">
                  <a16:creationId xmlns:a16="http://schemas.microsoft.com/office/drawing/2014/main" id="{FD01B15F-3134-4B86-81F7-196D34FD1337}"/>
                </a:ext>
              </a:extLst>
            </p:cNvPr>
            <p:cNvSpPr/>
            <p:nvPr/>
          </p:nvSpPr>
          <p:spPr>
            <a:xfrm>
              <a:off x="1334256" y="207258"/>
              <a:ext cx="223503" cy="240600"/>
            </a:xfrm>
            <a:custGeom>
              <a:avLst/>
              <a:gdLst/>
              <a:ahLst/>
              <a:cxnLst/>
              <a:rect l="l" t="t" r="r" b="b"/>
              <a:pathLst>
                <a:path w="259887" h="279767" extrusionOk="0">
                  <a:moveTo>
                    <a:pt x="226736" y="166830"/>
                  </a:moveTo>
                  <a:cubicBezTo>
                    <a:pt x="228641" y="137620"/>
                    <a:pt x="231180" y="110950"/>
                    <a:pt x="233086" y="83010"/>
                  </a:cubicBezTo>
                  <a:cubicBezTo>
                    <a:pt x="187366" y="68405"/>
                    <a:pt x="153711" y="96345"/>
                    <a:pt x="111166" y="110315"/>
                  </a:cubicBezTo>
                  <a:cubicBezTo>
                    <a:pt x="97195" y="152860"/>
                    <a:pt x="133391" y="210010"/>
                    <a:pt x="90211" y="242395"/>
                  </a:cubicBezTo>
                  <a:cubicBezTo>
                    <a:pt x="-25359" y="349710"/>
                    <a:pt x="-34250" y="191595"/>
                    <a:pt x="88941" y="193500"/>
                  </a:cubicBezTo>
                  <a:cubicBezTo>
                    <a:pt x="97195" y="143970"/>
                    <a:pt x="63541" y="67135"/>
                    <a:pt x="101005" y="31575"/>
                  </a:cubicBezTo>
                  <a:cubicBezTo>
                    <a:pt x="208320" y="6175"/>
                    <a:pt x="274995" y="-51610"/>
                    <a:pt x="252770" y="105870"/>
                  </a:cubicBezTo>
                  <a:cubicBezTo>
                    <a:pt x="241975" y="140160"/>
                    <a:pt x="264200" y="170005"/>
                    <a:pt x="259120" y="201120"/>
                  </a:cubicBezTo>
                  <a:cubicBezTo>
                    <a:pt x="198161" y="328120"/>
                    <a:pt x="109261" y="242395"/>
                    <a:pt x="226736" y="166830"/>
                  </a:cubicBezTo>
                  <a:close/>
                  <a:moveTo>
                    <a:pt x="115611" y="79835"/>
                  </a:moveTo>
                  <a:cubicBezTo>
                    <a:pt x="146091" y="80470"/>
                    <a:pt x="172125" y="56975"/>
                    <a:pt x="203875" y="58245"/>
                  </a:cubicBezTo>
                  <a:cubicBezTo>
                    <a:pt x="229275" y="60150"/>
                    <a:pt x="238800" y="46180"/>
                    <a:pt x="229911" y="22050"/>
                  </a:cubicBezTo>
                  <a:cubicBezTo>
                    <a:pt x="198161" y="38560"/>
                    <a:pt x="97195" y="29035"/>
                    <a:pt x="115611" y="79835"/>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2" name="Google Shape;158;p3">
              <a:extLst>
                <a:ext uri="{FF2B5EF4-FFF2-40B4-BE49-F238E27FC236}">
                  <a16:creationId xmlns:a16="http://schemas.microsoft.com/office/drawing/2014/main" id="{ECE62D4D-DAD1-4BD5-95D7-E4F2C4AB4E20}"/>
                </a:ext>
              </a:extLst>
            </p:cNvPr>
            <p:cNvSpPr/>
            <p:nvPr/>
          </p:nvSpPr>
          <p:spPr>
            <a:xfrm>
              <a:off x="7053257" y="3763614"/>
              <a:ext cx="204383" cy="278916"/>
            </a:xfrm>
            <a:custGeom>
              <a:avLst/>
              <a:gdLst/>
              <a:ahLst/>
              <a:cxnLst/>
              <a:rect l="l" t="t" r="r" b="b"/>
              <a:pathLst>
                <a:path w="237655" h="324321" extrusionOk="0">
                  <a:moveTo>
                    <a:pt x="103670" y="224422"/>
                  </a:moveTo>
                  <a:cubicBezTo>
                    <a:pt x="118910" y="164097"/>
                    <a:pt x="80810" y="37097"/>
                    <a:pt x="129070" y="1537"/>
                  </a:cubicBezTo>
                  <a:cubicBezTo>
                    <a:pt x="197650" y="-13703"/>
                    <a:pt x="200190" y="88532"/>
                    <a:pt x="237655" y="124092"/>
                  </a:cubicBezTo>
                  <a:cubicBezTo>
                    <a:pt x="219875" y="178702"/>
                    <a:pt x="165900" y="59957"/>
                    <a:pt x="132245" y="71387"/>
                  </a:cubicBezTo>
                  <a:cubicBezTo>
                    <a:pt x="115735" y="135522"/>
                    <a:pt x="151930" y="215532"/>
                    <a:pt x="110655" y="271412"/>
                  </a:cubicBezTo>
                  <a:cubicBezTo>
                    <a:pt x="-25235" y="413017"/>
                    <a:pt x="-45555" y="225692"/>
                    <a:pt x="103670" y="224422"/>
                  </a:cubicBezTo>
                  <a:close/>
                  <a:moveTo>
                    <a:pt x="176060" y="65672"/>
                  </a:moveTo>
                  <a:cubicBezTo>
                    <a:pt x="170980" y="47892"/>
                    <a:pt x="167170" y="29477"/>
                    <a:pt x="146850" y="25032"/>
                  </a:cubicBezTo>
                  <a:cubicBezTo>
                    <a:pt x="136690" y="33922"/>
                    <a:pt x="136690" y="33922"/>
                    <a:pt x="134785" y="44082"/>
                  </a:cubicBezTo>
                  <a:cubicBezTo>
                    <a:pt x="148755" y="51067"/>
                    <a:pt x="162090" y="58687"/>
                    <a:pt x="176060" y="6567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3" name="Google Shape;159;p3">
              <a:extLst>
                <a:ext uri="{FF2B5EF4-FFF2-40B4-BE49-F238E27FC236}">
                  <a16:creationId xmlns:a16="http://schemas.microsoft.com/office/drawing/2014/main" id="{E1411E4E-DD68-441C-BA24-04EC531F7CB4}"/>
                </a:ext>
              </a:extLst>
            </p:cNvPr>
            <p:cNvSpPr/>
            <p:nvPr/>
          </p:nvSpPr>
          <p:spPr>
            <a:xfrm>
              <a:off x="711508" y="3001159"/>
              <a:ext cx="154433" cy="272786"/>
            </a:xfrm>
            <a:custGeom>
              <a:avLst/>
              <a:gdLst/>
              <a:ahLst/>
              <a:cxnLst/>
              <a:rect l="l" t="t" r="r" b="b"/>
              <a:pathLst>
                <a:path w="179573" h="317193" extrusionOk="0">
                  <a:moveTo>
                    <a:pt x="48300" y="7056"/>
                  </a:moveTo>
                  <a:cubicBezTo>
                    <a:pt x="85130" y="8961"/>
                    <a:pt x="155616" y="-21519"/>
                    <a:pt x="159425" y="31186"/>
                  </a:cubicBezTo>
                  <a:cubicBezTo>
                    <a:pt x="167680" y="121356"/>
                    <a:pt x="186096" y="212796"/>
                    <a:pt x="177205" y="302966"/>
                  </a:cubicBezTo>
                  <a:cubicBezTo>
                    <a:pt x="142280" y="316301"/>
                    <a:pt x="114975" y="320111"/>
                    <a:pt x="85766" y="315031"/>
                  </a:cubicBezTo>
                  <a:cubicBezTo>
                    <a:pt x="69255" y="264231"/>
                    <a:pt x="90211" y="208351"/>
                    <a:pt x="78780" y="154376"/>
                  </a:cubicBezTo>
                  <a:cubicBezTo>
                    <a:pt x="-62189" y="192476"/>
                    <a:pt x="24171" y="74366"/>
                    <a:pt x="48300" y="7056"/>
                  </a:cubicBezTo>
                  <a:close/>
                  <a:moveTo>
                    <a:pt x="109261" y="290901"/>
                  </a:moveTo>
                  <a:cubicBezTo>
                    <a:pt x="134025" y="291536"/>
                    <a:pt x="134025" y="291536"/>
                    <a:pt x="154346" y="278836"/>
                  </a:cubicBezTo>
                  <a:cubicBezTo>
                    <a:pt x="153075" y="219781"/>
                    <a:pt x="167680" y="54046"/>
                    <a:pt x="118786" y="24201"/>
                  </a:cubicBezTo>
                  <a:cubicBezTo>
                    <a:pt x="53380" y="10231"/>
                    <a:pt x="40046" y="82621"/>
                    <a:pt x="20996" y="128976"/>
                  </a:cubicBezTo>
                  <a:cubicBezTo>
                    <a:pt x="48936" y="149931"/>
                    <a:pt x="55921" y="133421"/>
                    <a:pt x="69891" y="115641"/>
                  </a:cubicBezTo>
                  <a:cubicBezTo>
                    <a:pt x="135296" y="72461"/>
                    <a:pt x="83861" y="261691"/>
                    <a:pt x="109261" y="290901"/>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4" name="Google Shape;160;p3">
              <a:extLst>
                <a:ext uri="{FF2B5EF4-FFF2-40B4-BE49-F238E27FC236}">
                  <a16:creationId xmlns:a16="http://schemas.microsoft.com/office/drawing/2014/main" id="{4FAAA02B-145E-42EF-9989-D3B3298B2D2D}"/>
                </a:ext>
              </a:extLst>
            </p:cNvPr>
            <p:cNvSpPr/>
            <p:nvPr/>
          </p:nvSpPr>
          <p:spPr>
            <a:xfrm>
              <a:off x="8576875" y="2558027"/>
              <a:ext cx="223822" cy="307981"/>
            </a:xfrm>
            <a:custGeom>
              <a:avLst/>
              <a:gdLst/>
              <a:ahLst/>
              <a:cxnLst/>
              <a:rect l="l" t="t" r="r" b="b"/>
              <a:pathLst>
                <a:path w="283319" h="389850" extrusionOk="0">
                  <a:moveTo>
                    <a:pt x="215764" y="169337"/>
                  </a:moveTo>
                  <a:cubicBezTo>
                    <a:pt x="302124" y="27097"/>
                    <a:pt x="90669" y="-68153"/>
                    <a:pt x="11294" y="60752"/>
                  </a:cubicBezTo>
                  <a:cubicBezTo>
                    <a:pt x="-7756" y="89962"/>
                    <a:pt x="-3946" y="100757"/>
                    <a:pt x="32249" y="114092"/>
                  </a:cubicBezTo>
                  <a:cubicBezTo>
                    <a:pt x="71619" y="115997"/>
                    <a:pt x="97019" y="51862"/>
                    <a:pt x="145279" y="76627"/>
                  </a:cubicBezTo>
                  <a:cubicBezTo>
                    <a:pt x="215764" y="123617"/>
                    <a:pt x="108449" y="154732"/>
                    <a:pt x="109719" y="185212"/>
                  </a:cubicBezTo>
                  <a:cubicBezTo>
                    <a:pt x="111624" y="209342"/>
                    <a:pt x="220844" y="209977"/>
                    <a:pt x="165599" y="293162"/>
                  </a:cubicBezTo>
                  <a:cubicBezTo>
                    <a:pt x="115434" y="342057"/>
                    <a:pt x="90669" y="265222"/>
                    <a:pt x="53204" y="286812"/>
                  </a:cubicBezTo>
                  <a:cubicBezTo>
                    <a:pt x="41774" y="293797"/>
                    <a:pt x="19549" y="293162"/>
                    <a:pt x="19549" y="310942"/>
                  </a:cubicBezTo>
                  <a:cubicBezTo>
                    <a:pt x="44949" y="470962"/>
                    <a:pt x="437379" y="369362"/>
                    <a:pt x="215764" y="169337"/>
                  </a:cubicBezTo>
                  <a:close/>
                  <a:moveTo>
                    <a:pt x="255769" y="311577"/>
                  </a:moveTo>
                  <a:cubicBezTo>
                    <a:pt x="230369" y="375712"/>
                    <a:pt x="58919" y="393492"/>
                    <a:pt x="43679" y="321102"/>
                  </a:cubicBezTo>
                  <a:cubicBezTo>
                    <a:pt x="53204" y="313482"/>
                    <a:pt x="60189" y="310942"/>
                    <a:pt x="70984" y="308402"/>
                  </a:cubicBezTo>
                  <a:cubicBezTo>
                    <a:pt x="145914" y="381427"/>
                    <a:pt x="251959" y="274112"/>
                    <a:pt x="178299" y="199817"/>
                  </a:cubicBezTo>
                  <a:cubicBezTo>
                    <a:pt x="157344" y="184577"/>
                    <a:pt x="144644" y="190927"/>
                    <a:pt x="171314" y="159812"/>
                  </a:cubicBezTo>
                  <a:cubicBezTo>
                    <a:pt x="239259" y="61387"/>
                    <a:pt x="99559" y="5507"/>
                    <a:pt x="35424" y="93772"/>
                  </a:cubicBezTo>
                  <a:cubicBezTo>
                    <a:pt x="-5851" y="29002"/>
                    <a:pt x="261484" y="-44023"/>
                    <a:pt x="204334" y="148382"/>
                  </a:cubicBezTo>
                  <a:cubicBezTo>
                    <a:pt x="201159" y="161082"/>
                    <a:pt x="201159" y="165527"/>
                    <a:pt x="188459" y="178227"/>
                  </a:cubicBezTo>
                  <a:cubicBezTo>
                    <a:pt x="227829" y="190292"/>
                    <a:pt x="275454" y="281097"/>
                    <a:pt x="255769" y="31157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5" name="Google Shape;161;p3">
              <a:extLst>
                <a:ext uri="{FF2B5EF4-FFF2-40B4-BE49-F238E27FC236}">
                  <a16:creationId xmlns:a16="http://schemas.microsoft.com/office/drawing/2014/main" id="{A1BC7C48-F5BC-429D-A0C2-2F698A1C754A}"/>
                </a:ext>
              </a:extLst>
            </p:cNvPr>
            <p:cNvSpPr/>
            <p:nvPr/>
          </p:nvSpPr>
          <p:spPr>
            <a:xfrm>
              <a:off x="140852" y="836409"/>
              <a:ext cx="224053" cy="290283"/>
            </a:xfrm>
            <a:custGeom>
              <a:avLst/>
              <a:gdLst/>
              <a:ahLst/>
              <a:cxnLst/>
              <a:rect l="l" t="t" r="r" b="b"/>
              <a:pathLst>
                <a:path w="260527" h="337538" extrusionOk="0">
                  <a:moveTo>
                    <a:pt x="70965" y="150214"/>
                  </a:moveTo>
                  <a:cubicBezTo>
                    <a:pt x="-31905" y="199744"/>
                    <a:pt x="-8410" y="53058"/>
                    <a:pt x="50010" y="19403"/>
                  </a:cubicBezTo>
                  <a:cubicBezTo>
                    <a:pt x="99540" y="-21237"/>
                    <a:pt x="175740" y="6703"/>
                    <a:pt x="204315" y="59408"/>
                  </a:cubicBezTo>
                  <a:cubicBezTo>
                    <a:pt x="234160" y="115923"/>
                    <a:pt x="183360" y="176248"/>
                    <a:pt x="162405" y="228953"/>
                  </a:cubicBezTo>
                  <a:cubicBezTo>
                    <a:pt x="222730" y="254353"/>
                    <a:pt x="280515" y="204189"/>
                    <a:pt x="253845" y="309598"/>
                  </a:cubicBezTo>
                  <a:cubicBezTo>
                    <a:pt x="202410" y="340078"/>
                    <a:pt x="118590" y="320394"/>
                    <a:pt x="56360" y="337539"/>
                  </a:cubicBezTo>
                  <a:cubicBezTo>
                    <a:pt x="-5235" y="325473"/>
                    <a:pt x="102715" y="185139"/>
                    <a:pt x="110970" y="145133"/>
                  </a:cubicBezTo>
                  <a:cubicBezTo>
                    <a:pt x="160500" y="75919"/>
                    <a:pt x="55725" y="82269"/>
                    <a:pt x="70965" y="150214"/>
                  </a:cubicBezTo>
                  <a:close/>
                  <a:moveTo>
                    <a:pt x="123670" y="254353"/>
                  </a:moveTo>
                  <a:cubicBezTo>
                    <a:pt x="140180" y="194664"/>
                    <a:pt x="211935" y="137514"/>
                    <a:pt x="182725" y="75283"/>
                  </a:cubicBezTo>
                  <a:cubicBezTo>
                    <a:pt x="171930" y="39088"/>
                    <a:pt x="127480" y="13053"/>
                    <a:pt x="92555" y="25119"/>
                  </a:cubicBezTo>
                  <a:cubicBezTo>
                    <a:pt x="36040" y="25119"/>
                    <a:pt x="-10315" y="170533"/>
                    <a:pt x="46200" y="130528"/>
                  </a:cubicBezTo>
                  <a:cubicBezTo>
                    <a:pt x="49375" y="47978"/>
                    <a:pt x="174470" y="60678"/>
                    <a:pt x="140180" y="141958"/>
                  </a:cubicBezTo>
                  <a:cubicBezTo>
                    <a:pt x="119225" y="196569"/>
                    <a:pt x="72870" y="253083"/>
                    <a:pt x="69060" y="309598"/>
                  </a:cubicBezTo>
                  <a:cubicBezTo>
                    <a:pt x="109065" y="316583"/>
                    <a:pt x="193520" y="307694"/>
                    <a:pt x="232890" y="291183"/>
                  </a:cubicBezTo>
                  <a:cubicBezTo>
                    <a:pt x="234795" y="282928"/>
                    <a:pt x="236700" y="274039"/>
                    <a:pt x="238605" y="264514"/>
                  </a:cubicBezTo>
                  <a:cubicBezTo>
                    <a:pt x="197330" y="251178"/>
                    <a:pt x="166215" y="267689"/>
                    <a:pt x="123670" y="254353"/>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56" name="Google Shape;162;p3">
              <a:extLst>
                <a:ext uri="{FF2B5EF4-FFF2-40B4-BE49-F238E27FC236}">
                  <a16:creationId xmlns:a16="http://schemas.microsoft.com/office/drawing/2014/main" id="{061BBCF4-A94F-464F-9254-80F333F37689}"/>
                </a:ext>
              </a:extLst>
            </p:cNvPr>
            <p:cNvGrpSpPr/>
            <p:nvPr/>
          </p:nvGrpSpPr>
          <p:grpSpPr>
            <a:xfrm>
              <a:off x="6457245" y="4530131"/>
              <a:ext cx="216066" cy="276377"/>
              <a:chOff x="6422295" y="3351500"/>
              <a:chExt cx="252856" cy="323399"/>
            </a:xfrm>
          </p:grpSpPr>
          <p:sp>
            <p:nvSpPr>
              <p:cNvPr id="67" name="Google Shape;163;p3">
                <a:extLst>
                  <a:ext uri="{FF2B5EF4-FFF2-40B4-BE49-F238E27FC236}">
                    <a16:creationId xmlns:a16="http://schemas.microsoft.com/office/drawing/2014/main" id="{A5D8B871-971A-497E-88EA-BD3C7E11BB9B}"/>
                  </a:ext>
                </a:extLst>
              </p:cNvPr>
              <p:cNvSpPr/>
              <p:nvPr/>
            </p:nvSpPr>
            <p:spPr>
              <a:xfrm>
                <a:off x="6422295" y="3351500"/>
                <a:ext cx="252856" cy="323399"/>
              </a:xfrm>
              <a:custGeom>
                <a:avLst/>
                <a:gdLst/>
                <a:ahLst/>
                <a:cxnLst/>
                <a:rect l="l" t="t" r="r" b="b"/>
                <a:pathLst>
                  <a:path w="294019" h="376045" extrusionOk="0">
                    <a:moveTo>
                      <a:pt x="172720" y="274801"/>
                    </a:moveTo>
                    <a:cubicBezTo>
                      <a:pt x="154940" y="268451"/>
                      <a:pt x="140970" y="274801"/>
                      <a:pt x="126365" y="278611"/>
                    </a:cubicBezTo>
                    <a:cubicBezTo>
                      <a:pt x="109855" y="304011"/>
                      <a:pt x="109220" y="334491"/>
                      <a:pt x="99695" y="364336"/>
                    </a:cubicBezTo>
                    <a:cubicBezTo>
                      <a:pt x="71755" y="359256"/>
                      <a:pt x="0" y="392911"/>
                      <a:pt x="0" y="352906"/>
                    </a:cubicBezTo>
                    <a:cubicBezTo>
                      <a:pt x="38100" y="239241"/>
                      <a:pt x="70485" y="123671"/>
                      <a:pt x="102235" y="8101"/>
                    </a:cubicBezTo>
                    <a:cubicBezTo>
                      <a:pt x="248920" y="-26189"/>
                      <a:pt x="236855" y="52551"/>
                      <a:pt x="264160" y="165581"/>
                    </a:cubicBezTo>
                    <a:cubicBezTo>
                      <a:pt x="262255" y="201776"/>
                      <a:pt x="322580" y="359256"/>
                      <a:pt x="276860" y="358621"/>
                    </a:cubicBezTo>
                    <a:cubicBezTo>
                      <a:pt x="153670" y="357986"/>
                      <a:pt x="184150" y="433551"/>
                      <a:pt x="172720" y="274801"/>
                    </a:cubicBezTo>
                    <a:close/>
                    <a:moveTo>
                      <a:pt x="266700" y="331316"/>
                    </a:moveTo>
                    <a:cubicBezTo>
                      <a:pt x="262255" y="229081"/>
                      <a:pt x="236220" y="119861"/>
                      <a:pt x="201295" y="23341"/>
                    </a:cubicBezTo>
                    <a:cubicBezTo>
                      <a:pt x="175895" y="22071"/>
                      <a:pt x="129540" y="8736"/>
                      <a:pt x="120015" y="41121"/>
                    </a:cubicBezTo>
                    <a:cubicBezTo>
                      <a:pt x="86995" y="139546"/>
                      <a:pt x="53975" y="239876"/>
                      <a:pt x="33655" y="341476"/>
                    </a:cubicBezTo>
                    <a:cubicBezTo>
                      <a:pt x="90805" y="367511"/>
                      <a:pt x="90805" y="291946"/>
                      <a:pt x="106680" y="256386"/>
                    </a:cubicBezTo>
                    <a:cubicBezTo>
                      <a:pt x="290195" y="214476"/>
                      <a:pt x="113665" y="389736"/>
                      <a:pt x="266700" y="33131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8" name="Google Shape;164;p3">
                <a:extLst>
                  <a:ext uri="{FF2B5EF4-FFF2-40B4-BE49-F238E27FC236}">
                    <a16:creationId xmlns:a16="http://schemas.microsoft.com/office/drawing/2014/main" id="{EF015BEC-6C1B-40AC-A84D-118AD8944F9F}"/>
                  </a:ext>
                </a:extLst>
              </p:cNvPr>
              <p:cNvSpPr/>
              <p:nvPr/>
            </p:nvSpPr>
            <p:spPr>
              <a:xfrm>
                <a:off x="6523827" y="3405472"/>
                <a:ext cx="67661" cy="140626"/>
              </a:xfrm>
              <a:custGeom>
                <a:avLst/>
                <a:gdLst/>
                <a:ahLst/>
                <a:cxnLst/>
                <a:rect l="l" t="t" r="r" b="b"/>
                <a:pathLst>
                  <a:path w="78676" h="163519" extrusionOk="0">
                    <a:moveTo>
                      <a:pt x="47759" y="0"/>
                    </a:moveTo>
                    <a:cubicBezTo>
                      <a:pt x="77604" y="36830"/>
                      <a:pt x="59824" y="93345"/>
                      <a:pt x="76969" y="137160"/>
                    </a:cubicBezTo>
                    <a:cubicBezTo>
                      <a:pt x="82049" y="150495"/>
                      <a:pt x="75699" y="170180"/>
                      <a:pt x="59189" y="161290"/>
                    </a:cubicBezTo>
                    <a:cubicBezTo>
                      <a:pt x="38869" y="149860"/>
                      <a:pt x="-8756" y="165735"/>
                      <a:pt x="1404" y="127635"/>
                    </a:cubicBezTo>
                    <a:cubicBezTo>
                      <a:pt x="15374" y="83820"/>
                      <a:pt x="14104" y="35560"/>
                      <a:pt x="47759" y="0"/>
                    </a:cubicBezTo>
                    <a:close/>
                    <a:moveTo>
                      <a:pt x="25534" y="130810"/>
                    </a:moveTo>
                    <a:cubicBezTo>
                      <a:pt x="68714" y="151130"/>
                      <a:pt x="47124" y="101600"/>
                      <a:pt x="44584" y="77470"/>
                    </a:cubicBezTo>
                    <a:cubicBezTo>
                      <a:pt x="31249" y="97155"/>
                      <a:pt x="26804" y="113665"/>
                      <a:pt x="25534" y="13081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57" name="Google Shape;165;p3">
              <a:extLst>
                <a:ext uri="{FF2B5EF4-FFF2-40B4-BE49-F238E27FC236}">
                  <a16:creationId xmlns:a16="http://schemas.microsoft.com/office/drawing/2014/main" id="{A74C9D07-C230-4862-BDAB-5DE3DD971641}"/>
                </a:ext>
              </a:extLst>
            </p:cNvPr>
            <p:cNvSpPr/>
            <p:nvPr/>
          </p:nvSpPr>
          <p:spPr>
            <a:xfrm>
              <a:off x="2318449" y="613815"/>
              <a:ext cx="332332" cy="336908"/>
            </a:xfrm>
            <a:custGeom>
              <a:avLst/>
              <a:gdLst/>
              <a:ahLst/>
              <a:cxnLst/>
              <a:rect l="l" t="t" r="r" b="b"/>
              <a:pathLst>
                <a:path w="386433" h="391754" extrusionOk="0">
                  <a:moveTo>
                    <a:pt x="22225" y="106004"/>
                  </a:moveTo>
                  <a:cubicBezTo>
                    <a:pt x="40640" y="82509"/>
                    <a:pt x="84455" y="92670"/>
                    <a:pt x="109855" y="76795"/>
                  </a:cubicBezTo>
                  <a:cubicBezTo>
                    <a:pt x="113030" y="58379"/>
                    <a:pt x="107315" y="43139"/>
                    <a:pt x="98425" y="27264"/>
                  </a:cubicBezTo>
                  <a:cubicBezTo>
                    <a:pt x="122555" y="8850"/>
                    <a:pt x="153035" y="-7661"/>
                    <a:pt x="182880" y="3770"/>
                  </a:cubicBezTo>
                  <a:cubicBezTo>
                    <a:pt x="186690" y="19645"/>
                    <a:pt x="190500" y="36789"/>
                    <a:pt x="194945" y="55839"/>
                  </a:cubicBezTo>
                  <a:cubicBezTo>
                    <a:pt x="226695" y="60284"/>
                    <a:pt x="256540" y="42504"/>
                    <a:pt x="287020" y="52664"/>
                  </a:cubicBezTo>
                  <a:cubicBezTo>
                    <a:pt x="300355" y="119339"/>
                    <a:pt x="327660" y="186014"/>
                    <a:pt x="373380" y="237450"/>
                  </a:cubicBezTo>
                  <a:cubicBezTo>
                    <a:pt x="386080" y="250150"/>
                    <a:pt x="388620" y="262850"/>
                    <a:pt x="384810" y="280629"/>
                  </a:cubicBezTo>
                  <a:cubicBezTo>
                    <a:pt x="356870" y="380325"/>
                    <a:pt x="198755" y="356195"/>
                    <a:pt x="115570" y="391754"/>
                  </a:cubicBezTo>
                  <a:cubicBezTo>
                    <a:pt x="31115" y="324445"/>
                    <a:pt x="4445" y="213320"/>
                    <a:pt x="0" y="108545"/>
                  </a:cubicBezTo>
                  <a:cubicBezTo>
                    <a:pt x="8890" y="107275"/>
                    <a:pt x="15875" y="106004"/>
                    <a:pt x="22860" y="105370"/>
                  </a:cubicBezTo>
                  <a:cubicBezTo>
                    <a:pt x="16510" y="199984"/>
                    <a:pt x="46990" y="300314"/>
                    <a:pt x="115570" y="368259"/>
                  </a:cubicBezTo>
                  <a:cubicBezTo>
                    <a:pt x="184150" y="354925"/>
                    <a:pt x="258445" y="348575"/>
                    <a:pt x="323215" y="320634"/>
                  </a:cubicBezTo>
                  <a:cubicBezTo>
                    <a:pt x="316865" y="290789"/>
                    <a:pt x="302895" y="271104"/>
                    <a:pt x="309245" y="243164"/>
                  </a:cubicBezTo>
                  <a:cubicBezTo>
                    <a:pt x="322580" y="243164"/>
                    <a:pt x="333375" y="243164"/>
                    <a:pt x="347980" y="243164"/>
                  </a:cubicBezTo>
                  <a:cubicBezTo>
                    <a:pt x="325755" y="189825"/>
                    <a:pt x="288290" y="147279"/>
                    <a:pt x="278765" y="88225"/>
                  </a:cubicBezTo>
                  <a:cubicBezTo>
                    <a:pt x="273685" y="48220"/>
                    <a:pt x="226695" y="69809"/>
                    <a:pt x="203835" y="81875"/>
                  </a:cubicBezTo>
                  <a:cubicBezTo>
                    <a:pt x="206375" y="93304"/>
                    <a:pt x="208280" y="102829"/>
                    <a:pt x="210185" y="112354"/>
                  </a:cubicBezTo>
                  <a:cubicBezTo>
                    <a:pt x="182245" y="123784"/>
                    <a:pt x="158115" y="145375"/>
                    <a:pt x="128270" y="132675"/>
                  </a:cubicBezTo>
                  <a:cubicBezTo>
                    <a:pt x="121285" y="63459"/>
                    <a:pt x="57150" y="126325"/>
                    <a:pt x="22225" y="106004"/>
                  </a:cubicBezTo>
                  <a:close/>
                  <a:moveTo>
                    <a:pt x="165100" y="21550"/>
                  </a:moveTo>
                  <a:cubicBezTo>
                    <a:pt x="107315" y="11389"/>
                    <a:pt x="133350" y="88225"/>
                    <a:pt x="145415" y="118070"/>
                  </a:cubicBezTo>
                  <a:cubicBezTo>
                    <a:pt x="163195" y="119975"/>
                    <a:pt x="173355" y="109814"/>
                    <a:pt x="185420" y="100289"/>
                  </a:cubicBezTo>
                  <a:cubicBezTo>
                    <a:pt x="179070" y="72984"/>
                    <a:pt x="172720" y="46314"/>
                    <a:pt x="165100" y="21550"/>
                  </a:cubicBezTo>
                  <a:close/>
                  <a:moveTo>
                    <a:pt x="327660" y="266025"/>
                  </a:moveTo>
                  <a:cubicBezTo>
                    <a:pt x="328930" y="337145"/>
                    <a:pt x="368300" y="313014"/>
                    <a:pt x="357505" y="266025"/>
                  </a:cubicBezTo>
                  <a:cubicBezTo>
                    <a:pt x="349885" y="266025"/>
                    <a:pt x="340360" y="266025"/>
                    <a:pt x="327660" y="266025"/>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8" name="Google Shape;166;p3">
              <a:extLst>
                <a:ext uri="{FF2B5EF4-FFF2-40B4-BE49-F238E27FC236}">
                  <a16:creationId xmlns:a16="http://schemas.microsoft.com/office/drawing/2014/main" id="{CFF947DF-86EC-4D06-8402-0D28FAA07E2E}"/>
                </a:ext>
              </a:extLst>
            </p:cNvPr>
            <p:cNvSpPr/>
            <p:nvPr/>
          </p:nvSpPr>
          <p:spPr>
            <a:xfrm>
              <a:off x="6021196" y="137179"/>
              <a:ext cx="265484" cy="205157"/>
            </a:xfrm>
            <a:custGeom>
              <a:avLst/>
              <a:gdLst/>
              <a:ahLst/>
              <a:cxnLst/>
              <a:rect l="l" t="t" r="r" b="b"/>
              <a:pathLst>
                <a:path w="308702" h="238555" extrusionOk="0">
                  <a:moveTo>
                    <a:pt x="275682" y="130540"/>
                  </a:moveTo>
                  <a:cubicBezTo>
                    <a:pt x="186782" y="134985"/>
                    <a:pt x="95977" y="143875"/>
                    <a:pt x="7712" y="150225"/>
                  </a:cubicBezTo>
                  <a:cubicBezTo>
                    <a:pt x="-8798" y="168640"/>
                    <a:pt x="1997" y="241030"/>
                    <a:pt x="32477" y="238490"/>
                  </a:cubicBezTo>
                  <a:cubicBezTo>
                    <a:pt x="126457" y="218805"/>
                    <a:pt x="214087" y="238490"/>
                    <a:pt x="308702" y="211820"/>
                  </a:cubicBezTo>
                  <a:cubicBezTo>
                    <a:pt x="278857" y="185150"/>
                    <a:pt x="322672" y="132445"/>
                    <a:pt x="275682" y="130540"/>
                  </a:cubicBezTo>
                  <a:close/>
                  <a:moveTo>
                    <a:pt x="271872" y="187690"/>
                  </a:moveTo>
                  <a:cubicBezTo>
                    <a:pt x="200752" y="219440"/>
                    <a:pt x="111217" y="202930"/>
                    <a:pt x="33112" y="211185"/>
                  </a:cubicBezTo>
                  <a:cubicBezTo>
                    <a:pt x="25492" y="195310"/>
                    <a:pt x="24857" y="195310"/>
                    <a:pt x="29302" y="175625"/>
                  </a:cubicBezTo>
                  <a:cubicBezTo>
                    <a:pt x="108677" y="166100"/>
                    <a:pt x="196307" y="146415"/>
                    <a:pt x="274412" y="159750"/>
                  </a:cubicBezTo>
                  <a:cubicBezTo>
                    <a:pt x="273777" y="169275"/>
                    <a:pt x="272507" y="179435"/>
                    <a:pt x="271872" y="187690"/>
                  </a:cubicBezTo>
                  <a:close/>
                  <a:moveTo>
                    <a:pt x="3902" y="80375"/>
                  </a:moveTo>
                  <a:cubicBezTo>
                    <a:pt x="10252" y="126095"/>
                    <a:pt x="181067" y="83550"/>
                    <a:pt x="218532" y="87995"/>
                  </a:cubicBezTo>
                  <a:cubicBezTo>
                    <a:pt x="295367" y="95615"/>
                    <a:pt x="307432" y="97520"/>
                    <a:pt x="293462" y="19415"/>
                  </a:cubicBezTo>
                  <a:cubicBezTo>
                    <a:pt x="285842" y="-17415"/>
                    <a:pt x="73117" y="11160"/>
                    <a:pt x="28032" y="2270"/>
                  </a:cubicBezTo>
                  <a:cubicBezTo>
                    <a:pt x="-10068" y="1635"/>
                    <a:pt x="6442" y="55610"/>
                    <a:pt x="3902" y="80375"/>
                  </a:cubicBezTo>
                  <a:close/>
                  <a:moveTo>
                    <a:pt x="40097" y="25130"/>
                  </a:moveTo>
                  <a:cubicBezTo>
                    <a:pt x="78197" y="25765"/>
                    <a:pt x="115027" y="14970"/>
                    <a:pt x="153762" y="23225"/>
                  </a:cubicBezTo>
                  <a:cubicBezTo>
                    <a:pt x="189957" y="39735"/>
                    <a:pt x="274412" y="-6620"/>
                    <a:pt x="276317" y="52435"/>
                  </a:cubicBezTo>
                  <a:cubicBezTo>
                    <a:pt x="287747" y="79105"/>
                    <a:pt x="54067" y="73390"/>
                    <a:pt x="26762" y="72120"/>
                  </a:cubicBezTo>
                  <a:cubicBezTo>
                    <a:pt x="27397" y="54975"/>
                    <a:pt x="15332" y="26400"/>
                    <a:pt x="40097" y="2513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59" name="Google Shape;167;p3">
              <a:extLst>
                <a:ext uri="{FF2B5EF4-FFF2-40B4-BE49-F238E27FC236}">
                  <a16:creationId xmlns:a16="http://schemas.microsoft.com/office/drawing/2014/main" id="{296C5B09-63AC-4349-A8AD-5FC47298B7BF}"/>
                </a:ext>
              </a:extLst>
            </p:cNvPr>
            <p:cNvGrpSpPr/>
            <p:nvPr/>
          </p:nvGrpSpPr>
          <p:grpSpPr>
            <a:xfrm>
              <a:off x="1184427" y="4630083"/>
              <a:ext cx="229693" cy="293080"/>
              <a:chOff x="6793660" y="3322411"/>
              <a:chExt cx="268804" cy="342944"/>
            </a:xfrm>
          </p:grpSpPr>
          <p:sp>
            <p:nvSpPr>
              <p:cNvPr id="64" name="Google Shape;168;p3">
                <a:extLst>
                  <a:ext uri="{FF2B5EF4-FFF2-40B4-BE49-F238E27FC236}">
                    <a16:creationId xmlns:a16="http://schemas.microsoft.com/office/drawing/2014/main" id="{D43D496B-4A9F-4C55-9824-8149A5C3513C}"/>
                  </a:ext>
                </a:extLst>
              </p:cNvPr>
              <p:cNvSpPr/>
              <p:nvPr/>
            </p:nvSpPr>
            <p:spPr>
              <a:xfrm>
                <a:off x="6793660" y="3322411"/>
                <a:ext cx="268804" cy="342944"/>
              </a:xfrm>
              <a:custGeom>
                <a:avLst/>
                <a:gdLst/>
                <a:ahLst/>
                <a:cxnLst/>
                <a:rect l="l" t="t" r="r" b="b"/>
                <a:pathLst>
                  <a:path w="312563" h="398772" extrusionOk="0">
                    <a:moveTo>
                      <a:pt x="216826" y="153028"/>
                    </a:moveTo>
                    <a:cubicBezTo>
                      <a:pt x="221271" y="163188"/>
                      <a:pt x="230796" y="165093"/>
                      <a:pt x="238416" y="166997"/>
                    </a:cubicBezTo>
                    <a:cubicBezTo>
                      <a:pt x="302551" y="185413"/>
                      <a:pt x="337476" y="278758"/>
                      <a:pt x="291756" y="323843"/>
                    </a:cubicBezTo>
                    <a:cubicBezTo>
                      <a:pt x="232701" y="397503"/>
                      <a:pt x="134911" y="398772"/>
                      <a:pt x="48551" y="398772"/>
                    </a:cubicBezTo>
                    <a:cubicBezTo>
                      <a:pt x="926" y="373372"/>
                      <a:pt x="31406" y="246372"/>
                      <a:pt x="16166" y="193668"/>
                    </a:cubicBezTo>
                    <a:cubicBezTo>
                      <a:pt x="21881" y="142868"/>
                      <a:pt x="-23839" y="59047"/>
                      <a:pt x="17436" y="23488"/>
                    </a:cubicBezTo>
                    <a:cubicBezTo>
                      <a:pt x="114591" y="-33028"/>
                      <a:pt x="340016" y="13328"/>
                      <a:pt x="216826" y="153028"/>
                    </a:cubicBezTo>
                    <a:close/>
                    <a:moveTo>
                      <a:pt x="54901" y="378453"/>
                    </a:moveTo>
                    <a:cubicBezTo>
                      <a:pt x="170471" y="401313"/>
                      <a:pt x="394626" y="293997"/>
                      <a:pt x="234606" y="185413"/>
                    </a:cubicBezTo>
                    <a:cubicBezTo>
                      <a:pt x="203491" y="168903"/>
                      <a:pt x="153326" y="198747"/>
                      <a:pt x="133006" y="175253"/>
                    </a:cubicBezTo>
                    <a:cubicBezTo>
                      <a:pt x="144436" y="149218"/>
                      <a:pt x="190791" y="149218"/>
                      <a:pt x="209206" y="125088"/>
                    </a:cubicBezTo>
                    <a:cubicBezTo>
                      <a:pt x="287946" y="16503"/>
                      <a:pt x="107606" y="-642"/>
                      <a:pt x="40296" y="38093"/>
                    </a:cubicBezTo>
                    <a:cubicBezTo>
                      <a:pt x="2831" y="52697"/>
                      <a:pt x="33311" y="106672"/>
                      <a:pt x="30136" y="137153"/>
                    </a:cubicBezTo>
                    <a:cubicBezTo>
                      <a:pt x="44741" y="218433"/>
                      <a:pt x="40931" y="297808"/>
                      <a:pt x="54901" y="378453"/>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5" name="Google Shape;169;p3">
                <a:extLst>
                  <a:ext uri="{FF2B5EF4-FFF2-40B4-BE49-F238E27FC236}">
                    <a16:creationId xmlns:a16="http://schemas.microsoft.com/office/drawing/2014/main" id="{66796A3A-7456-4310-BB79-D5EFA11CDF29}"/>
                  </a:ext>
                </a:extLst>
              </p:cNvPr>
              <p:cNvSpPr/>
              <p:nvPr/>
            </p:nvSpPr>
            <p:spPr>
              <a:xfrm>
                <a:off x="6856211" y="3513113"/>
                <a:ext cx="129046" cy="89953"/>
              </a:xfrm>
              <a:custGeom>
                <a:avLst/>
                <a:gdLst/>
                <a:ahLst/>
                <a:cxnLst/>
                <a:rect l="l" t="t" r="r" b="b"/>
                <a:pathLst>
                  <a:path w="150053" h="104597" extrusionOk="0">
                    <a:moveTo>
                      <a:pt x="0" y="23515"/>
                    </a:moveTo>
                    <a:cubicBezTo>
                      <a:pt x="96520" y="-43160"/>
                      <a:pt x="239395" y="48280"/>
                      <a:pt x="74930" y="95905"/>
                    </a:cubicBezTo>
                    <a:cubicBezTo>
                      <a:pt x="-23495" y="118765"/>
                      <a:pt x="19685" y="97175"/>
                      <a:pt x="0" y="23515"/>
                    </a:cubicBezTo>
                    <a:close/>
                    <a:moveTo>
                      <a:pt x="92075" y="16530"/>
                    </a:moveTo>
                    <a:cubicBezTo>
                      <a:pt x="57150" y="22880"/>
                      <a:pt x="17780" y="24150"/>
                      <a:pt x="31750" y="69235"/>
                    </a:cubicBezTo>
                    <a:cubicBezTo>
                      <a:pt x="53340" y="109875"/>
                      <a:pt x="184150" y="29230"/>
                      <a:pt x="92075" y="16530"/>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6" name="Google Shape;170;p3">
                <a:extLst>
                  <a:ext uri="{FF2B5EF4-FFF2-40B4-BE49-F238E27FC236}">
                    <a16:creationId xmlns:a16="http://schemas.microsoft.com/office/drawing/2014/main" id="{5AE20EA3-139D-4E96-87EA-6ABD338A141A}"/>
                  </a:ext>
                </a:extLst>
              </p:cNvPr>
              <p:cNvSpPr/>
              <p:nvPr/>
            </p:nvSpPr>
            <p:spPr>
              <a:xfrm>
                <a:off x="6843642" y="3359143"/>
                <a:ext cx="112645" cy="75760"/>
              </a:xfrm>
              <a:custGeom>
                <a:avLst/>
                <a:gdLst/>
                <a:ahLst/>
                <a:cxnLst/>
                <a:rect l="l" t="t" r="r" b="b"/>
                <a:pathLst>
                  <a:path w="130983" h="88093" extrusionOk="0">
                    <a:moveTo>
                      <a:pt x="0" y="22716"/>
                    </a:moveTo>
                    <a:cubicBezTo>
                      <a:pt x="33020" y="8111"/>
                      <a:pt x="162560" y="-29989"/>
                      <a:pt x="123825" y="44941"/>
                    </a:cubicBezTo>
                    <a:cubicBezTo>
                      <a:pt x="67945" y="81136"/>
                      <a:pt x="0" y="130031"/>
                      <a:pt x="0" y="22716"/>
                    </a:cubicBezTo>
                    <a:close/>
                    <a:moveTo>
                      <a:pt x="34289" y="67166"/>
                    </a:moveTo>
                    <a:cubicBezTo>
                      <a:pt x="60325" y="58911"/>
                      <a:pt x="96520" y="46846"/>
                      <a:pt x="102235" y="20176"/>
                    </a:cubicBezTo>
                    <a:cubicBezTo>
                      <a:pt x="74295" y="17636"/>
                      <a:pt x="50164" y="25256"/>
                      <a:pt x="27305" y="37321"/>
                    </a:cubicBezTo>
                    <a:cubicBezTo>
                      <a:pt x="24130" y="49386"/>
                      <a:pt x="24764" y="57641"/>
                      <a:pt x="34289" y="67166"/>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60" name="Google Shape;171;p3">
              <a:extLst>
                <a:ext uri="{FF2B5EF4-FFF2-40B4-BE49-F238E27FC236}">
                  <a16:creationId xmlns:a16="http://schemas.microsoft.com/office/drawing/2014/main" id="{64EE9073-F1CC-4483-89C9-142F060D1563}"/>
                </a:ext>
              </a:extLst>
            </p:cNvPr>
            <p:cNvSpPr/>
            <p:nvPr/>
          </p:nvSpPr>
          <p:spPr>
            <a:xfrm>
              <a:off x="4843337" y="836403"/>
              <a:ext cx="377232" cy="204888"/>
            </a:xfrm>
            <a:custGeom>
              <a:avLst/>
              <a:gdLst/>
              <a:ahLst/>
              <a:cxnLst/>
              <a:rect l="l" t="t" r="r" b="b"/>
              <a:pathLst>
                <a:path w="550703" h="299106" extrusionOk="0">
                  <a:moveTo>
                    <a:pt x="315400" y="163550"/>
                  </a:moveTo>
                  <a:cubicBezTo>
                    <a:pt x="376995" y="159105"/>
                    <a:pt x="479865" y="221335"/>
                    <a:pt x="505265" y="137515"/>
                  </a:cubicBezTo>
                  <a:cubicBezTo>
                    <a:pt x="521140" y="29565"/>
                    <a:pt x="410015" y="17500"/>
                    <a:pt x="347150" y="85445"/>
                  </a:cubicBezTo>
                  <a:cubicBezTo>
                    <a:pt x="271585" y="162915"/>
                    <a:pt x="215070" y="322300"/>
                    <a:pt x="82355" y="296265"/>
                  </a:cubicBezTo>
                  <a:cubicBezTo>
                    <a:pt x="-122750" y="216255"/>
                    <a:pt x="103945" y="13055"/>
                    <a:pt x="235390" y="104495"/>
                  </a:cubicBezTo>
                  <a:cubicBezTo>
                    <a:pt x="255075" y="120370"/>
                    <a:pt x="243645" y="141960"/>
                    <a:pt x="220150" y="127990"/>
                  </a:cubicBezTo>
                  <a:cubicBezTo>
                    <a:pt x="107120" y="72745"/>
                    <a:pt x="-35755" y="251180"/>
                    <a:pt x="118550" y="248640"/>
                  </a:cubicBezTo>
                  <a:cubicBezTo>
                    <a:pt x="248725" y="211810"/>
                    <a:pt x="274760" y="49885"/>
                    <a:pt x="402395" y="9245"/>
                  </a:cubicBezTo>
                  <a:cubicBezTo>
                    <a:pt x="433510" y="1625"/>
                    <a:pt x="474785" y="-10440"/>
                    <a:pt x="498280" y="17500"/>
                  </a:cubicBezTo>
                  <a:cubicBezTo>
                    <a:pt x="519235" y="48615"/>
                    <a:pt x="559240" y="75920"/>
                    <a:pt x="549080" y="117830"/>
                  </a:cubicBezTo>
                  <a:cubicBezTo>
                    <a:pt x="541460" y="223240"/>
                    <a:pt x="350325" y="257530"/>
                    <a:pt x="315400" y="163550"/>
                  </a:cubicBezTo>
                  <a:close/>
                  <a:moveTo>
                    <a:pt x="128710" y="265785"/>
                  </a:moveTo>
                  <a:cubicBezTo>
                    <a:pt x="119820" y="279120"/>
                    <a:pt x="105215" y="267055"/>
                    <a:pt x="94420" y="274040"/>
                  </a:cubicBezTo>
                  <a:cubicBezTo>
                    <a:pt x="113470" y="281660"/>
                    <a:pt x="117280" y="256260"/>
                    <a:pt x="133790" y="268960"/>
                  </a:cubicBezTo>
                  <a:cubicBezTo>
                    <a:pt x="135060" y="268960"/>
                    <a:pt x="136330" y="267690"/>
                    <a:pt x="137600" y="267055"/>
                  </a:cubicBezTo>
                  <a:cubicBezTo>
                    <a:pt x="134425" y="266420"/>
                    <a:pt x="131885" y="266420"/>
                    <a:pt x="128710" y="265785"/>
                  </a:cubicBezTo>
                  <a:close/>
                  <a:moveTo>
                    <a:pt x="39175" y="164820"/>
                  </a:moveTo>
                  <a:cubicBezTo>
                    <a:pt x="11870" y="209270"/>
                    <a:pt x="25205" y="257530"/>
                    <a:pt x="65210" y="265150"/>
                  </a:cubicBezTo>
                  <a:cubicBezTo>
                    <a:pt x="34730" y="237210"/>
                    <a:pt x="20125" y="205460"/>
                    <a:pt x="39175" y="164820"/>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1" name="Google Shape;172;p3">
              <a:extLst>
                <a:ext uri="{FF2B5EF4-FFF2-40B4-BE49-F238E27FC236}">
                  <a16:creationId xmlns:a16="http://schemas.microsoft.com/office/drawing/2014/main" id="{CB7DB896-33B3-41DC-BB01-F2D7CB78EADD}"/>
                </a:ext>
              </a:extLst>
            </p:cNvPr>
            <p:cNvSpPr/>
            <p:nvPr/>
          </p:nvSpPr>
          <p:spPr>
            <a:xfrm rot="-2218186">
              <a:off x="-38492" y="151543"/>
              <a:ext cx="236276" cy="230041"/>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2" name="Google Shape;173;p3">
              <a:extLst>
                <a:ext uri="{FF2B5EF4-FFF2-40B4-BE49-F238E27FC236}">
                  <a16:creationId xmlns:a16="http://schemas.microsoft.com/office/drawing/2014/main" id="{F428F3A0-7407-4A41-8EC0-E729B29E0AB0}"/>
                </a:ext>
              </a:extLst>
            </p:cNvPr>
            <p:cNvSpPr/>
            <p:nvPr/>
          </p:nvSpPr>
          <p:spPr>
            <a:xfrm rot="1464154">
              <a:off x="4569091" y="-94554"/>
              <a:ext cx="235935" cy="229710"/>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3" name="Google Shape;174;p3">
              <a:extLst>
                <a:ext uri="{FF2B5EF4-FFF2-40B4-BE49-F238E27FC236}">
                  <a16:creationId xmlns:a16="http://schemas.microsoft.com/office/drawing/2014/main" id="{4F767371-F835-49CF-A9BA-C3C144C2E73A}"/>
                </a:ext>
              </a:extLst>
            </p:cNvPr>
            <p:cNvSpPr/>
            <p:nvPr/>
          </p:nvSpPr>
          <p:spPr>
            <a:xfrm rot="-2221343">
              <a:off x="1866371" y="3538528"/>
              <a:ext cx="206347" cy="200902"/>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Tree>
    <p:extLst>
      <p:ext uri="{BB962C8B-B14F-4D97-AF65-F5344CB8AC3E}">
        <p14:creationId xmlns:p14="http://schemas.microsoft.com/office/powerpoint/2010/main" val="1480811344"/>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reaker (B)">
    <p:bg>
      <p:bgPr>
        <a:solidFill>
          <a:srgbClr val="E6E6E6"/>
        </a:solidFill>
        <a:effectLst/>
      </p:bgPr>
    </p:bg>
    <p:spTree>
      <p:nvGrpSpPr>
        <p:cNvPr id="1" name=""/>
        <p:cNvGrpSpPr/>
        <p:nvPr/>
      </p:nvGrpSpPr>
      <p:grpSpPr>
        <a:xfrm>
          <a:off x="0" y="0"/>
          <a:ext cx="0" cy="0"/>
          <a:chOff x="0" y="0"/>
          <a:chExt cx="0" cy="0"/>
        </a:xfrm>
      </p:grpSpPr>
      <p:graphicFrame>
        <p:nvGraphicFramePr>
          <p:cNvPr id="74" name="Object 73" hidden="1">
            <a:extLst>
              <a:ext uri="{FF2B5EF4-FFF2-40B4-BE49-F238E27FC236}">
                <a16:creationId xmlns:a16="http://schemas.microsoft.com/office/drawing/2014/main" id="{84782DE8-9767-4702-8C7F-EAE3A0FA6E3B}"/>
              </a:ext>
            </a:extLst>
          </p:cNvPr>
          <p:cNvGraphicFramePr>
            <a:graphicFrameLocks noChangeAspect="1"/>
          </p:cNvGraphicFramePr>
          <p:nvPr userDrawn="1">
            <p:custDataLst>
              <p:tags r:id="rId1"/>
            </p:custDataLst>
            <p:extLst>
              <p:ext uri="{D42A27DB-BD31-4B8C-83A1-F6EECF244321}">
                <p14:modId xmlns:p14="http://schemas.microsoft.com/office/powerpoint/2010/main" val="4054600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74" name="Object 73" hidden="1">
                        <a:extLst>
                          <a:ext uri="{FF2B5EF4-FFF2-40B4-BE49-F238E27FC236}">
                            <a16:creationId xmlns:a16="http://schemas.microsoft.com/office/drawing/2014/main" id="{84782DE8-9767-4702-8C7F-EAE3A0FA6E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B4DA3B0F-03CD-4108-8860-23727812948A}"/>
              </a:ext>
            </a:extLst>
          </p:cNvPr>
          <p:cNvPicPr>
            <a:picLocks noChangeAspect="1"/>
          </p:cNvPicPr>
          <p:nvPr userDrawn="1"/>
        </p:nvPicPr>
        <p:blipFill>
          <a:blip r:embed="rId5"/>
          <a:stretch>
            <a:fillRect/>
          </a:stretch>
        </p:blipFill>
        <p:spPr>
          <a:xfrm>
            <a:off x="-154675" y="-77484"/>
            <a:ext cx="12501349" cy="7162403"/>
          </a:xfrm>
          <a:prstGeom prst="rect">
            <a:avLst/>
          </a:prstGeom>
        </p:spPr>
      </p:pic>
      <p:sp>
        <p:nvSpPr>
          <p:cNvPr id="2" name="Title 1"/>
          <p:cNvSpPr>
            <a:spLocks noGrp="1"/>
          </p:cNvSpPr>
          <p:nvPr>
            <p:ph type="ctrTitle" hasCustomPrompt="1"/>
          </p:nvPr>
        </p:nvSpPr>
        <p:spPr bwMode="white">
          <a:xfrm>
            <a:off x="1609725" y="1122363"/>
            <a:ext cx="9010650" cy="1984631"/>
          </a:xfrm>
        </p:spPr>
        <p:txBody>
          <a:bodyPr vert="horz" anchor="ctr"/>
          <a:lstStyle>
            <a:lvl1pPr algn="ctr" rtl="0">
              <a:defRPr sz="6000">
                <a:solidFill>
                  <a:schemeClr val="tx1"/>
                </a:solidFill>
              </a:defRPr>
            </a:lvl1pPr>
          </a:lstStyle>
          <a:p>
            <a:r>
              <a:rPr lang="da-DK" noProof="0"/>
              <a:t>Click to add </a:t>
            </a:r>
            <a:r>
              <a:rPr lang="da-DK"/>
              <a:t>Breaker text</a:t>
            </a:r>
          </a:p>
        </p:txBody>
      </p:sp>
      <p:sp>
        <p:nvSpPr>
          <p:cNvPr id="75" name="Rectangle 74">
            <a:extLst>
              <a:ext uri="{FF2B5EF4-FFF2-40B4-BE49-F238E27FC236}">
                <a16:creationId xmlns:a16="http://schemas.microsoft.com/office/drawing/2014/main" id="{D3B8EA68-780D-408D-A1B0-D4E553F60DC6}"/>
              </a:ext>
            </a:extLst>
          </p:cNvPr>
          <p:cNvSpPr/>
          <p:nvPr userDrawn="1"/>
        </p:nvSpPr>
        <p:spPr>
          <a:xfrm>
            <a:off x="5991225" y="6496050"/>
            <a:ext cx="295275" cy="21907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Tree>
    <p:extLst>
      <p:ext uri="{BB962C8B-B14F-4D97-AF65-F5344CB8AC3E}">
        <p14:creationId xmlns:p14="http://schemas.microsoft.com/office/powerpoint/2010/main" val="4004401256"/>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74CC8F9-A212-4669-B5A2-90527C0FB5EF}"/>
              </a:ext>
            </a:extLst>
          </p:cNvPr>
          <p:cNvGraphicFramePr>
            <a:graphicFrameLocks noChangeAspect="1"/>
          </p:cNvGraphicFramePr>
          <p:nvPr userDrawn="1">
            <p:custDataLst>
              <p:tags r:id="rId1"/>
            </p:custDataLst>
            <p:extLst>
              <p:ext uri="{D42A27DB-BD31-4B8C-83A1-F6EECF244321}">
                <p14:modId xmlns:p14="http://schemas.microsoft.com/office/powerpoint/2010/main" val="855257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974CC8F9-A212-4669-B5A2-90527C0FB5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a:xfrm>
            <a:off x="1350000" y="1122363"/>
            <a:ext cx="8509963" cy="1984631"/>
          </a:xfrm>
        </p:spPr>
        <p:txBody>
          <a:bodyPr vert="horz" anchor="b"/>
          <a:lstStyle>
            <a:lvl1pPr algn="l" rtl="0">
              <a:defRPr sz="6000">
                <a:solidFill>
                  <a:schemeClr val="accent2"/>
                </a:solidFill>
              </a:defRPr>
            </a:lvl1pPr>
          </a:lstStyle>
          <a:p>
            <a:r>
              <a:rPr lang="da-DK" noProof="0"/>
              <a:t>Click to add </a:t>
            </a:r>
            <a:r>
              <a:rPr lang="da-DK"/>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rtl="0">
              <a:defRPr>
                <a:solidFill>
                  <a:schemeClr val="accent2"/>
                </a:solidFill>
              </a:defRPr>
            </a:lvl1pPr>
          </a:lstStyle>
          <a:p>
            <a:fld id="{E373EE1C-D19B-4EA0-9A15-DED1DEE449B9}" type="datetime1">
              <a:rPr lang="da-DK" smtClean="0"/>
              <a:pPr/>
              <a:t>03-02-2023</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rtl="0">
              <a:defRPr>
                <a:solidFill>
                  <a:schemeClr val="accent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709031245"/>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reaker imag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E0DF49-C183-4D5C-9A2E-7134386478D1}"/>
              </a:ext>
            </a:extLst>
          </p:cNvPr>
          <p:cNvGraphicFramePr>
            <a:graphicFrameLocks noChangeAspect="1"/>
          </p:cNvGraphicFramePr>
          <p:nvPr userDrawn="1">
            <p:custDataLst>
              <p:tags r:id="rId1"/>
            </p:custDataLst>
            <p:extLst>
              <p:ext uri="{D42A27DB-BD31-4B8C-83A1-F6EECF244321}">
                <p14:modId xmlns:p14="http://schemas.microsoft.com/office/powerpoint/2010/main" val="53640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3E0DF49-C183-4D5C-9A2E-7134386478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rtl="0">
              <a:defRPr sz="100">
                <a:noFill/>
              </a:defRPr>
            </a:lvl1pPr>
          </a:lstStyle>
          <a:p>
            <a:fld id="{1466C188-1D45-4F08-8DB4-23F6002C2B91}" type="datetime1">
              <a:rPr lang="da-DK" smtClean="0"/>
              <a:pPr/>
              <a:t>03-02-2023</a:t>
            </a:fld>
            <a:endParaRPr lang="da-DK"/>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vert="horz" anchor="b"/>
          <a:lstStyle>
            <a:lvl1pPr algn="l" rtl="0">
              <a:defRPr sz="6000">
                <a:solidFill>
                  <a:schemeClr val="bg1"/>
                </a:solidFill>
              </a:defRPr>
            </a:lvl1pPr>
          </a:lstStyle>
          <a:p>
            <a:r>
              <a:rPr lang="da-DK" noProof="0"/>
              <a:t>Click to add </a:t>
            </a:r>
            <a:r>
              <a:rPr lang="da-DK"/>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grpSp>
        <p:nvGrpSpPr>
          <p:cNvPr id="9" name="Google Shape;22;p2">
            <a:extLst>
              <a:ext uri="{FF2B5EF4-FFF2-40B4-BE49-F238E27FC236}">
                <a16:creationId xmlns:a16="http://schemas.microsoft.com/office/drawing/2014/main" id="{CF860034-7B08-4F3D-B762-9A31C79575E9}"/>
              </a:ext>
            </a:extLst>
          </p:cNvPr>
          <p:cNvGrpSpPr/>
          <p:nvPr userDrawn="1"/>
        </p:nvGrpSpPr>
        <p:grpSpPr>
          <a:xfrm>
            <a:off x="81519" y="-84327"/>
            <a:ext cx="12028962" cy="7026653"/>
            <a:chOff x="-85500" y="-168653"/>
            <a:chExt cx="9290344" cy="5426904"/>
          </a:xfrm>
        </p:grpSpPr>
        <p:grpSp>
          <p:nvGrpSpPr>
            <p:cNvPr id="14" name="Google Shape;23;p2">
              <a:extLst>
                <a:ext uri="{FF2B5EF4-FFF2-40B4-BE49-F238E27FC236}">
                  <a16:creationId xmlns:a16="http://schemas.microsoft.com/office/drawing/2014/main" id="{374DAF26-CC1A-4B23-B786-9BEE004A4999}"/>
                </a:ext>
              </a:extLst>
            </p:cNvPr>
            <p:cNvGrpSpPr/>
            <p:nvPr/>
          </p:nvGrpSpPr>
          <p:grpSpPr>
            <a:xfrm>
              <a:off x="3870624" y="271731"/>
              <a:ext cx="531017" cy="704779"/>
              <a:chOff x="3870624" y="271731"/>
              <a:chExt cx="531017" cy="704779"/>
            </a:xfrm>
          </p:grpSpPr>
          <p:sp>
            <p:nvSpPr>
              <p:cNvPr id="100" name="Google Shape;24;p2">
                <a:extLst>
                  <a:ext uri="{FF2B5EF4-FFF2-40B4-BE49-F238E27FC236}">
                    <a16:creationId xmlns:a16="http://schemas.microsoft.com/office/drawing/2014/main" id="{5CAA66CA-0C74-4E12-A951-E58F094E3B5A}"/>
                  </a:ext>
                </a:extLst>
              </p:cNvPr>
              <p:cNvSpPr/>
              <p:nvPr/>
            </p:nvSpPr>
            <p:spPr>
              <a:xfrm>
                <a:off x="3870624" y="311200"/>
                <a:ext cx="425807" cy="385849"/>
              </a:xfrm>
              <a:custGeom>
                <a:avLst/>
                <a:gdLst/>
                <a:ahLst/>
                <a:cxnLst/>
                <a:rect l="l" t="t" r="r" b="b"/>
                <a:pathLst>
                  <a:path w="35017" h="31731" extrusionOk="0">
                    <a:moveTo>
                      <a:pt x="16911" y="1"/>
                    </a:moveTo>
                    <a:lnTo>
                      <a:pt x="15596" y="61"/>
                    </a:lnTo>
                    <a:lnTo>
                      <a:pt x="14282" y="240"/>
                    </a:lnTo>
                    <a:lnTo>
                      <a:pt x="13027" y="479"/>
                    </a:lnTo>
                    <a:lnTo>
                      <a:pt x="11772" y="837"/>
                    </a:lnTo>
                    <a:lnTo>
                      <a:pt x="10517" y="1256"/>
                    </a:lnTo>
                    <a:lnTo>
                      <a:pt x="9442" y="1734"/>
                    </a:lnTo>
                    <a:lnTo>
                      <a:pt x="8366" y="2331"/>
                    </a:lnTo>
                    <a:lnTo>
                      <a:pt x="7350" y="2989"/>
                    </a:lnTo>
                    <a:lnTo>
                      <a:pt x="6454" y="3706"/>
                    </a:lnTo>
                    <a:lnTo>
                      <a:pt x="5558" y="4542"/>
                    </a:lnTo>
                    <a:lnTo>
                      <a:pt x="4721" y="5379"/>
                    </a:lnTo>
                    <a:lnTo>
                      <a:pt x="3944" y="6275"/>
                    </a:lnTo>
                    <a:lnTo>
                      <a:pt x="3227" y="7231"/>
                    </a:lnTo>
                    <a:lnTo>
                      <a:pt x="2570" y="8247"/>
                    </a:lnTo>
                    <a:lnTo>
                      <a:pt x="2032" y="9323"/>
                    </a:lnTo>
                    <a:lnTo>
                      <a:pt x="1494" y="10398"/>
                    </a:lnTo>
                    <a:lnTo>
                      <a:pt x="1076" y="11534"/>
                    </a:lnTo>
                    <a:lnTo>
                      <a:pt x="717" y="12669"/>
                    </a:lnTo>
                    <a:lnTo>
                      <a:pt x="419" y="13804"/>
                    </a:lnTo>
                    <a:lnTo>
                      <a:pt x="180" y="14999"/>
                    </a:lnTo>
                    <a:lnTo>
                      <a:pt x="60" y="16194"/>
                    </a:lnTo>
                    <a:lnTo>
                      <a:pt x="0" y="17569"/>
                    </a:lnTo>
                    <a:lnTo>
                      <a:pt x="60" y="18824"/>
                    </a:lnTo>
                    <a:lnTo>
                      <a:pt x="180" y="20079"/>
                    </a:lnTo>
                    <a:lnTo>
                      <a:pt x="478" y="21274"/>
                    </a:lnTo>
                    <a:lnTo>
                      <a:pt x="837" y="22349"/>
                    </a:lnTo>
                    <a:lnTo>
                      <a:pt x="1315" y="23425"/>
                    </a:lnTo>
                    <a:lnTo>
                      <a:pt x="1853" y="24441"/>
                    </a:lnTo>
                    <a:lnTo>
                      <a:pt x="2510" y="25457"/>
                    </a:lnTo>
                    <a:lnTo>
                      <a:pt x="3287" y="26353"/>
                    </a:lnTo>
                    <a:lnTo>
                      <a:pt x="4064" y="27189"/>
                    </a:lnTo>
                    <a:lnTo>
                      <a:pt x="4960" y="27966"/>
                    </a:lnTo>
                    <a:lnTo>
                      <a:pt x="5976" y="28683"/>
                    </a:lnTo>
                    <a:lnTo>
                      <a:pt x="6992" y="29281"/>
                    </a:lnTo>
                    <a:lnTo>
                      <a:pt x="8127" y="29878"/>
                    </a:lnTo>
                    <a:lnTo>
                      <a:pt x="9322" y="30356"/>
                    </a:lnTo>
                    <a:lnTo>
                      <a:pt x="10517" y="30834"/>
                    </a:lnTo>
                    <a:lnTo>
                      <a:pt x="11892" y="31193"/>
                    </a:lnTo>
                    <a:lnTo>
                      <a:pt x="13206" y="31492"/>
                    </a:lnTo>
                    <a:lnTo>
                      <a:pt x="14581" y="31671"/>
                    </a:lnTo>
                    <a:lnTo>
                      <a:pt x="16015" y="31731"/>
                    </a:lnTo>
                    <a:lnTo>
                      <a:pt x="17389" y="31671"/>
                    </a:lnTo>
                    <a:lnTo>
                      <a:pt x="18763" y="31552"/>
                    </a:lnTo>
                    <a:lnTo>
                      <a:pt x="20138" y="31313"/>
                    </a:lnTo>
                    <a:lnTo>
                      <a:pt x="21452" y="30954"/>
                    </a:lnTo>
                    <a:lnTo>
                      <a:pt x="22110" y="30715"/>
                    </a:lnTo>
                    <a:lnTo>
                      <a:pt x="22767" y="30476"/>
                    </a:lnTo>
                    <a:lnTo>
                      <a:pt x="24022" y="29878"/>
                    </a:lnTo>
                    <a:lnTo>
                      <a:pt x="25217" y="29161"/>
                    </a:lnTo>
                    <a:lnTo>
                      <a:pt x="26293" y="28385"/>
                    </a:lnTo>
                    <a:lnTo>
                      <a:pt x="27428" y="27548"/>
                    </a:lnTo>
                    <a:lnTo>
                      <a:pt x="28444" y="26652"/>
                    </a:lnTo>
                    <a:lnTo>
                      <a:pt x="30476" y="24739"/>
                    </a:lnTo>
                    <a:lnTo>
                      <a:pt x="31013" y="24261"/>
                    </a:lnTo>
                    <a:lnTo>
                      <a:pt x="31551" y="23664"/>
                    </a:lnTo>
                    <a:lnTo>
                      <a:pt x="32029" y="23126"/>
                    </a:lnTo>
                    <a:lnTo>
                      <a:pt x="32447" y="22529"/>
                    </a:lnTo>
                    <a:lnTo>
                      <a:pt x="32866" y="21931"/>
                    </a:lnTo>
                    <a:lnTo>
                      <a:pt x="33224" y="21333"/>
                    </a:lnTo>
                    <a:lnTo>
                      <a:pt x="33523" y="20676"/>
                    </a:lnTo>
                    <a:lnTo>
                      <a:pt x="33822" y="20019"/>
                    </a:lnTo>
                    <a:lnTo>
                      <a:pt x="34360" y="18704"/>
                    </a:lnTo>
                    <a:lnTo>
                      <a:pt x="34718" y="17390"/>
                    </a:lnTo>
                    <a:lnTo>
                      <a:pt x="34957" y="16015"/>
                    </a:lnTo>
                    <a:lnTo>
                      <a:pt x="35017" y="14641"/>
                    </a:lnTo>
                    <a:lnTo>
                      <a:pt x="35017" y="13924"/>
                    </a:lnTo>
                    <a:lnTo>
                      <a:pt x="34957" y="13266"/>
                    </a:lnTo>
                    <a:lnTo>
                      <a:pt x="34838" y="12549"/>
                    </a:lnTo>
                    <a:lnTo>
                      <a:pt x="34718" y="11892"/>
                    </a:lnTo>
                    <a:lnTo>
                      <a:pt x="34599" y="11235"/>
                    </a:lnTo>
                    <a:lnTo>
                      <a:pt x="34360" y="10577"/>
                    </a:lnTo>
                    <a:lnTo>
                      <a:pt x="34121" y="9920"/>
                    </a:lnTo>
                    <a:lnTo>
                      <a:pt x="33882" y="9263"/>
                    </a:lnTo>
                    <a:lnTo>
                      <a:pt x="33583" y="8606"/>
                    </a:lnTo>
                    <a:lnTo>
                      <a:pt x="33224" y="8008"/>
                    </a:lnTo>
                    <a:lnTo>
                      <a:pt x="32806" y="7410"/>
                    </a:lnTo>
                    <a:lnTo>
                      <a:pt x="32388" y="6813"/>
                    </a:lnTo>
                    <a:lnTo>
                      <a:pt x="31910" y="6275"/>
                    </a:lnTo>
                    <a:lnTo>
                      <a:pt x="31432" y="5737"/>
                    </a:lnTo>
                    <a:lnTo>
                      <a:pt x="30894" y="5200"/>
                    </a:lnTo>
                    <a:lnTo>
                      <a:pt x="30296" y="4721"/>
                    </a:lnTo>
                    <a:lnTo>
                      <a:pt x="29280" y="3945"/>
                    </a:lnTo>
                    <a:lnTo>
                      <a:pt x="28205" y="3228"/>
                    </a:lnTo>
                    <a:lnTo>
                      <a:pt x="27069" y="2570"/>
                    </a:lnTo>
                    <a:lnTo>
                      <a:pt x="25874" y="1973"/>
                    </a:lnTo>
                    <a:lnTo>
                      <a:pt x="24679" y="1435"/>
                    </a:lnTo>
                    <a:lnTo>
                      <a:pt x="23424" y="1017"/>
                    </a:lnTo>
                    <a:lnTo>
                      <a:pt x="22170" y="658"/>
                    </a:lnTo>
                    <a:lnTo>
                      <a:pt x="20855" y="359"/>
                    </a:lnTo>
                    <a:lnTo>
                      <a:pt x="19540" y="180"/>
                    </a:lnTo>
                    <a:lnTo>
                      <a:pt x="18226" y="61"/>
                    </a:lnTo>
                    <a:lnTo>
                      <a:pt x="1691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101" name="Google Shape;25;p2">
                <a:extLst>
                  <a:ext uri="{FF2B5EF4-FFF2-40B4-BE49-F238E27FC236}">
                    <a16:creationId xmlns:a16="http://schemas.microsoft.com/office/drawing/2014/main" id="{4F9740FA-1D78-4B0B-8ED1-34B3D3955579}"/>
                  </a:ext>
                </a:extLst>
              </p:cNvPr>
              <p:cNvSpPr/>
              <p:nvPr/>
            </p:nvSpPr>
            <p:spPr>
              <a:xfrm>
                <a:off x="3901992" y="271731"/>
                <a:ext cx="499650" cy="704779"/>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17" name="Google Shape;26;p2">
              <a:extLst>
                <a:ext uri="{FF2B5EF4-FFF2-40B4-BE49-F238E27FC236}">
                  <a16:creationId xmlns:a16="http://schemas.microsoft.com/office/drawing/2014/main" id="{880F6B94-3351-4359-AA78-95E4BA51ABB9}"/>
                </a:ext>
              </a:extLst>
            </p:cNvPr>
            <p:cNvGrpSpPr/>
            <p:nvPr/>
          </p:nvGrpSpPr>
          <p:grpSpPr>
            <a:xfrm>
              <a:off x="-85500" y="4299338"/>
              <a:ext cx="612915" cy="585559"/>
              <a:chOff x="8158724" y="4646275"/>
              <a:chExt cx="612915" cy="585559"/>
            </a:xfrm>
          </p:grpSpPr>
          <p:sp>
            <p:nvSpPr>
              <p:cNvPr id="98" name="Google Shape;27;p2">
                <a:extLst>
                  <a:ext uri="{FF2B5EF4-FFF2-40B4-BE49-F238E27FC236}">
                    <a16:creationId xmlns:a16="http://schemas.microsoft.com/office/drawing/2014/main" id="{079699AB-E13E-4643-A888-2FB682F50DDC}"/>
                  </a:ext>
                </a:extLst>
              </p:cNvPr>
              <p:cNvSpPr/>
              <p:nvPr/>
            </p:nvSpPr>
            <p:spPr>
              <a:xfrm>
                <a:off x="8158724" y="4646275"/>
                <a:ext cx="511423" cy="463431"/>
              </a:xfrm>
              <a:custGeom>
                <a:avLst/>
                <a:gdLst/>
                <a:ahLst/>
                <a:cxnLst/>
                <a:rect l="l" t="t" r="r" b="b"/>
                <a:pathLst>
                  <a:path w="35017" h="31731" extrusionOk="0">
                    <a:moveTo>
                      <a:pt x="16911" y="1"/>
                    </a:moveTo>
                    <a:lnTo>
                      <a:pt x="15596" y="61"/>
                    </a:lnTo>
                    <a:lnTo>
                      <a:pt x="14282" y="240"/>
                    </a:lnTo>
                    <a:lnTo>
                      <a:pt x="13027" y="479"/>
                    </a:lnTo>
                    <a:lnTo>
                      <a:pt x="11772" y="837"/>
                    </a:lnTo>
                    <a:lnTo>
                      <a:pt x="10517" y="1256"/>
                    </a:lnTo>
                    <a:lnTo>
                      <a:pt x="9442" y="1734"/>
                    </a:lnTo>
                    <a:lnTo>
                      <a:pt x="8366" y="2331"/>
                    </a:lnTo>
                    <a:lnTo>
                      <a:pt x="7350" y="2989"/>
                    </a:lnTo>
                    <a:lnTo>
                      <a:pt x="6454" y="3706"/>
                    </a:lnTo>
                    <a:lnTo>
                      <a:pt x="5558" y="4542"/>
                    </a:lnTo>
                    <a:lnTo>
                      <a:pt x="4721" y="5379"/>
                    </a:lnTo>
                    <a:lnTo>
                      <a:pt x="3944" y="6275"/>
                    </a:lnTo>
                    <a:lnTo>
                      <a:pt x="3227" y="7231"/>
                    </a:lnTo>
                    <a:lnTo>
                      <a:pt x="2570" y="8247"/>
                    </a:lnTo>
                    <a:lnTo>
                      <a:pt x="2032" y="9323"/>
                    </a:lnTo>
                    <a:lnTo>
                      <a:pt x="1494" y="10398"/>
                    </a:lnTo>
                    <a:lnTo>
                      <a:pt x="1076" y="11534"/>
                    </a:lnTo>
                    <a:lnTo>
                      <a:pt x="717" y="12669"/>
                    </a:lnTo>
                    <a:lnTo>
                      <a:pt x="419" y="13804"/>
                    </a:lnTo>
                    <a:lnTo>
                      <a:pt x="180" y="14999"/>
                    </a:lnTo>
                    <a:lnTo>
                      <a:pt x="60" y="16194"/>
                    </a:lnTo>
                    <a:lnTo>
                      <a:pt x="0" y="17569"/>
                    </a:lnTo>
                    <a:lnTo>
                      <a:pt x="60" y="18824"/>
                    </a:lnTo>
                    <a:lnTo>
                      <a:pt x="180" y="20079"/>
                    </a:lnTo>
                    <a:lnTo>
                      <a:pt x="478" y="21274"/>
                    </a:lnTo>
                    <a:lnTo>
                      <a:pt x="837" y="22349"/>
                    </a:lnTo>
                    <a:lnTo>
                      <a:pt x="1315" y="23425"/>
                    </a:lnTo>
                    <a:lnTo>
                      <a:pt x="1853" y="24441"/>
                    </a:lnTo>
                    <a:lnTo>
                      <a:pt x="2510" y="25457"/>
                    </a:lnTo>
                    <a:lnTo>
                      <a:pt x="3287" y="26353"/>
                    </a:lnTo>
                    <a:lnTo>
                      <a:pt x="4064" y="27189"/>
                    </a:lnTo>
                    <a:lnTo>
                      <a:pt x="4960" y="27966"/>
                    </a:lnTo>
                    <a:lnTo>
                      <a:pt x="5976" y="28683"/>
                    </a:lnTo>
                    <a:lnTo>
                      <a:pt x="6992" y="29281"/>
                    </a:lnTo>
                    <a:lnTo>
                      <a:pt x="8127" y="29878"/>
                    </a:lnTo>
                    <a:lnTo>
                      <a:pt x="9322" y="30356"/>
                    </a:lnTo>
                    <a:lnTo>
                      <a:pt x="10517" y="30834"/>
                    </a:lnTo>
                    <a:lnTo>
                      <a:pt x="11892" y="31193"/>
                    </a:lnTo>
                    <a:lnTo>
                      <a:pt x="13206" y="31492"/>
                    </a:lnTo>
                    <a:lnTo>
                      <a:pt x="14581" y="31671"/>
                    </a:lnTo>
                    <a:lnTo>
                      <a:pt x="16015" y="31731"/>
                    </a:lnTo>
                    <a:lnTo>
                      <a:pt x="17389" y="31671"/>
                    </a:lnTo>
                    <a:lnTo>
                      <a:pt x="18763" y="31552"/>
                    </a:lnTo>
                    <a:lnTo>
                      <a:pt x="20138" y="31313"/>
                    </a:lnTo>
                    <a:lnTo>
                      <a:pt x="21452" y="30954"/>
                    </a:lnTo>
                    <a:lnTo>
                      <a:pt x="22110" y="30715"/>
                    </a:lnTo>
                    <a:lnTo>
                      <a:pt x="22767" y="30476"/>
                    </a:lnTo>
                    <a:lnTo>
                      <a:pt x="24022" y="29878"/>
                    </a:lnTo>
                    <a:lnTo>
                      <a:pt x="25217" y="29161"/>
                    </a:lnTo>
                    <a:lnTo>
                      <a:pt x="26293" y="28385"/>
                    </a:lnTo>
                    <a:lnTo>
                      <a:pt x="27428" y="27548"/>
                    </a:lnTo>
                    <a:lnTo>
                      <a:pt x="28444" y="26652"/>
                    </a:lnTo>
                    <a:lnTo>
                      <a:pt x="30476" y="24739"/>
                    </a:lnTo>
                    <a:lnTo>
                      <a:pt x="31013" y="24261"/>
                    </a:lnTo>
                    <a:lnTo>
                      <a:pt x="31551" y="23664"/>
                    </a:lnTo>
                    <a:lnTo>
                      <a:pt x="32029" y="23126"/>
                    </a:lnTo>
                    <a:lnTo>
                      <a:pt x="32447" y="22529"/>
                    </a:lnTo>
                    <a:lnTo>
                      <a:pt x="32866" y="21931"/>
                    </a:lnTo>
                    <a:lnTo>
                      <a:pt x="33224" y="21333"/>
                    </a:lnTo>
                    <a:lnTo>
                      <a:pt x="33523" y="20676"/>
                    </a:lnTo>
                    <a:lnTo>
                      <a:pt x="33822" y="20019"/>
                    </a:lnTo>
                    <a:lnTo>
                      <a:pt x="34360" y="18704"/>
                    </a:lnTo>
                    <a:lnTo>
                      <a:pt x="34718" y="17390"/>
                    </a:lnTo>
                    <a:lnTo>
                      <a:pt x="34957" y="16015"/>
                    </a:lnTo>
                    <a:lnTo>
                      <a:pt x="35017" y="14641"/>
                    </a:lnTo>
                    <a:lnTo>
                      <a:pt x="35017" y="13924"/>
                    </a:lnTo>
                    <a:lnTo>
                      <a:pt x="34957" y="13266"/>
                    </a:lnTo>
                    <a:lnTo>
                      <a:pt x="34838" y="12549"/>
                    </a:lnTo>
                    <a:lnTo>
                      <a:pt x="34718" y="11892"/>
                    </a:lnTo>
                    <a:lnTo>
                      <a:pt x="34599" y="11235"/>
                    </a:lnTo>
                    <a:lnTo>
                      <a:pt x="34360" y="10577"/>
                    </a:lnTo>
                    <a:lnTo>
                      <a:pt x="34121" y="9920"/>
                    </a:lnTo>
                    <a:lnTo>
                      <a:pt x="33882" y="9263"/>
                    </a:lnTo>
                    <a:lnTo>
                      <a:pt x="33583" y="8606"/>
                    </a:lnTo>
                    <a:lnTo>
                      <a:pt x="33224" y="8008"/>
                    </a:lnTo>
                    <a:lnTo>
                      <a:pt x="32806" y="7410"/>
                    </a:lnTo>
                    <a:lnTo>
                      <a:pt x="32388" y="6813"/>
                    </a:lnTo>
                    <a:lnTo>
                      <a:pt x="31910" y="6275"/>
                    </a:lnTo>
                    <a:lnTo>
                      <a:pt x="31432" y="5737"/>
                    </a:lnTo>
                    <a:lnTo>
                      <a:pt x="30894" y="5200"/>
                    </a:lnTo>
                    <a:lnTo>
                      <a:pt x="30296" y="4721"/>
                    </a:lnTo>
                    <a:lnTo>
                      <a:pt x="29280" y="3945"/>
                    </a:lnTo>
                    <a:lnTo>
                      <a:pt x="28205" y="3228"/>
                    </a:lnTo>
                    <a:lnTo>
                      <a:pt x="27069" y="2570"/>
                    </a:lnTo>
                    <a:lnTo>
                      <a:pt x="25874" y="1973"/>
                    </a:lnTo>
                    <a:lnTo>
                      <a:pt x="24679" y="1435"/>
                    </a:lnTo>
                    <a:lnTo>
                      <a:pt x="23424" y="1017"/>
                    </a:lnTo>
                    <a:lnTo>
                      <a:pt x="22170" y="658"/>
                    </a:lnTo>
                    <a:lnTo>
                      <a:pt x="20855" y="359"/>
                    </a:lnTo>
                    <a:lnTo>
                      <a:pt x="19540" y="180"/>
                    </a:lnTo>
                    <a:lnTo>
                      <a:pt x="18226" y="61"/>
                    </a:lnTo>
                    <a:lnTo>
                      <a:pt x="1691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9" name="Google Shape;28;p2">
                <a:extLst>
                  <a:ext uri="{FF2B5EF4-FFF2-40B4-BE49-F238E27FC236}">
                    <a16:creationId xmlns:a16="http://schemas.microsoft.com/office/drawing/2014/main" id="{2E521742-9B6F-4627-8EC5-60F64ACFAF44}"/>
                  </a:ext>
                </a:extLst>
              </p:cNvPr>
              <p:cNvSpPr/>
              <p:nvPr/>
            </p:nvSpPr>
            <p:spPr>
              <a:xfrm>
                <a:off x="8170373" y="4682299"/>
                <a:ext cx="601266" cy="549535"/>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18" name="Google Shape;29;p2">
              <a:extLst>
                <a:ext uri="{FF2B5EF4-FFF2-40B4-BE49-F238E27FC236}">
                  <a16:creationId xmlns:a16="http://schemas.microsoft.com/office/drawing/2014/main" id="{9560D005-42F1-4338-B0A7-019A505317B4}"/>
                </a:ext>
              </a:extLst>
            </p:cNvPr>
            <p:cNvSpPr/>
            <p:nvPr/>
          </p:nvSpPr>
          <p:spPr>
            <a:xfrm rot="2001982">
              <a:off x="136143" y="2216866"/>
              <a:ext cx="321474" cy="709766"/>
            </a:xfrm>
            <a:custGeom>
              <a:avLst/>
              <a:gdLst/>
              <a:ahLst/>
              <a:cxnLst/>
              <a:rect l="l" t="t" r="r" b="b"/>
              <a:pathLst>
                <a:path w="374196" h="826169" extrusionOk="0">
                  <a:moveTo>
                    <a:pt x="319578" y="542496"/>
                  </a:moveTo>
                  <a:cubicBezTo>
                    <a:pt x="337993" y="538051"/>
                    <a:pt x="360853" y="525986"/>
                    <a:pt x="365933" y="549481"/>
                  </a:cubicBezTo>
                  <a:cubicBezTo>
                    <a:pt x="372283" y="584406"/>
                    <a:pt x="389428" y="625046"/>
                    <a:pt x="341803" y="634571"/>
                  </a:cubicBezTo>
                  <a:cubicBezTo>
                    <a:pt x="344978" y="696801"/>
                    <a:pt x="374823" y="756491"/>
                    <a:pt x="362758" y="819356"/>
                  </a:cubicBezTo>
                  <a:cubicBezTo>
                    <a:pt x="256078" y="683466"/>
                    <a:pt x="252268" y="452961"/>
                    <a:pt x="169718" y="289131"/>
                  </a:cubicBezTo>
                  <a:cubicBezTo>
                    <a:pt x="120823" y="395176"/>
                    <a:pt x="-22052" y="1176861"/>
                    <a:pt x="34463" y="639016"/>
                  </a:cubicBezTo>
                  <a:cubicBezTo>
                    <a:pt x="31288" y="635206"/>
                    <a:pt x="30018" y="632666"/>
                    <a:pt x="28113" y="632666"/>
                  </a:cubicBezTo>
                  <a:cubicBezTo>
                    <a:pt x="-23957" y="623141"/>
                    <a:pt x="12873" y="572341"/>
                    <a:pt x="9698" y="536146"/>
                  </a:cubicBezTo>
                  <a:cubicBezTo>
                    <a:pt x="20493" y="531066"/>
                    <a:pt x="35098" y="532336"/>
                    <a:pt x="47163" y="534241"/>
                  </a:cubicBezTo>
                  <a:cubicBezTo>
                    <a:pt x="79548" y="416131"/>
                    <a:pt x="89708" y="287226"/>
                    <a:pt x="105583" y="164036"/>
                  </a:cubicBezTo>
                  <a:cubicBezTo>
                    <a:pt x="103043" y="132286"/>
                    <a:pt x="128443" y="141811"/>
                    <a:pt x="150033" y="136731"/>
                  </a:cubicBezTo>
                  <a:cubicBezTo>
                    <a:pt x="148128" y="119586"/>
                    <a:pt x="111933" y="3381"/>
                    <a:pt x="143683" y="4016"/>
                  </a:cubicBezTo>
                  <a:cubicBezTo>
                    <a:pt x="226868" y="-22019"/>
                    <a:pt x="207183" y="85296"/>
                    <a:pt x="187498" y="131651"/>
                  </a:cubicBezTo>
                  <a:cubicBezTo>
                    <a:pt x="214168" y="144351"/>
                    <a:pt x="240838" y="139906"/>
                    <a:pt x="242743" y="179911"/>
                  </a:cubicBezTo>
                  <a:cubicBezTo>
                    <a:pt x="263063" y="301196"/>
                    <a:pt x="290368" y="422481"/>
                    <a:pt x="319578" y="542496"/>
                  </a:cubicBezTo>
                  <a:close/>
                  <a:moveTo>
                    <a:pt x="311323" y="649811"/>
                  </a:moveTo>
                  <a:cubicBezTo>
                    <a:pt x="294178" y="503126"/>
                    <a:pt x="253538" y="351996"/>
                    <a:pt x="217978" y="207851"/>
                  </a:cubicBezTo>
                  <a:cubicBezTo>
                    <a:pt x="200833" y="217376"/>
                    <a:pt x="197658" y="242776"/>
                    <a:pt x="186228" y="258651"/>
                  </a:cubicBezTo>
                  <a:cubicBezTo>
                    <a:pt x="236393" y="387556"/>
                    <a:pt x="258618" y="523446"/>
                    <a:pt x="311323" y="649811"/>
                  </a:cubicBezTo>
                  <a:close/>
                  <a:moveTo>
                    <a:pt x="77643" y="517731"/>
                  </a:moveTo>
                  <a:cubicBezTo>
                    <a:pt x="112568" y="444071"/>
                    <a:pt x="112568" y="363426"/>
                    <a:pt x="141778" y="288496"/>
                  </a:cubicBezTo>
                  <a:cubicBezTo>
                    <a:pt x="153208" y="259921"/>
                    <a:pt x="143048" y="230711"/>
                    <a:pt x="123998" y="208486"/>
                  </a:cubicBezTo>
                  <a:cubicBezTo>
                    <a:pt x="100503" y="312626"/>
                    <a:pt x="94788" y="412956"/>
                    <a:pt x="77643" y="517731"/>
                  </a:cubicBezTo>
                  <a:close/>
                  <a:moveTo>
                    <a:pt x="166543" y="240871"/>
                  </a:moveTo>
                  <a:cubicBezTo>
                    <a:pt x="183053" y="211026"/>
                    <a:pt x="205913" y="190706"/>
                    <a:pt x="204008" y="160861"/>
                  </a:cubicBezTo>
                  <a:cubicBezTo>
                    <a:pt x="175433" y="152606"/>
                    <a:pt x="167813" y="152606"/>
                    <a:pt x="141778" y="164671"/>
                  </a:cubicBezTo>
                  <a:cubicBezTo>
                    <a:pt x="145588" y="188801"/>
                    <a:pt x="154478" y="211661"/>
                    <a:pt x="166543" y="240871"/>
                  </a:cubicBezTo>
                  <a:close/>
                  <a:moveTo>
                    <a:pt x="171623" y="104346"/>
                  </a:moveTo>
                  <a:cubicBezTo>
                    <a:pt x="183053" y="73231"/>
                    <a:pt x="181783" y="45291"/>
                    <a:pt x="167813" y="21796"/>
                  </a:cubicBezTo>
                  <a:cubicBezTo>
                    <a:pt x="152573" y="37036"/>
                    <a:pt x="148128" y="94821"/>
                    <a:pt x="171623" y="10434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19" name="Google Shape;30;p2">
              <a:extLst>
                <a:ext uri="{FF2B5EF4-FFF2-40B4-BE49-F238E27FC236}">
                  <a16:creationId xmlns:a16="http://schemas.microsoft.com/office/drawing/2014/main" id="{E5CD0861-C851-415E-9618-0358C8F35B16}"/>
                </a:ext>
              </a:extLst>
            </p:cNvPr>
            <p:cNvGrpSpPr/>
            <p:nvPr/>
          </p:nvGrpSpPr>
          <p:grpSpPr>
            <a:xfrm>
              <a:off x="968652" y="3696885"/>
              <a:ext cx="565312" cy="602473"/>
              <a:chOff x="813652" y="3801560"/>
              <a:chExt cx="565312" cy="602473"/>
            </a:xfrm>
          </p:grpSpPr>
          <p:sp>
            <p:nvSpPr>
              <p:cNvPr id="96" name="Google Shape;31;p2">
                <a:extLst>
                  <a:ext uri="{FF2B5EF4-FFF2-40B4-BE49-F238E27FC236}">
                    <a16:creationId xmlns:a16="http://schemas.microsoft.com/office/drawing/2014/main" id="{0E52EBA3-E209-4845-A921-54D168D9F53B}"/>
                  </a:ext>
                </a:extLst>
              </p:cNvPr>
              <p:cNvSpPr/>
              <p:nvPr/>
            </p:nvSpPr>
            <p:spPr>
              <a:xfrm rot="6264782">
                <a:off x="849950" y="3919090"/>
                <a:ext cx="380679" cy="370162"/>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7" name="Google Shape;32;p2">
                <a:extLst>
                  <a:ext uri="{FF2B5EF4-FFF2-40B4-BE49-F238E27FC236}">
                    <a16:creationId xmlns:a16="http://schemas.microsoft.com/office/drawing/2014/main" id="{83C02F3D-0741-41F5-9477-B7E0E381D908}"/>
                  </a:ext>
                </a:extLst>
              </p:cNvPr>
              <p:cNvSpPr/>
              <p:nvPr/>
            </p:nvSpPr>
            <p:spPr>
              <a:xfrm rot="-1974315">
                <a:off x="996275" y="3825647"/>
                <a:ext cx="252371" cy="554298"/>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20" name="Google Shape;33;p2">
              <a:extLst>
                <a:ext uri="{FF2B5EF4-FFF2-40B4-BE49-F238E27FC236}">
                  <a16:creationId xmlns:a16="http://schemas.microsoft.com/office/drawing/2014/main" id="{F1985F7F-0CD7-4E5B-B177-05BFF6116C13}"/>
                </a:ext>
              </a:extLst>
            </p:cNvPr>
            <p:cNvSpPr/>
            <p:nvPr/>
          </p:nvSpPr>
          <p:spPr>
            <a:xfrm>
              <a:off x="4101001" y="4649180"/>
              <a:ext cx="376856" cy="254902"/>
            </a:xfrm>
            <a:custGeom>
              <a:avLst/>
              <a:gdLst/>
              <a:ahLst/>
              <a:cxnLst/>
              <a:rect l="l" t="t" r="r" b="b"/>
              <a:pathLst>
                <a:path w="575352" h="389164" extrusionOk="0">
                  <a:moveTo>
                    <a:pt x="575352" y="173355"/>
                  </a:moveTo>
                  <a:cubicBezTo>
                    <a:pt x="489627" y="224155"/>
                    <a:pt x="287063" y="336550"/>
                    <a:pt x="285793" y="356235"/>
                  </a:cubicBezTo>
                  <a:cubicBezTo>
                    <a:pt x="285158" y="365760"/>
                    <a:pt x="273093" y="372745"/>
                    <a:pt x="263568" y="368935"/>
                  </a:cubicBezTo>
                  <a:cubicBezTo>
                    <a:pt x="189273" y="366395"/>
                    <a:pt x="106088" y="378460"/>
                    <a:pt x="31793" y="385445"/>
                  </a:cubicBezTo>
                  <a:cubicBezTo>
                    <a:pt x="9568" y="398145"/>
                    <a:pt x="-9482" y="375920"/>
                    <a:pt x="5123" y="354965"/>
                  </a:cubicBezTo>
                  <a:cubicBezTo>
                    <a:pt x="34333" y="295275"/>
                    <a:pt x="47033" y="213995"/>
                    <a:pt x="97198" y="170180"/>
                  </a:cubicBezTo>
                  <a:cubicBezTo>
                    <a:pt x="198163" y="112395"/>
                    <a:pt x="294683" y="47625"/>
                    <a:pt x="400727" y="0"/>
                  </a:cubicBezTo>
                  <a:cubicBezTo>
                    <a:pt x="583608" y="18415"/>
                    <a:pt x="570273" y="-16510"/>
                    <a:pt x="575352" y="173355"/>
                  </a:cubicBezTo>
                  <a:close/>
                  <a:moveTo>
                    <a:pt x="292777" y="199390"/>
                  </a:moveTo>
                  <a:cubicBezTo>
                    <a:pt x="223563" y="208915"/>
                    <a:pt x="154983" y="208280"/>
                    <a:pt x="86402" y="220980"/>
                  </a:cubicBezTo>
                  <a:cubicBezTo>
                    <a:pt x="70527" y="268605"/>
                    <a:pt x="27983" y="310515"/>
                    <a:pt x="32427" y="359410"/>
                  </a:cubicBezTo>
                  <a:cubicBezTo>
                    <a:pt x="98468" y="358775"/>
                    <a:pt x="165143" y="359410"/>
                    <a:pt x="229913" y="343535"/>
                  </a:cubicBezTo>
                  <a:cubicBezTo>
                    <a:pt x="285793" y="323215"/>
                    <a:pt x="275633" y="250190"/>
                    <a:pt x="292777" y="199390"/>
                  </a:cubicBezTo>
                  <a:close/>
                  <a:moveTo>
                    <a:pt x="398188" y="146685"/>
                  </a:moveTo>
                  <a:cubicBezTo>
                    <a:pt x="374693" y="151765"/>
                    <a:pt x="340402" y="168910"/>
                    <a:pt x="320083" y="186055"/>
                  </a:cubicBezTo>
                  <a:cubicBezTo>
                    <a:pt x="314368" y="225425"/>
                    <a:pt x="288968" y="274320"/>
                    <a:pt x="292143" y="320040"/>
                  </a:cubicBezTo>
                  <a:cubicBezTo>
                    <a:pt x="327702" y="303530"/>
                    <a:pt x="361993" y="272415"/>
                    <a:pt x="392473" y="250825"/>
                  </a:cubicBezTo>
                  <a:cubicBezTo>
                    <a:pt x="389933" y="213995"/>
                    <a:pt x="397552" y="181610"/>
                    <a:pt x="398188" y="146685"/>
                  </a:cubicBezTo>
                  <a:close/>
                  <a:moveTo>
                    <a:pt x="115613" y="186055"/>
                  </a:moveTo>
                  <a:cubicBezTo>
                    <a:pt x="167683" y="207010"/>
                    <a:pt x="302302" y="179705"/>
                    <a:pt x="346118" y="135890"/>
                  </a:cubicBezTo>
                  <a:cubicBezTo>
                    <a:pt x="266743" y="97155"/>
                    <a:pt x="180383" y="131445"/>
                    <a:pt x="115613" y="186055"/>
                  </a:cubicBezTo>
                  <a:close/>
                  <a:moveTo>
                    <a:pt x="417238" y="231775"/>
                  </a:moveTo>
                  <a:cubicBezTo>
                    <a:pt x="433748" y="227330"/>
                    <a:pt x="435018" y="226060"/>
                    <a:pt x="435018" y="215265"/>
                  </a:cubicBezTo>
                  <a:cubicBezTo>
                    <a:pt x="431843" y="191135"/>
                    <a:pt x="440733" y="163195"/>
                    <a:pt x="429302" y="140970"/>
                  </a:cubicBezTo>
                  <a:cubicBezTo>
                    <a:pt x="415333" y="166370"/>
                    <a:pt x="410252" y="204470"/>
                    <a:pt x="417238" y="231775"/>
                  </a:cubicBezTo>
                  <a:close/>
                  <a:moveTo>
                    <a:pt x="506138" y="85090"/>
                  </a:moveTo>
                  <a:cubicBezTo>
                    <a:pt x="509948" y="120650"/>
                    <a:pt x="498518" y="147955"/>
                    <a:pt x="507408" y="184785"/>
                  </a:cubicBezTo>
                  <a:cubicBezTo>
                    <a:pt x="526458" y="157480"/>
                    <a:pt x="517568" y="111125"/>
                    <a:pt x="506138" y="85090"/>
                  </a:cubicBezTo>
                  <a:close/>
                  <a:moveTo>
                    <a:pt x="482643" y="190500"/>
                  </a:moveTo>
                  <a:cubicBezTo>
                    <a:pt x="480738" y="159385"/>
                    <a:pt x="497883" y="125095"/>
                    <a:pt x="481373" y="101600"/>
                  </a:cubicBezTo>
                  <a:cubicBezTo>
                    <a:pt x="473118" y="125730"/>
                    <a:pt x="473118" y="147955"/>
                    <a:pt x="482643" y="190500"/>
                  </a:cubicBezTo>
                  <a:close/>
                  <a:moveTo>
                    <a:pt x="453433" y="168275"/>
                  </a:moveTo>
                  <a:cubicBezTo>
                    <a:pt x="445177" y="182880"/>
                    <a:pt x="440098" y="203200"/>
                    <a:pt x="457877" y="212090"/>
                  </a:cubicBezTo>
                  <a:cubicBezTo>
                    <a:pt x="462323" y="194945"/>
                    <a:pt x="461052" y="181610"/>
                    <a:pt x="453433" y="168275"/>
                  </a:cubicBezTo>
                  <a:close/>
                  <a:moveTo>
                    <a:pt x="408348" y="66675"/>
                  </a:moveTo>
                  <a:cubicBezTo>
                    <a:pt x="412158" y="80645"/>
                    <a:pt x="437558" y="79375"/>
                    <a:pt x="453433" y="74930"/>
                  </a:cubicBezTo>
                  <a:cubicBezTo>
                    <a:pt x="437558" y="62865"/>
                    <a:pt x="422952" y="67945"/>
                    <a:pt x="408348" y="66675"/>
                  </a:cubicBezTo>
                  <a:close/>
                  <a:moveTo>
                    <a:pt x="495343" y="48895"/>
                  </a:moveTo>
                  <a:cubicBezTo>
                    <a:pt x="479468" y="37465"/>
                    <a:pt x="471213" y="36195"/>
                    <a:pt x="442638" y="40640"/>
                  </a:cubicBezTo>
                  <a:cubicBezTo>
                    <a:pt x="464227" y="42545"/>
                    <a:pt x="478833" y="53340"/>
                    <a:pt x="495343" y="48895"/>
                  </a:cubicBezTo>
                  <a:close/>
                  <a:moveTo>
                    <a:pt x="335958" y="89535"/>
                  </a:moveTo>
                  <a:cubicBezTo>
                    <a:pt x="321352" y="76200"/>
                    <a:pt x="305477" y="73025"/>
                    <a:pt x="293413" y="88900"/>
                  </a:cubicBezTo>
                  <a:cubicBezTo>
                    <a:pt x="308652" y="92710"/>
                    <a:pt x="320718" y="92710"/>
                    <a:pt x="335958" y="89535"/>
                  </a:cubicBezTo>
                  <a:close/>
                  <a:moveTo>
                    <a:pt x="539793" y="65405"/>
                  </a:moveTo>
                  <a:cubicBezTo>
                    <a:pt x="527727" y="76200"/>
                    <a:pt x="528363" y="81280"/>
                    <a:pt x="540427" y="92075"/>
                  </a:cubicBezTo>
                  <a:cubicBezTo>
                    <a:pt x="543602" y="83185"/>
                    <a:pt x="544873" y="74295"/>
                    <a:pt x="539793" y="6540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1" name="Google Shape;34;p2">
              <a:extLst>
                <a:ext uri="{FF2B5EF4-FFF2-40B4-BE49-F238E27FC236}">
                  <a16:creationId xmlns:a16="http://schemas.microsoft.com/office/drawing/2014/main" id="{72897235-3719-4DD4-823D-8C397B5C0EAE}"/>
                </a:ext>
              </a:extLst>
            </p:cNvPr>
            <p:cNvSpPr/>
            <p:nvPr/>
          </p:nvSpPr>
          <p:spPr>
            <a:xfrm>
              <a:off x="8091625" y="827000"/>
              <a:ext cx="485245" cy="329049"/>
            </a:xfrm>
            <a:custGeom>
              <a:avLst/>
              <a:gdLst/>
              <a:ahLst/>
              <a:cxnLst/>
              <a:rect l="l" t="t" r="r" b="b"/>
              <a:pathLst>
                <a:path w="620122" h="420510" extrusionOk="0">
                  <a:moveTo>
                    <a:pt x="1362" y="54610"/>
                  </a:moveTo>
                  <a:cubicBezTo>
                    <a:pt x="-31023" y="-68580"/>
                    <a:pt x="523967" y="55245"/>
                    <a:pt x="605247" y="54610"/>
                  </a:cubicBezTo>
                  <a:cubicBezTo>
                    <a:pt x="675732" y="78740"/>
                    <a:pt x="469992" y="177800"/>
                    <a:pt x="522062" y="355600"/>
                  </a:cubicBezTo>
                  <a:cubicBezTo>
                    <a:pt x="492217" y="360045"/>
                    <a:pt x="461102" y="331470"/>
                    <a:pt x="433162" y="323850"/>
                  </a:cubicBezTo>
                  <a:cubicBezTo>
                    <a:pt x="398237" y="328930"/>
                    <a:pt x="342992" y="455930"/>
                    <a:pt x="327752" y="410845"/>
                  </a:cubicBezTo>
                  <a:cubicBezTo>
                    <a:pt x="228057" y="287020"/>
                    <a:pt x="113757" y="169545"/>
                    <a:pt x="1362" y="54610"/>
                  </a:cubicBezTo>
                  <a:close/>
                  <a:moveTo>
                    <a:pt x="591277" y="78740"/>
                  </a:moveTo>
                  <a:cubicBezTo>
                    <a:pt x="418557" y="50800"/>
                    <a:pt x="245837" y="13335"/>
                    <a:pt x="69942" y="28575"/>
                  </a:cubicBezTo>
                  <a:cubicBezTo>
                    <a:pt x="217262" y="83820"/>
                    <a:pt x="363947" y="134620"/>
                    <a:pt x="513807" y="186055"/>
                  </a:cubicBezTo>
                  <a:cubicBezTo>
                    <a:pt x="542382" y="154305"/>
                    <a:pt x="569052" y="120650"/>
                    <a:pt x="591277" y="78740"/>
                  </a:cubicBezTo>
                  <a:close/>
                  <a:moveTo>
                    <a:pt x="443957" y="267335"/>
                  </a:moveTo>
                  <a:cubicBezTo>
                    <a:pt x="319497" y="199390"/>
                    <a:pt x="185512" y="113665"/>
                    <a:pt x="57242" y="74930"/>
                  </a:cubicBezTo>
                  <a:cubicBezTo>
                    <a:pt x="154397" y="174625"/>
                    <a:pt x="238852" y="289560"/>
                    <a:pt x="344897" y="379095"/>
                  </a:cubicBezTo>
                  <a:cubicBezTo>
                    <a:pt x="380457" y="344170"/>
                    <a:pt x="414747" y="311150"/>
                    <a:pt x="443957" y="267335"/>
                  </a:cubicBezTo>
                  <a:close/>
                  <a:moveTo>
                    <a:pt x="494122" y="207010"/>
                  </a:moveTo>
                  <a:cubicBezTo>
                    <a:pt x="380457" y="167640"/>
                    <a:pt x="263617" y="100330"/>
                    <a:pt x="146777" y="87630"/>
                  </a:cubicBezTo>
                  <a:cubicBezTo>
                    <a:pt x="262347" y="134620"/>
                    <a:pt x="363947" y="216535"/>
                    <a:pt x="484597" y="246380"/>
                  </a:cubicBezTo>
                  <a:cubicBezTo>
                    <a:pt x="480787" y="264795"/>
                    <a:pt x="472532" y="281305"/>
                    <a:pt x="490947" y="292735"/>
                  </a:cubicBezTo>
                  <a:cubicBezTo>
                    <a:pt x="503012" y="251460"/>
                    <a:pt x="502377" y="238125"/>
                    <a:pt x="494122" y="20701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2" name="Google Shape;35;p2">
              <a:extLst>
                <a:ext uri="{FF2B5EF4-FFF2-40B4-BE49-F238E27FC236}">
                  <a16:creationId xmlns:a16="http://schemas.microsoft.com/office/drawing/2014/main" id="{5A3FACA7-85C1-4399-A3E0-CB15AC77FC10}"/>
                </a:ext>
              </a:extLst>
            </p:cNvPr>
            <p:cNvSpPr/>
            <p:nvPr/>
          </p:nvSpPr>
          <p:spPr>
            <a:xfrm rot="3971375">
              <a:off x="3138581" y="4622816"/>
              <a:ext cx="362909" cy="668479"/>
            </a:xfrm>
            <a:custGeom>
              <a:avLst/>
              <a:gdLst/>
              <a:ahLst/>
              <a:cxnLst/>
              <a:rect l="l" t="t" r="r" b="b"/>
              <a:pathLst>
                <a:path w="421613" h="776612" extrusionOk="0">
                  <a:moveTo>
                    <a:pt x="99839" y="349282"/>
                  </a:moveTo>
                  <a:cubicBezTo>
                    <a:pt x="-9381" y="246412"/>
                    <a:pt x="19194" y="15272"/>
                    <a:pt x="189374" y="32"/>
                  </a:cubicBezTo>
                  <a:cubicBezTo>
                    <a:pt x="381144" y="-3143"/>
                    <a:pt x="497984" y="232442"/>
                    <a:pt x="363999" y="377222"/>
                  </a:cubicBezTo>
                  <a:cubicBezTo>
                    <a:pt x="448453" y="504222"/>
                    <a:pt x="402734" y="743617"/>
                    <a:pt x="235728" y="773462"/>
                  </a:cubicBezTo>
                  <a:cubicBezTo>
                    <a:pt x="125874" y="796957"/>
                    <a:pt x="24909" y="684562"/>
                    <a:pt x="4589" y="585502"/>
                  </a:cubicBezTo>
                  <a:cubicBezTo>
                    <a:pt x="-17001" y="491522"/>
                    <a:pt x="41419" y="414052"/>
                    <a:pt x="99839" y="349282"/>
                  </a:cubicBezTo>
                  <a:close/>
                  <a:moveTo>
                    <a:pt x="113174" y="363887"/>
                  </a:moveTo>
                  <a:cubicBezTo>
                    <a:pt x="60469" y="429927"/>
                    <a:pt x="-6206" y="502317"/>
                    <a:pt x="28084" y="594392"/>
                  </a:cubicBezTo>
                  <a:cubicBezTo>
                    <a:pt x="55389" y="680117"/>
                    <a:pt x="137939" y="773462"/>
                    <a:pt x="236999" y="755047"/>
                  </a:cubicBezTo>
                  <a:cubicBezTo>
                    <a:pt x="372253" y="724567"/>
                    <a:pt x="403369" y="568357"/>
                    <a:pt x="375428" y="450247"/>
                  </a:cubicBezTo>
                  <a:cubicBezTo>
                    <a:pt x="371619" y="427387"/>
                    <a:pt x="367809" y="403257"/>
                    <a:pt x="340503" y="395002"/>
                  </a:cubicBezTo>
                  <a:cubicBezTo>
                    <a:pt x="330344" y="400082"/>
                    <a:pt x="316374" y="404527"/>
                    <a:pt x="306214" y="412782"/>
                  </a:cubicBezTo>
                  <a:cubicBezTo>
                    <a:pt x="292244" y="424212"/>
                    <a:pt x="276369" y="408337"/>
                    <a:pt x="263669" y="418497"/>
                  </a:cubicBezTo>
                  <a:cubicBezTo>
                    <a:pt x="206519" y="425482"/>
                    <a:pt x="159528" y="398177"/>
                    <a:pt x="113174" y="363887"/>
                  </a:cubicBezTo>
                  <a:close/>
                  <a:moveTo>
                    <a:pt x="343678" y="364522"/>
                  </a:moveTo>
                  <a:cubicBezTo>
                    <a:pt x="427499" y="287052"/>
                    <a:pt x="415434" y="127032"/>
                    <a:pt x="317009" y="67342"/>
                  </a:cubicBezTo>
                  <a:cubicBezTo>
                    <a:pt x="218584" y="-10128"/>
                    <a:pt x="108728" y="4477"/>
                    <a:pt x="61739" y="125762"/>
                  </a:cubicBezTo>
                  <a:cubicBezTo>
                    <a:pt x="49039" y="190532"/>
                    <a:pt x="59199" y="321977"/>
                    <a:pt x="138574" y="332772"/>
                  </a:cubicBezTo>
                  <a:cubicBezTo>
                    <a:pt x="207789" y="290227"/>
                    <a:pt x="282719" y="322612"/>
                    <a:pt x="343678" y="364522"/>
                  </a:cubicBezTo>
                  <a:close/>
                  <a:moveTo>
                    <a:pt x="318914" y="379127"/>
                  </a:moveTo>
                  <a:cubicBezTo>
                    <a:pt x="306849" y="365792"/>
                    <a:pt x="294784" y="353727"/>
                    <a:pt x="273828" y="349282"/>
                  </a:cubicBezTo>
                  <a:cubicBezTo>
                    <a:pt x="280178" y="372777"/>
                    <a:pt x="291609" y="400717"/>
                    <a:pt x="318914" y="379127"/>
                  </a:cubicBezTo>
                  <a:close/>
                  <a:moveTo>
                    <a:pt x="211599" y="382302"/>
                  </a:moveTo>
                  <a:cubicBezTo>
                    <a:pt x="208424" y="357537"/>
                    <a:pt x="203344" y="315627"/>
                    <a:pt x="179849" y="340392"/>
                  </a:cubicBezTo>
                  <a:cubicBezTo>
                    <a:pt x="191278" y="353092"/>
                    <a:pt x="196994" y="369602"/>
                    <a:pt x="211599" y="382302"/>
                  </a:cubicBezTo>
                  <a:close/>
                  <a:moveTo>
                    <a:pt x="265574" y="395637"/>
                  </a:moveTo>
                  <a:cubicBezTo>
                    <a:pt x="251603" y="373412"/>
                    <a:pt x="248428" y="351822"/>
                    <a:pt x="233189" y="341027"/>
                  </a:cubicBezTo>
                  <a:cubicBezTo>
                    <a:pt x="229378" y="361982"/>
                    <a:pt x="236999" y="377222"/>
                    <a:pt x="265574" y="395637"/>
                  </a:cubicBezTo>
                  <a:close/>
                  <a:moveTo>
                    <a:pt x="167784" y="366427"/>
                  </a:moveTo>
                  <a:cubicBezTo>
                    <a:pt x="165244" y="354997"/>
                    <a:pt x="156989" y="341027"/>
                    <a:pt x="146828" y="349917"/>
                  </a:cubicBezTo>
                  <a:cubicBezTo>
                    <a:pt x="147464" y="361347"/>
                    <a:pt x="156989" y="368332"/>
                    <a:pt x="167784" y="36642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3" name="Google Shape;36;p2">
              <a:extLst>
                <a:ext uri="{FF2B5EF4-FFF2-40B4-BE49-F238E27FC236}">
                  <a16:creationId xmlns:a16="http://schemas.microsoft.com/office/drawing/2014/main" id="{642AD79A-DD76-4AD3-81C6-4ACA9BE0101A}"/>
                </a:ext>
              </a:extLst>
            </p:cNvPr>
            <p:cNvSpPr/>
            <p:nvPr/>
          </p:nvSpPr>
          <p:spPr>
            <a:xfrm rot="-3375824">
              <a:off x="8508205" y="4088864"/>
              <a:ext cx="623152" cy="166730"/>
            </a:xfrm>
            <a:custGeom>
              <a:avLst/>
              <a:gdLst/>
              <a:ahLst/>
              <a:cxnLst/>
              <a:rect l="l" t="t" r="r" b="b"/>
              <a:pathLst>
                <a:path w="724776" h="193920" extrusionOk="0">
                  <a:moveTo>
                    <a:pt x="536612" y="138058"/>
                  </a:moveTo>
                  <a:cubicBezTo>
                    <a:pt x="412787" y="137423"/>
                    <a:pt x="278168" y="171713"/>
                    <a:pt x="151168" y="192033"/>
                  </a:cubicBezTo>
                  <a:cubicBezTo>
                    <a:pt x="124497" y="199653"/>
                    <a:pt x="-29807" y="184413"/>
                    <a:pt x="5118" y="142503"/>
                  </a:cubicBezTo>
                  <a:cubicBezTo>
                    <a:pt x="118783" y="37093"/>
                    <a:pt x="265468" y="56778"/>
                    <a:pt x="408978" y="32013"/>
                  </a:cubicBezTo>
                  <a:cubicBezTo>
                    <a:pt x="490258" y="33283"/>
                    <a:pt x="579158" y="-16882"/>
                    <a:pt x="655358" y="5978"/>
                  </a:cubicBezTo>
                  <a:cubicBezTo>
                    <a:pt x="675043" y="28203"/>
                    <a:pt x="713143" y="-12437"/>
                    <a:pt x="722033" y="26933"/>
                  </a:cubicBezTo>
                  <a:cubicBezTo>
                    <a:pt x="725208" y="40268"/>
                    <a:pt x="727747" y="54238"/>
                    <a:pt x="716953" y="68208"/>
                  </a:cubicBezTo>
                  <a:cubicBezTo>
                    <a:pt x="673137" y="67573"/>
                    <a:pt x="667422" y="106943"/>
                    <a:pt x="643928" y="137423"/>
                  </a:cubicBezTo>
                  <a:cubicBezTo>
                    <a:pt x="555662" y="152663"/>
                    <a:pt x="452793" y="199653"/>
                    <a:pt x="367068" y="192033"/>
                  </a:cubicBezTo>
                  <a:cubicBezTo>
                    <a:pt x="370878" y="153933"/>
                    <a:pt x="501053" y="157108"/>
                    <a:pt x="536612" y="138058"/>
                  </a:cubicBezTo>
                  <a:close/>
                  <a:moveTo>
                    <a:pt x="388658" y="121548"/>
                  </a:moveTo>
                  <a:cubicBezTo>
                    <a:pt x="450887" y="124723"/>
                    <a:pt x="612812" y="113928"/>
                    <a:pt x="651547" y="66303"/>
                  </a:cubicBezTo>
                  <a:cubicBezTo>
                    <a:pt x="658533" y="42808"/>
                    <a:pt x="636943" y="18043"/>
                    <a:pt x="613447" y="21218"/>
                  </a:cubicBezTo>
                  <a:cubicBezTo>
                    <a:pt x="537883" y="43443"/>
                    <a:pt x="438822" y="31378"/>
                    <a:pt x="374053" y="70748"/>
                  </a:cubicBezTo>
                  <a:cubicBezTo>
                    <a:pt x="377862" y="86623"/>
                    <a:pt x="382943" y="103133"/>
                    <a:pt x="388658" y="121548"/>
                  </a:cubicBezTo>
                  <a:close/>
                  <a:moveTo>
                    <a:pt x="347383" y="65668"/>
                  </a:moveTo>
                  <a:cubicBezTo>
                    <a:pt x="275628" y="73288"/>
                    <a:pt x="201968" y="68843"/>
                    <a:pt x="133387" y="91703"/>
                  </a:cubicBezTo>
                  <a:cubicBezTo>
                    <a:pt x="131483" y="119008"/>
                    <a:pt x="132753" y="145678"/>
                    <a:pt x="144818" y="169808"/>
                  </a:cubicBezTo>
                  <a:cubicBezTo>
                    <a:pt x="207047" y="142503"/>
                    <a:pt x="415962" y="182508"/>
                    <a:pt x="347383" y="65668"/>
                  </a:cubicBezTo>
                  <a:close/>
                  <a:moveTo>
                    <a:pt x="106083" y="110118"/>
                  </a:moveTo>
                  <a:cubicBezTo>
                    <a:pt x="81318" y="115198"/>
                    <a:pt x="37503" y="132978"/>
                    <a:pt x="52743" y="161553"/>
                  </a:cubicBezTo>
                  <a:cubicBezTo>
                    <a:pt x="71158" y="167903"/>
                    <a:pt x="90208" y="171078"/>
                    <a:pt x="111797" y="169808"/>
                  </a:cubicBezTo>
                  <a:cubicBezTo>
                    <a:pt x="115608" y="148218"/>
                    <a:pt x="114972" y="129803"/>
                    <a:pt x="106083" y="110118"/>
                  </a:cubicBezTo>
                  <a:close/>
                  <a:moveTo>
                    <a:pt x="680122" y="49793"/>
                  </a:moveTo>
                  <a:cubicBezTo>
                    <a:pt x="687743" y="47253"/>
                    <a:pt x="701712" y="49158"/>
                    <a:pt x="699172" y="37728"/>
                  </a:cubicBezTo>
                  <a:cubicBezTo>
                    <a:pt x="692187" y="30743"/>
                    <a:pt x="679487" y="37093"/>
                    <a:pt x="680122" y="4979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4" name="Google Shape;37;p2">
              <a:extLst>
                <a:ext uri="{FF2B5EF4-FFF2-40B4-BE49-F238E27FC236}">
                  <a16:creationId xmlns:a16="http://schemas.microsoft.com/office/drawing/2014/main" id="{81ECFDDF-9A1E-4C71-9C9D-5E09A2D9C4E2}"/>
                </a:ext>
              </a:extLst>
            </p:cNvPr>
            <p:cNvSpPr/>
            <p:nvPr/>
          </p:nvSpPr>
          <p:spPr>
            <a:xfrm rot="3011666">
              <a:off x="3210524" y="657803"/>
              <a:ext cx="199800" cy="513948"/>
            </a:xfrm>
            <a:custGeom>
              <a:avLst/>
              <a:gdLst/>
              <a:ahLst/>
              <a:cxnLst/>
              <a:rect l="l" t="t" r="r" b="b"/>
              <a:pathLst>
                <a:path w="232561" h="598221" extrusionOk="0">
                  <a:moveTo>
                    <a:pt x="113282" y="495986"/>
                  </a:moveTo>
                  <a:cubicBezTo>
                    <a:pt x="77722" y="519481"/>
                    <a:pt x="56132" y="585521"/>
                    <a:pt x="22477" y="598221"/>
                  </a:cubicBezTo>
                  <a:cubicBezTo>
                    <a:pt x="-37848" y="484556"/>
                    <a:pt x="39622" y="335966"/>
                    <a:pt x="64388" y="215316"/>
                  </a:cubicBezTo>
                  <a:cubicBezTo>
                    <a:pt x="82802" y="153086"/>
                    <a:pt x="100582" y="90856"/>
                    <a:pt x="115822" y="27991"/>
                  </a:cubicBezTo>
                  <a:cubicBezTo>
                    <a:pt x="125982" y="-24714"/>
                    <a:pt x="192657" y="10846"/>
                    <a:pt x="223772" y="23546"/>
                  </a:cubicBezTo>
                  <a:cubicBezTo>
                    <a:pt x="247268" y="47041"/>
                    <a:pt x="216788" y="92761"/>
                    <a:pt x="211707" y="121971"/>
                  </a:cubicBezTo>
                  <a:cubicBezTo>
                    <a:pt x="177418" y="245161"/>
                    <a:pt x="139952" y="370891"/>
                    <a:pt x="113282" y="495986"/>
                  </a:cubicBezTo>
                  <a:close/>
                  <a:moveTo>
                    <a:pt x="45338" y="459156"/>
                  </a:moveTo>
                  <a:cubicBezTo>
                    <a:pt x="74547" y="330886"/>
                    <a:pt x="116457" y="203886"/>
                    <a:pt x="145668" y="76886"/>
                  </a:cubicBezTo>
                  <a:cubicBezTo>
                    <a:pt x="109472" y="78156"/>
                    <a:pt x="92963" y="222301"/>
                    <a:pt x="77088" y="257861"/>
                  </a:cubicBezTo>
                  <a:cubicBezTo>
                    <a:pt x="76452" y="295961"/>
                    <a:pt x="252" y="454076"/>
                    <a:pt x="45972" y="458521"/>
                  </a:cubicBezTo>
                  <a:cubicBezTo>
                    <a:pt x="56768" y="469316"/>
                    <a:pt x="69468" y="475666"/>
                    <a:pt x="85977" y="474396"/>
                  </a:cubicBezTo>
                  <a:cubicBezTo>
                    <a:pt x="99313" y="448996"/>
                    <a:pt x="223772" y="55296"/>
                    <a:pt x="175513" y="85776"/>
                  </a:cubicBezTo>
                  <a:cubicBezTo>
                    <a:pt x="122807" y="140386"/>
                    <a:pt x="105027" y="464871"/>
                    <a:pt x="45338" y="459156"/>
                  </a:cubicBezTo>
                  <a:close/>
                  <a:moveTo>
                    <a:pt x="202818" y="67361"/>
                  </a:moveTo>
                  <a:cubicBezTo>
                    <a:pt x="204722" y="55296"/>
                    <a:pt x="205357" y="47676"/>
                    <a:pt x="206627" y="40691"/>
                  </a:cubicBezTo>
                  <a:cubicBezTo>
                    <a:pt x="183768" y="22276"/>
                    <a:pt x="139318" y="7671"/>
                    <a:pt x="136777" y="48311"/>
                  </a:cubicBezTo>
                  <a:cubicBezTo>
                    <a:pt x="156463" y="61011"/>
                    <a:pt x="178052" y="61646"/>
                    <a:pt x="202818" y="67361"/>
                  </a:cubicBezTo>
                  <a:close/>
                  <a:moveTo>
                    <a:pt x="28193" y="481381"/>
                  </a:moveTo>
                  <a:cubicBezTo>
                    <a:pt x="20572" y="551231"/>
                    <a:pt x="45338" y="558216"/>
                    <a:pt x="77088" y="497891"/>
                  </a:cubicBezTo>
                  <a:cubicBezTo>
                    <a:pt x="61847" y="488366"/>
                    <a:pt x="45972" y="487096"/>
                    <a:pt x="28193" y="481381"/>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5" name="Google Shape;38;p2">
              <a:extLst>
                <a:ext uri="{FF2B5EF4-FFF2-40B4-BE49-F238E27FC236}">
                  <a16:creationId xmlns:a16="http://schemas.microsoft.com/office/drawing/2014/main" id="{A307D40B-7242-44D4-B591-17FD3BF09EB6}"/>
                </a:ext>
              </a:extLst>
            </p:cNvPr>
            <p:cNvSpPr/>
            <p:nvPr/>
          </p:nvSpPr>
          <p:spPr>
            <a:xfrm rot="2196195">
              <a:off x="6146037" y="457710"/>
              <a:ext cx="248001" cy="649145"/>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26" name="Google Shape;39;p2">
              <a:extLst>
                <a:ext uri="{FF2B5EF4-FFF2-40B4-BE49-F238E27FC236}">
                  <a16:creationId xmlns:a16="http://schemas.microsoft.com/office/drawing/2014/main" id="{5604326C-FEC7-4B4A-B74C-3C1729D48495}"/>
                </a:ext>
              </a:extLst>
            </p:cNvPr>
            <p:cNvGrpSpPr/>
            <p:nvPr/>
          </p:nvGrpSpPr>
          <p:grpSpPr>
            <a:xfrm>
              <a:off x="5462677" y="4575203"/>
              <a:ext cx="497752" cy="491681"/>
              <a:chOff x="7559440" y="3972390"/>
              <a:chExt cx="497752" cy="491681"/>
            </a:xfrm>
          </p:grpSpPr>
          <p:sp>
            <p:nvSpPr>
              <p:cNvPr id="94" name="Google Shape;40;p2">
                <a:extLst>
                  <a:ext uri="{FF2B5EF4-FFF2-40B4-BE49-F238E27FC236}">
                    <a16:creationId xmlns:a16="http://schemas.microsoft.com/office/drawing/2014/main" id="{E60B4D83-EADD-40A5-8739-074D34190748}"/>
                  </a:ext>
                </a:extLst>
              </p:cNvPr>
              <p:cNvSpPr/>
              <p:nvPr/>
            </p:nvSpPr>
            <p:spPr>
              <a:xfrm rot="1226546">
                <a:off x="7692589" y="4106488"/>
                <a:ext cx="320298" cy="311457"/>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5" name="Google Shape;41;p2">
                <a:extLst>
                  <a:ext uri="{FF2B5EF4-FFF2-40B4-BE49-F238E27FC236}">
                    <a16:creationId xmlns:a16="http://schemas.microsoft.com/office/drawing/2014/main" id="{3FF74D61-8F2C-415F-870A-3E26DFE35B47}"/>
                  </a:ext>
                </a:extLst>
              </p:cNvPr>
              <p:cNvSpPr/>
              <p:nvPr/>
            </p:nvSpPr>
            <p:spPr>
              <a:xfrm rot="9911830">
                <a:off x="7595186" y="4010311"/>
                <a:ext cx="338915" cy="323847"/>
              </a:xfrm>
              <a:custGeom>
                <a:avLst/>
                <a:gdLst/>
                <a:ahLst/>
                <a:cxnLst/>
                <a:rect l="l" t="t" r="r" b="b"/>
                <a:pathLst>
                  <a:path w="393594" h="376095" extrusionOk="0">
                    <a:moveTo>
                      <a:pt x="214418" y="305042"/>
                    </a:moveTo>
                    <a:cubicBezTo>
                      <a:pt x="268393" y="256783"/>
                      <a:pt x="326179" y="286627"/>
                      <a:pt x="373168" y="327902"/>
                    </a:cubicBezTo>
                    <a:cubicBezTo>
                      <a:pt x="334433" y="348222"/>
                      <a:pt x="287443" y="358383"/>
                      <a:pt x="242358" y="352667"/>
                    </a:cubicBezTo>
                    <a:cubicBezTo>
                      <a:pt x="242358" y="360922"/>
                      <a:pt x="242358" y="367908"/>
                      <a:pt x="242358" y="374892"/>
                    </a:cubicBezTo>
                    <a:cubicBezTo>
                      <a:pt x="208704" y="387592"/>
                      <a:pt x="190289" y="296152"/>
                      <a:pt x="189654" y="269483"/>
                    </a:cubicBezTo>
                    <a:cubicBezTo>
                      <a:pt x="-846" y="341237"/>
                      <a:pt x="-74507" y="101208"/>
                      <a:pt x="94404" y="17387"/>
                    </a:cubicBezTo>
                    <a:cubicBezTo>
                      <a:pt x="178858" y="4052"/>
                      <a:pt x="289983" y="-24523"/>
                      <a:pt x="357293" y="44058"/>
                    </a:cubicBezTo>
                    <a:cubicBezTo>
                      <a:pt x="419523" y="101208"/>
                      <a:pt x="399839" y="240272"/>
                      <a:pt x="312843" y="258687"/>
                    </a:cubicBezTo>
                    <a:cubicBezTo>
                      <a:pt x="260139" y="256147"/>
                      <a:pt x="199179" y="220587"/>
                      <a:pt x="214418" y="305042"/>
                    </a:cubicBezTo>
                    <a:close/>
                    <a:moveTo>
                      <a:pt x="369993" y="131687"/>
                    </a:moveTo>
                    <a:cubicBezTo>
                      <a:pt x="377614" y="58662"/>
                      <a:pt x="298873" y="-2298"/>
                      <a:pt x="229658" y="22467"/>
                    </a:cubicBezTo>
                    <a:cubicBezTo>
                      <a:pt x="215054" y="28817"/>
                      <a:pt x="199179" y="30722"/>
                      <a:pt x="183304" y="23737"/>
                    </a:cubicBezTo>
                    <a:cubicBezTo>
                      <a:pt x="79164" y="3417"/>
                      <a:pt x="-14182" y="120258"/>
                      <a:pt x="37254" y="217412"/>
                    </a:cubicBezTo>
                    <a:cubicBezTo>
                      <a:pt x="86148" y="318377"/>
                      <a:pt x="176954" y="218047"/>
                      <a:pt x="249979" y="231383"/>
                    </a:cubicBezTo>
                    <a:cubicBezTo>
                      <a:pt x="321098" y="265037"/>
                      <a:pt x="372533" y="203442"/>
                      <a:pt x="369993" y="131687"/>
                    </a:cubicBezTo>
                    <a:close/>
                    <a:moveTo>
                      <a:pt x="329354" y="320283"/>
                    </a:moveTo>
                    <a:cubicBezTo>
                      <a:pt x="316654" y="302502"/>
                      <a:pt x="260773" y="284087"/>
                      <a:pt x="255693" y="313297"/>
                    </a:cubicBezTo>
                    <a:cubicBezTo>
                      <a:pt x="266489" y="313297"/>
                      <a:pt x="288714" y="301233"/>
                      <a:pt x="289348" y="318377"/>
                    </a:cubicBezTo>
                    <a:cubicBezTo>
                      <a:pt x="289348" y="327902"/>
                      <a:pt x="272839" y="324092"/>
                      <a:pt x="275379" y="337427"/>
                    </a:cubicBezTo>
                    <a:cubicBezTo>
                      <a:pt x="293158" y="336158"/>
                      <a:pt x="310304" y="333617"/>
                      <a:pt x="329354" y="32028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27" name="Google Shape;42;p2">
              <a:extLst>
                <a:ext uri="{FF2B5EF4-FFF2-40B4-BE49-F238E27FC236}">
                  <a16:creationId xmlns:a16="http://schemas.microsoft.com/office/drawing/2014/main" id="{7B3E780A-FE52-4930-9014-FFEF28ABA4B9}"/>
                </a:ext>
              </a:extLst>
            </p:cNvPr>
            <p:cNvGrpSpPr/>
            <p:nvPr/>
          </p:nvGrpSpPr>
          <p:grpSpPr>
            <a:xfrm>
              <a:off x="510215" y="271717"/>
              <a:ext cx="557022" cy="619823"/>
              <a:chOff x="510215" y="271717"/>
              <a:chExt cx="557022" cy="619823"/>
            </a:xfrm>
          </p:grpSpPr>
          <p:sp>
            <p:nvSpPr>
              <p:cNvPr id="92" name="Google Shape;43;p2">
                <a:extLst>
                  <a:ext uri="{FF2B5EF4-FFF2-40B4-BE49-F238E27FC236}">
                    <a16:creationId xmlns:a16="http://schemas.microsoft.com/office/drawing/2014/main" id="{DB21A7C0-E34D-4908-8E9B-C1BA461C3D8C}"/>
                  </a:ext>
                </a:extLst>
              </p:cNvPr>
              <p:cNvSpPr/>
              <p:nvPr/>
            </p:nvSpPr>
            <p:spPr>
              <a:xfrm>
                <a:off x="676827" y="376200"/>
                <a:ext cx="316843" cy="320881"/>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3" name="Google Shape;44;p2">
                <a:extLst>
                  <a:ext uri="{FF2B5EF4-FFF2-40B4-BE49-F238E27FC236}">
                    <a16:creationId xmlns:a16="http://schemas.microsoft.com/office/drawing/2014/main" id="{BCE5B0F7-5FDC-4B9D-8BBB-EEDEFB1C0A37}"/>
                  </a:ext>
                </a:extLst>
              </p:cNvPr>
              <p:cNvSpPr/>
              <p:nvPr/>
            </p:nvSpPr>
            <p:spPr>
              <a:xfrm>
                <a:off x="510215" y="271717"/>
                <a:ext cx="557022" cy="619823"/>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28" name="Google Shape;45;p2">
              <a:extLst>
                <a:ext uri="{FF2B5EF4-FFF2-40B4-BE49-F238E27FC236}">
                  <a16:creationId xmlns:a16="http://schemas.microsoft.com/office/drawing/2014/main" id="{88E0BC4D-444B-4D02-A994-34ED22CEAF8E}"/>
                </a:ext>
              </a:extLst>
            </p:cNvPr>
            <p:cNvSpPr/>
            <p:nvPr/>
          </p:nvSpPr>
          <p:spPr>
            <a:xfrm>
              <a:off x="1778886" y="4237081"/>
              <a:ext cx="556337" cy="631409"/>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9" name="Google Shape;46;p2">
              <a:extLst>
                <a:ext uri="{FF2B5EF4-FFF2-40B4-BE49-F238E27FC236}">
                  <a16:creationId xmlns:a16="http://schemas.microsoft.com/office/drawing/2014/main" id="{795A7F5F-5BB4-4E59-8D97-0332F453E9D8}"/>
                </a:ext>
              </a:extLst>
            </p:cNvPr>
            <p:cNvSpPr/>
            <p:nvPr/>
          </p:nvSpPr>
          <p:spPr>
            <a:xfrm rot="-982808">
              <a:off x="7867083" y="4603094"/>
              <a:ext cx="701993" cy="567693"/>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0" name="Google Shape;47;p2">
              <a:extLst>
                <a:ext uri="{FF2B5EF4-FFF2-40B4-BE49-F238E27FC236}">
                  <a16:creationId xmlns:a16="http://schemas.microsoft.com/office/drawing/2014/main" id="{C5E1B8C9-851C-4F75-B9DD-82A1506E00E8}"/>
                </a:ext>
              </a:extLst>
            </p:cNvPr>
            <p:cNvSpPr/>
            <p:nvPr/>
          </p:nvSpPr>
          <p:spPr>
            <a:xfrm rot="1185294">
              <a:off x="4798350" y="3885963"/>
              <a:ext cx="616477" cy="671778"/>
            </a:xfrm>
            <a:custGeom>
              <a:avLst/>
              <a:gdLst/>
              <a:ahLst/>
              <a:cxnLst/>
              <a:rect l="l" t="t" r="r" b="b"/>
              <a:pathLst>
                <a:path w="718509" h="782962" extrusionOk="0">
                  <a:moveTo>
                    <a:pt x="707390" y="178442"/>
                  </a:moveTo>
                  <a:cubicBezTo>
                    <a:pt x="705485" y="163837"/>
                    <a:pt x="700405" y="154947"/>
                    <a:pt x="683895" y="153042"/>
                  </a:cubicBezTo>
                  <a:cubicBezTo>
                    <a:pt x="685800" y="135897"/>
                    <a:pt x="673100" y="127642"/>
                    <a:pt x="665480" y="114942"/>
                  </a:cubicBezTo>
                  <a:cubicBezTo>
                    <a:pt x="664845" y="85097"/>
                    <a:pt x="638810" y="88907"/>
                    <a:pt x="618490" y="95257"/>
                  </a:cubicBezTo>
                  <a:cubicBezTo>
                    <a:pt x="595630" y="74302"/>
                    <a:pt x="582295" y="68587"/>
                    <a:pt x="555625" y="88272"/>
                  </a:cubicBezTo>
                  <a:cubicBezTo>
                    <a:pt x="523875" y="100972"/>
                    <a:pt x="523240" y="30487"/>
                    <a:pt x="488315" y="60332"/>
                  </a:cubicBezTo>
                  <a:cubicBezTo>
                    <a:pt x="445135" y="96527"/>
                    <a:pt x="462915" y="-3803"/>
                    <a:pt x="385445" y="42552"/>
                  </a:cubicBezTo>
                  <a:cubicBezTo>
                    <a:pt x="359410" y="-34918"/>
                    <a:pt x="319405" y="13977"/>
                    <a:pt x="274320" y="29852"/>
                  </a:cubicBezTo>
                  <a:cubicBezTo>
                    <a:pt x="182245" y="239402"/>
                    <a:pt x="65405" y="447047"/>
                    <a:pt x="0" y="662312"/>
                  </a:cubicBezTo>
                  <a:cubicBezTo>
                    <a:pt x="161925" y="678822"/>
                    <a:pt x="313055" y="747402"/>
                    <a:pt x="471170" y="782962"/>
                  </a:cubicBezTo>
                  <a:cubicBezTo>
                    <a:pt x="532130" y="658502"/>
                    <a:pt x="575310" y="535947"/>
                    <a:pt x="636905" y="413392"/>
                  </a:cubicBezTo>
                  <a:cubicBezTo>
                    <a:pt x="664210" y="349892"/>
                    <a:pt x="688975" y="285757"/>
                    <a:pt x="714375" y="221622"/>
                  </a:cubicBezTo>
                  <a:cubicBezTo>
                    <a:pt x="718185" y="205747"/>
                    <a:pt x="723900" y="190507"/>
                    <a:pt x="707390" y="178442"/>
                  </a:cubicBezTo>
                  <a:close/>
                  <a:moveTo>
                    <a:pt x="655955" y="152407"/>
                  </a:moveTo>
                  <a:cubicBezTo>
                    <a:pt x="652780" y="161297"/>
                    <a:pt x="650240" y="170187"/>
                    <a:pt x="646430" y="180347"/>
                  </a:cubicBezTo>
                  <a:cubicBezTo>
                    <a:pt x="604520" y="162567"/>
                    <a:pt x="608330" y="116847"/>
                    <a:pt x="655955" y="152407"/>
                  </a:cubicBezTo>
                  <a:close/>
                  <a:moveTo>
                    <a:pt x="561975" y="127642"/>
                  </a:moveTo>
                  <a:cubicBezTo>
                    <a:pt x="572770" y="118117"/>
                    <a:pt x="577850" y="125737"/>
                    <a:pt x="590550" y="133992"/>
                  </a:cubicBezTo>
                  <a:cubicBezTo>
                    <a:pt x="576580" y="138437"/>
                    <a:pt x="558800" y="146057"/>
                    <a:pt x="561975" y="127642"/>
                  </a:cubicBezTo>
                  <a:close/>
                  <a:moveTo>
                    <a:pt x="353695" y="33027"/>
                  </a:moveTo>
                  <a:cubicBezTo>
                    <a:pt x="351155" y="47632"/>
                    <a:pt x="334010" y="34297"/>
                    <a:pt x="323215" y="31757"/>
                  </a:cubicBezTo>
                  <a:cubicBezTo>
                    <a:pt x="334010" y="17152"/>
                    <a:pt x="350520" y="17787"/>
                    <a:pt x="353695" y="33027"/>
                  </a:cubicBezTo>
                  <a:close/>
                  <a:moveTo>
                    <a:pt x="43180" y="618497"/>
                  </a:moveTo>
                  <a:cubicBezTo>
                    <a:pt x="46990" y="609607"/>
                    <a:pt x="54610" y="612147"/>
                    <a:pt x="59055" y="613417"/>
                  </a:cubicBezTo>
                  <a:cubicBezTo>
                    <a:pt x="99060" y="635642"/>
                    <a:pt x="160020" y="625482"/>
                    <a:pt x="189865" y="659137"/>
                  </a:cubicBezTo>
                  <a:cubicBezTo>
                    <a:pt x="140970" y="652152"/>
                    <a:pt x="87630" y="638817"/>
                    <a:pt x="43180" y="618497"/>
                  </a:cubicBezTo>
                  <a:close/>
                  <a:moveTo>
                    <a:pt x="201295" y="663582"/>
                  </a:moveTo>
                  <a:cubicBezTo>
                    <a:pt x="198755" y="662312"/>
                    <a:pt x="196215" y="661677"/>
                    <a:pt x="193675" y="660407"/>
                  </a:cubicBezTo>
                  <a:cubicBezTo>
                    <a:pt x="196215" y="660407"/>
                    <a:pt x="199390" y="659772"/>
                    <a:pt x="201930" y="659772"/>
                  </a:cubicBezTo>
                  <a:cubicBezTo>
                    <a:pt x="201295" y="661042"/>
                    <a:pt x="201295" y="662312"/>
                    <a:pt x="201295" y="663582"/>
                  </a:cubicBezTo>
                  <a:close/>
                  <a:moveTo>
                    <a:pt x="228600" y="667392"/>
                  </a:moveTo>
                  <a:cubicBezTo>
                    <a:pt x="246380" y="662312"/>
                    <a:pt x="262255" y="666122"/>
                    <a:pt x="276860" y="680727"/>
                  </a:cubicBezTo>
                  <a:cubicBezTo>
                    <a:pt x="256540" y="687077"/>
                    <a:pt x="242570" y="678822"/>
                    <a:pt x="228600" y="667392"/>
                  </a:cubicBezTo>
                  <a:close/>
                  <a:moveTo>
                    <a:pt x="434975" y="704222"/>
                  </a:moveTo>
                  <a:cubicBezTo>
                    <a:pt x="306070" y="664852"/>
                    <a:pt x="177800" y="628657"/>
                    <a:pt x="47625" y="588652"/>
                  </a:cubicBezTo>
                  <a:cubicBezTo>
                    <a:pt x="114935" y="409582"/>
                    <a:pt x="198120" y="233052"/>
                    <a:pt x="284480" y="61602"/>
                  </a:cubicBezTo>
                  <a:cubicBezTo>
                    <a:pt x="314960" y="97162"/>
                    <a:pt x="369570" y="94622"/>
                    <a:pt x="323215" y="62872"/>
                  </a:cubicBezTo>
                  <a:cubicBezTo>
                    <a:pt x="340995" y="59697"/>
                    <a:pt x="354330" y="64777"/>
                    <a:pt x="369570" y="70492"/>
                  </a:cubicBezTo>
                  <a:cubicBezTo>
                    <a:pt x="377825" y="143517"/>
                    <a:pt x="474980" y="111132"/>
                    <a:pt x="398145" y="86367"/>
                  </a:cubicBezTo>
                  <a:cubicBezTo>
                    <a:pt x="411480" y="67952"/>
                    <a:pt x="439420" y="83827"/>
                    <a:pt x="457200" y="89542"/>
                  </a:cubicBezTo>
                  <a:cubicBezTo>
                    <a:pt x="461010" y="179712"/>
                    <a:pt x="532130" y="156852"/>
                    <a:pt x="506095" y="131452"/>
                  </a:cubicBezTo>
                  <a:cubicBezTo>
                    <a:pt x="485140" y="128912"/>
                    <a:pt x="480695" y="129547"/>
                    <a:pt x="483870" y="104147"/>
                  </a:cubicBezTo>
                  <a:cubicBezTo>
                    <a:pt x="501650" y="101607"/>
                    <a:pt x="518795" y="107957"/>
                    <a:pt x="536575" y="110497"/>
                  </a:cubicBezTo>
                  <a:cubicBezTo>
                    <a:pt x="542290" y="147327"/>
                    <a:pt x="556260" y="169552"/>
                    <a:pt x="595630" y="161932"/>
                  </a:cubicBezTo>
                  <a:cubicBezTo>
                    <a:pt x="610235" y="174632"/>
                    <a:pt x="624205" y="186697"/>
                    <a:pt x="638810" y="199397"/>
                  </a:cubicBezTo>
                  <a:cubicBezTo>
                    <a:pt x="590550" y="376562"/>
                    <a:pt x="498475" y="533407"/>
                    <a:pt x="434975" y="704222"/>
                  </a:cubicBezTo>
                  <a:close/>
                  <a:moveTo>
                    <a:pt x="560705" y="508642"/>
                  </a:moveTo>
                  <a:cubicBezTo>
                    <a:pt x="560705" y="508642"/>
                    <a:pt x="560705" y="508007"/>
                    <a:pt x="560705" y="508642"/>
                  </a:cubicBezTo>
                  <a:cubicBezTo>
                    <a:pt x="561340" y="509277"/>
                    <a:pt x="561975" y="509912"/>
                    <a:pt x="562610" y="509912"/>
                  </a:cubicBezTo>
                  <a:cubicBezTo>
                    <a:pt x="561975" y="509277"/>
                    <a:pt x="561340" y="509277"/>
                    <a:pt x="560705" y="508642"/>
                  </a:cubicBezTo>
                  <a:close/>
                  <a:moveTo>
                    <a:pt x="602615" y="438792"/>
                  </a:moveTo>
                  <a:cubicBezTo>
                    <a:pt x="588010" y="457842"/>
                    <a:pt x="586740" y="504832"/>
                    <a:pt x="561340" y="508007"/>
                  </a:cubicBezTo>
                  <a:cubicBezTo>
                    <a:pt x="607695" y="405772"/>
                    <a:pt x="632460" y="297822"/>
                    <a:pt x="690245" y="201302"/>
                  </a:cubicBezTo>
                  <a:cubicBezTo>
                    <a:pt x="678180" y="284487"/>
                    <a:pt x="633730" y="360052"/>
                    <a:pt x="602615" y="438792"/>
                  </a:cubicBezTo>
                  <a:close/>
                  <a:moveTo>
                    <a:pt x="313690" y="335287"/>
                  </a:moveTo>
                  <a:cubicBezTo>
                    <a:pt x="297815" y="333382"/>
                    <a:pt x="197485" y="287027"/>
                    <a:pt x="229870" y="330842"/>
                  </a:cubicBezTo>
                  <a:cubicBezTo>
                    <a:pt x="312420" y="365767"/>
                    <a:pt x="409575" y="363862"/>
                    <a:pt x="485775" y="412757"/>
                  </a:cubicBezTo>
                  <a:cubicBezTo>
                    <a:pt x="496570" y="419107"/>
                    <a:pt x="505460" y="426092"/>
                    <a:pt x="517525" y="415297"/>
                  </a:cubicBezTo>
                  <a:cubicBezTo>
                    <a:pt x="468630" y="357512"/>
                    <a:pt x="381000" y="360052"/>
                    <a:pt x="313690" y="335287"/>
                  </a:cubicBezTo>
                  <a:close/>
                  <a:moveTo>
                    <a:pt x="247650" y="245752"/>
                  </a:moveTo>
                  <a:cubicBezTo>
                    <a:pt x="237490" y="288932"/>
                    <a:pt x="370205" y="285757"/>
                    <a:pt x="402590" y="304172"/>
                  </a:cubicBezTo>
                  <a:cubicBezTo>
                    <a:pt x="441325" y="314332"/>
                    <a:pt x="480060" y="325762"/>
                    <a:pt x="514985" y="346717"/>
                  </a:cubicBezTo>
                  <a:cubicBezTo>
                    <a:pt x="520065" y="349892"/>
                    <a:pt x="526415" y="350527"/>
                    <a:pt x="528955" y="344812"/>
                  </a:cubicBezTo>
                  <a:cubicBezTo>
                    <a:pt x="528955" y="296552"/>
                    <a:pt x="299720" y="266072"/>
                    <a:pt x="247650" y="245752"/>
                  </a:cubicBezTo>
                  <a:close/>
                  <a:moveTo>
                    <a:pt x="190500" y="440062"/>
                  </a:moveTo>
                  <a:cubicBezTo>
                    <a:pt x="114300" y="454032"/>
                    <a:pt x="260350" y="477527"/>
                    <a:pt x="276860" y="483242"/>
                  </a:cubicBezTo>
                  <a:cubicBezTo>
                    <a:pt x="335915" y="490862"/>
                    <a:pt x="387350" y="520072"/>
                    <a:pt x="443230" y="535947"/>
                  </a:cubicBezTo>
                  <a:cubicBezTo>
                    <a:pt x="503555" y="508642"/>
                    <a:pt x="214630" y="446412"/>
                    <a:pt x="190500" y="440062"/>
                  </a:cubicBezTo>
                  <a:close/>
                  <a:moveTo>
                    <a:pt x="268605" y="189237"/>
                  </a:moveTo>
                  <a:cubicBezTo>
                    <a:pt x="246380" y="228607"/>
                    <a:pt x="356870" y="221622"/>
                    <a:pt x="381000" y="234322"/>
                  </a:cubicBezTo>
                  <a:cubicBezTo>
                    <a:pt x="434340" y="241307"/>
                    <a:pt x="481330" y="267977"/>
                    <a:pt x="532130" y="281312"/>
                  </a:cubicBezTo>
                  <a:cubicBezTo>
                    <a:pt x="610870" y="260992"/>
                    <a:pt x="292735" y="193047"/>
                    <a:pt x="268605" y="189237"/>
                  </a:cubicBezTo>
                  <a:close/>
                  <a:moveTo>
                    <a:pt x="529590" y="191777"/>
                  </a:moveTo>
                  <a:cubicBezTo>
                    <a:pt x="450215" y="181617"/>
                    <a:pt x="375920" y="153042"/>
                    <a:pt x="297815" y="136532"/>
                  </a:cubicBezTo>
                  <a:cubicBezTo>
                    <a:pt x="245745" y="161932"/>
                    <a:pt x="375920" y="169552"/>
                    <a:pt x="391795" y="180982"/>
                  </a:cubicBezTo>
                  <a:cubicBezTo>
                    <a:pt x="440055" y="196222"/>
                    <a:pt x="493395" y="197492"/>
                    <a:pt x="538480" y="220352"/>
                  </a:cubicBezTo>
                  <a:cubicBezTo>
                    <a:pt x="547370" y="224797"/>
                    <a:pt x="560070" y="217177"/>
                    <a:pt x="560070" y="205747"/>
                  </a:cubicBezTo>
                  <a:cubicBezTo>
                    <a:pt x="554990" y="193682"/>
                    <a:pt x="541020" y="193682"/>
                    <a:pt x="529590" y="191777"/>
                  </a:cubicBezTo>
                  <a:close/>
                  <a:moveTo>
                    <a:pt x="210185" y="381642"/>
                  </a:moveTo>
                  <a:cubicBezTo>
                    <a:pt x="205105" y="407677"/>
                    <a:pt x="219710" y="401327"/>
                    <a:pt x="234950" y="405137"/>
                  </a:cubicBezTo>
                  <a:cubicBezTo>
                    <a:pt x="308610" y="414027"/>
                    <a:pt x="380365" y="435617"/>
                    <a:pt x="449580" y="460382"/>
                  </a:cubicBezTo>
                  <a:cubicBezTo>
                    <a:pt x="534670" y="436887"/>
                    <a:pt x="233680" y="381007"/>
                    <a:pt x="210185" y="381642"/>
                  </a:cubicBezTo>
                  <a:close/>
                  <a:moveTo>
                    <a:pt x="158115" y="502292"/>
                  </a:moveTo>
                  <a:cubicBezTo>
                    <a:pt x="135890" y="498482"/>
                    <a:pt x="132080" y="519437"/>
                    <a:pt x="150495" y="523247"/>
                  </a:cubicBezTo>
                  <a:cubicBezTo>
                    <a:pt x="202565" y="528327"/>
                    <a:pt x="250190" y="551187"/>
                    <a:pt x="300355" y="561982"/>
                  </a:cubicBezTo>
                  <a:cubicBezTo>
                    <a:pt x="330200" y="530867"/>
                    <a:pt x="177165" y="511182"/>
                    <a:pt x="158115" y="50229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1" name="Google Shape;48;p2">
              <a:extLst>
                <a:ext uri="{FF2B5EF4-FFF2-40B4-BE49-F238E27FC236}">
                  <a16:creationId xmlns:a16="http://schemas.microsoft.com/office/drawing/2014/main" id="{4D10690C-C3D5-466C-AD32-8BB998CFB067}"/>
                </a:ext>
              </a:extLst>
            </p:cNvPr>
            <p:cNvSpPr/>
            <p:nvPr/>
          </p:nvSpPr>
          <p:spPr>
            <a:xfrm>
              <a:off x="1393062" y="748927"/>
              <a:ext cx="579203" cy="652168"/>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2" name="Google Shape;49;p2">
              <a:extLst>
                <a:ext uri="{FF2B5EF4-FFF2-40B4-BE49-F238E27FC236}">
                  <a16:creationId xmlns:a16="http://schemas.microsoft.com/office/drawing/2014/main" id="{772FC28F-55E1-4A85-85CE-186685CBF53B}"/>
                </a:ext>
              </a:extLst>
            </p:cNvPr>
            <p:cNvSpPr/>
            <p:nvPr/>
          </p:nvSpPr>
          <p:spPr>
            <a:xfrm>
              <a:off x="7317433" y="2956555"/>
              <a:ext cx="716315" cy="573888"/>
            </a:xfrm>
            <a:custGeom>
              <a:avLst/>
              <a:gdLst/>
              <a:ahLst/>
              <a:cxnLst/>
              <a:rect l="l" t="t" r="r" b="b"/>
              <a:pathLst>
                <a:path w="832925" h="667312" extrusionOk="0">
                  <a:moveTo>
                    <a:pt x="832654" y="510467"/>
                  </a:moveTo>
                  <a:cubicBezTo>
                    <a:pt x="829479" y="434902"/>
                    <a:pt x="811699" y="361242"/>
                    <a:pt x="802174" y="286312"/>
                  </a:cubicBezTo>
                  <a:cubicBezTo>
                    <a:pt x="772964" y="118672"/>
                    <a:pt x="808524" y="-22933"/>
                    <a:pt x="580559" y="3102"/>
                  </a:cubicBezTo>
                  <a:cubicBezTo>
                    <a:pt x="476419" y="-8963"/>
                    <a:pt x="405934" y="116132"/>
                    <a:pt x="355134" y="85652"/>
                  </a:cubicBezTo>
                  <a:cubicBezTo>
                    <a:pt x="259884" y="32312"/>
                    <a:pt x="139869" y="51362"/>
                    <a:pt x="38269" y="73587"/>
                  </a:cubicBezTo>
                  <a:cubicBezTo>
                    <a:pt x="-11261" y="84382"/>
                    <a:pt x="-2371" y="107242"/>
                    <a:pt x="8424" y="146612"/>
                  </a:cubicBezTo>
                  <a:cubicBezTo>
                    <a:pt x="29379" y="309172"/>
                    <a:pt x="48429" y="470462"/>
                    <a:pt x="82084" y="629847"/>
                  </a:cubicBezTo>
                  <a:cubicBezTo>
                    <a:pt x="83989" y="650802"/>
                    <a:pt x="107484" y="641277"/>
                    <a:pt x="120184" y="636197"/>
                  </a:cubicBezTo>
                  <a:cubicBezTo>
                    <a:pt x="129709" y="645722"/>
                    <a:pt x="124629" y="663502"/>
                    <a:pt x="143044" y="667312"/>
                  </a:cubicBezTo>
                  <a:cubicBezTo>
                    <a:pt x="237024" y="612067"/>
                    <a:pt x="358309" y="609527"/>
                    <a:pt x="463084" y="627942"/>
                  </a:cubicBezTo>
                  <a:cubicBezTo>
                    <a:pt x="553254" y="563807"/>
                    <a:pt x="668824" y="563172"/>
                    <a:pt x="774869" y="573967"/>
                  </a:cubicBezTo>
                  <a:cubicBezTo>
                    <a:pt x="792014" y="565712"/>
                    <a:pt x="786299" y="546027"/>
                    <a:pt x="793919" y="532692"/>
                  </a:cubicBezTo>
                  <a:cubicBezTo>
                    <a:pt x="810429" y="527612"/>
                    <a:pt x="835829" y="539677"/>
                    <a:pt x="832654" y="510467"/>
                  </a:cubicBezTo>
                  <a:close/>
                  <a:moveTo>
                    <a:pt x="377359" y="595557"/>
                  </a:moveTo>
                  <a:cubicBezTo>
                    <a:pt x="298619" y="600002"/>
                    <a:pt x="222419" y="601907"/>
                    <a:pt x="148759" y="633022"/>
                  </a:cubicBezTo>
                  <a:cubicBezTo>
                    <a:pt x="134789" y="583492"/>
                    <a:pt x="351959" y="558092"/>
                    <a:pt x="385614" y="586667"/>
                  </a:cubicBezTo>
                  <a:cubicBezTo>
                    <a:pt x="385614" y="594287"/>
                    <a:pt x="381804" y="595557"/>
                    <a:pt x="377359" y="595557"/>
                  </a:cubicBezTo>
                  <a:close/>
                  <a:moveTo>
                    <a:pt x="432604" y="585397"/>
                  </a:moveTo>
                  <a:cubicBezTo>
                    <a:pt x="332909" y="518722"/>
                    <a:pt x="209084" y="561267"/>
                    <a:pt x="107484" y="605717"/>
                  </a:cubicBezTo>
                  <a:cubicBezTo>
                    <a:pt x="60494" y="509832"/>
                    <a:pt x="77639" y="394897"/>
                    <a:pt x="47159" y="292662"/>
                  </a:cubicBezTo>
                  <a:cubicBezTo>
                    <a:pt x="51604" y="252022"/>
                    <a:pt x="2074" y="106607"/>
                    <a:pt x="45254" y="97082"/>
                  </a:cubicBezTo>
                  <a:cubicBezTo>
                    <a:pt x="143044" y="74857"/>
                    <a:pt x="338624" y="38027"/>
                    <a:pt x="385614" y="152962"/>
                  </a:cubicBezTo>
                  <a:cubicBezTo>
                    <a:pt x="410379" y="295837"/>
                    <a:pt x="436414" y="439347"/>
                    <a:pt x="432604" y="585397"/>
                  </a:cubicBezTo>
                  <a:close/>
                  <a:moveTo>
                    <a:pt x="766614" y="547297"/>
                  </a:moveTo>
                  <a:cubicBezTo>
                    <a:pt x="691049" y="546662"/>
                    <a:pt x="619294" y="547297"/>
                    <a:pt x="546269" y="561267"/>
                  </a:cubicBezTo>
                  <a:cubicBezTo>
                    <a:pt x="548809" y="521262"/>
                    <a:pt x="785664" y="490782"/>
                    <a:pt x="766614" y="547297"/>
                  </a:cubicBezTo>
                  <a:close/>
                  <a:moveTo>
                    <a:pt x="804714" y="505387"/>
                  </a:moveTo>
                  <a:cubicBezTo>
                    <a:pt x="673269" y="483162"/>
                    <a:pt x="569129" y="493322"/>
                    <a:pt x="464354" y="577777"/>
                  </a:cubicBezTo>
                  <a:cubicBezTo>
                    <a:pt x="442129" y="429187"/>
                    <a:pt x="440224" y="275517"/>
                    <a:pt x="403394" y="128197"/>
                  </a:cubicBezTo>
                  <a:cubicBezTo>
                    <a:pt x="464989" y="31677"/>
                    <a:pt x="617389" y="-10233"/>
                    <a:pt x="717084" y="45647"/>
                  </a:cubicBezTo>
                  <a:cubicBezTo>
                    <a:pt x="772964" y="92637"/>
                    <a:pt x="754549" y="188522"/>
                    <a:pt x="772329" y="255197"/>
                  </a:cubicBezTo>
                  <a:cubicBezTo>
                    <a:pt x="776774" y="340287"/>
                    <a:pt x="809159" y="420932"/>
                    <a:pt x="804714" y="505387"/>
                  </a:cubicBezTo>
                  <a:close/>
                  <a:moveTo>
                    <a:pt x="634534" y="306632"/>
                  </a:moveTo>
                  <a:cubicBezTo>
                    <a:pt x="633264" y="339652"/>
                    <a:pt x="643424" y="370132"/>
                    <a:pt x="639614" y="404422"/>
                  </a:cubicBezTo>
                  <a:cubicBezTo>
                    <a:pt x="447209" y="426012"/>
                    <a:pt x="456734" y="468557"/>
                    <a:pt x="644059" y="424107"/>
                  </a:cubicBezTo>
                  <a:cubicBezTo>
                    <a:pt x="648504" y="439347"/>
                    <a:pt x="652314" y="453317"/>
                    <a:pt x="656759" y="468557"/>
                  </a:cubicBezTo>
                  <a:cubicBezTo>
                    <a:pt x="692954" y="465382"/>
                    <a:pt x="738674" y="470462"/>
                    <a:pt x="767249" y="447602"/>
                  </a:cubicBezTo>
                  <a:cubicBezTo>
                    <a:pt x="737404" y="353622"/>
                    <a:pt x="781219" y="259007"/>
                    <a:pt x="634534" y="306632"/>
                  </a:cubicBezTo>
                  <a:close/>
                  <a:moveTo>
                    <a:pt x="675809" y="441887"/>
                  </a:moveTo>
                  <a:cubicBezTo>
                    <a:pt x="660569" y="405692"/>
                    <a:pt x="656759" y="376482"/>
                    <a:pt x="661839" y="327587"/>
                  </a:cubicBezTo>
                  <a:cubicBezTo>
                    <a:pt x="682159" y="317427"/>
                    <a:pt x="701844" y="319967"/>
                    <a:pt x="721529" y="322507"/>
                  </a:cubicBezTo>
                  <a:cubicBezTo>
                    <a:pt x="738039" y="356162"/>
                    <a:pt x="730419" y="395532"/>
                    <a:pt x="736134" y="433632"/>
                  </a:cubicBezTo>
                  <a:cubicBezTo>
                    <a:pt x="715814" y="436172"/>
                    <a:pt x="696129" y="443792"/>
                    <a:pt x="675809" y="441887"/>
                  </a:cubicBezTo>
                  <a:close/>
                  <a:moveTo>
                    <a:pt x="732959" y="166932"/>
                  </a:moveTo>
                  <a:cubicBezTo>
                    <a:pt x="737404" y="169472"/>
                    <a:pt x="744389" y="166932"/>
                    <a:pt x="745659" y="161217"/>
                  </a:cubicBezTo>
                  <a:cubicBezTo>
                    <a:pt x="744389" y="125657"/>
                    <a:pt x="672634" y="141532"/>
                    <a:pt x="657394" y="133912"/>
                  </a:cubicBezTo>
                  <a:cubicBezTo>
                    <a:pt x="623104" y="134547"/>
                    <a:pt x="419904" y="153597"/>
                    <a:pt x="476419" y="191697"/>
                  </a:cubicBezTo>
                  <a:cubicBezTo>
                    <a:pt x="556429" y="162487"/>
                    <a:pt x="649774" y="134547"/>
                    <a:pt x="732959" y="166932"/>
                  </a:cubicBezTo>
                  <a:close/>
                  <a:moveTo>
                    <a:pt x="726609" y="92002"/>
                  </a:moveTo>
                  <a:cubicBezTo>
                    <a:pt x="717719" y="29772"/>
                    <a:pt x="482134" y="92002"/>
                    <a:pt x="449114" y="126927"/>
                  </a:cubicBezTo>
                  <a:cubicBezTo>
                    <a:pt x="452924" y="132642"/>
                    <a:pt x="455464" y="137087"/>
                    <a:pt x="459274" y="143437"/>
                  </a:cubicBezTo>
                  <a:cubicBezTo>
                    <a:pt x="539284" y="94542"/>
                    <a:pt x="635169" y="79937"/>
                    <a:pt x="726609" y="92002"/>
                  </a:cubicBezTo>
                  <a:close/>
                  <a:moveTo>
                    <a:pt x="494199" y="248847"/>
                  </a:moveTo>
                  <a:cubicBezTo>
                    <a:pt x="562144" y="217097"/>
                    <a:pt x="643424" y="223447"/>
                    <a:pt x="716449" y="235512"/>
                  </a:cubicBezTo>
                  <a:cubicBezTo>
                    <a:pt x="743119" y="187887"/>
                    <a:pt x="480229" y="199317"/>
                    <a:pt x="478959" y="238687"/>
                  </a:cubicBezTo>
                  <a:cubicBezTo>
                    <a:pt x="478959" y="246942"/>
                    <a:pt x="487214" y="252657"/>
                    <a:pt x="494199" y="248847"/>
                  </a:cubicBezTo>
                  <a:close/>
                  <a:moveTo>
                    <a:pt x="528489" y="290122"/>
                  </a:moveTo>
                  <a:cubicBezTo>
                    <a:pt x="592624" y="271707"/>
                    <a:pt x="654854" y="280597"/>
                    <a:pt x="720259" y="272977"/>
                  </a:cubicBezTo>
                  <a:cubicBezTo>
                    <a:pt x="682159" y="245037"/>
                    <a:pt x="508804" y="252022"/>
                    <a:pt x="482769" y="285677"/>
                  </a:cubicBezTo>
                  <a:cubicBezTo>
                    <a:pt x="488484" y="303457"/>
                    <a:pt x="515154" y="290122"/>
                    <a:pt x="528489" y="290122"/>
                  </a:cubicBezTo>
                  <a:close/>
                  <a:moveTo>
                    <a:pt x="487214" y="344097"/>
                  </a:moveTo>
                  <a:cubicBezTo>
                    <a:pt x="524679" y="329492"/>
                    <a:pt x="568494" y="330762"/>
                    <a:pt x="602784" y="322507"/>
                  </a:cubicBezTo>
                  <a:cubicBezTo>
                    <a:pt x="610404" y="283772"/>
                    <a:pt x="438954" y="313617"/>
                    <a:pt x="487214" y="344097"/>
                  </a:cubicBezTo>
                  <a:close/>
                  <a:moveTo>
                    <a:pt x="570399" y="357432"/>
                  </a:moveTo>
                  <a:cubicBezTo>
                    <a:pt x="570399" y="356797"/>
                    <a:pt x="570399" y="356162"/>
                    <a:pt x="569764" y="355527"/>
                  </a:cubicBezTo>
                  <a:cubicBezTo>
                    <a:pt x="552619" y="361242"/>
                    <a:pt x="472609" y="361242"/>
                    <a:pt x="503089" y="389817"/>
                  </a:cubicBezTo>
                  <a:cubicBezTo>
                    <a:pt x="527219" y="389817"/>
                    <a:pt x="663744" y="368862"/>
                    <a:pt x="570399" y="357432"/>
                  </a:cubicBezTo>
                  <a:close/>
                  <a:moveTo>
                    <a:pt x="527219" y="465382"/>
                  </a:moveTo>
                  <a:cubicBezTo>
                    <a:pt x="531029" y="504752"/>
                    <a:pt x="577384" y="471097"/>
                    <a:pt x="599609" y="467287"/>
                  </a:cubicBezTo>
                  <a:cubicBezTo>
                    <a:pt x="643424" y="424742"/>
                    <a:pt x="545634" y="460937"/>
                    <a:pt x="527219" y="465382"/>
                  </a:cubicBezTo>
                  <a:close/>
                  <a:moveTo>
                    <a:pt x="80814" y="149152"/>
                  </a:moveTo>
                  <a:cubicBezTo>
                    <a:pt x="89069" y="207572"/>
                    <a:pt x="91609" y="268532"/>
                    <a:pt x="106849" y="325682"/>
                  </a:cubicBezTo>
                  <a:cubicBezTo>
                    <a:pt x="121454" y="349812"/>
                    <a:pt x="158284" y="325047"/>
                    <a:pt x="180509" y="323777"/>
                  </a:cubicBezTo>
                  <a:cubicBezTo>
                    <a:pt x="231944" y="314887"/>
                    <a:pt x="315129" y="299647"/>
                    <a:pt x="360849" y="323777"/>
                  </a:cubicBezTo>
                  <a:cubicBezTo>
                    <a:pt x="404029" y="299647"/>
                    <a:pt x="364024" y="247577"/>
                    <a:pt x="364024" y="210112"/>
                  </a:cubicBezTo>
                  <a:cubicBezTo>
                    <a:pt x="369104" y="76127"/>
                    <a:pt x="162729" y="123752"/>
                    <a:pt x="80814" y="149152"/>
                  </a:cubicBezTo>
                  <a:close/>
                  <a:moveTo>
                    <a:pt x="354499" y="290122"/>
                  </a:moveTo>
                  <a:cubicBezTo>
                    <a:pt x="277029" y="288852"/>
                    <a:pt x="202099" y="298377"/>
                    <a:pt x="125899" y="307902"/>
                  </a:cubicBezTo>
                  <a:cubicBezTo>
                    <a:pt x="118914" y="262817"/>
                    <a:pt x="111929" y="218367"/>
                    <a:pt x="104944" y="172647"/>
                  </a:cubicBezTo>
                  <a:cubicBezTo>
                    <a:pt x="172254" y="133277"/>
                    <a:pt x="262424" y="130102"/>
                    <a:pt x="332909" y="165662"/>
                  </a:cubicBezTo>
                  <a:cubicBezTo>
                    <a:pt x="350054" y="232337"/>
                    <a:pt x="357039" y="269802"/>
                    <a:pt x="354499" y="290122"/>
                  </a:cubicBezTo>
                  <a:close/>
                  <a:moveTo>
                    <a:pt x="227499" y="369497"/>
                  </a:moveTo>
                  <a:cubicBezTo>
                    <a:pt x="222419" y="351082"/>
                    <a:pt x="220514" y="348542"/>
                    <a:pt x="210989" y="347907"/>
                  </a:cubicBezTo>
                  <a:cubicBezTo>
                    <a:pt x="187494" y="351082"/>
                    <a:pt x="103039" y="349812"/>
                    <a:pt x="130344" y="388547"/>
                  </a:cubicBezTo>
                  <a:cubicBezTo>
                    <a:pt x="161459" y="381562"/>
                    <a:pt x="191304" y="365687"/>
                    <a:pt x="227499" y="369497"/>
                  </a:cubicBezTo>
                  <a:close/>
                  <a:moveTo>
                    <a:pt x="143679" y="431727"/>
                  </a:moveTo>
                  <a:cubicBezTo>
                    <a:pt x="177334" y="419662"/>
                    <a:pt x="207814" y="421567"/>
                    <a:pt x="243374" y="420297"/>
                  </a:cubicBezTo>
                  <a:cubicBezTo>
                    <a:pt x="233849" y="382832"/>
                    <a:pt x="99864" y="399342"/>
                    <a:pt x="143679" y="431727"/>
                  </a:cubicBezTo>
                  <a:close/>
                  <a:moveTo>
                    <a:pt x="288459" y="401882"/>
                  </a:moveTo>
                  <a:cubicBezTo>
                    <a:pt x="315764" y="406327"/>
                    <a:pt x="342434" y="389817"/>
                    <a:pt x="369739" y="399977"/>
                  </a:cubicBezTo>
                  <a:cubicBezTo>
                    <a:pt x="371644" y="400612"/>
                    <a:pt x="375454" y="395532"/>
                    <a:pt x="379899" y="392357"/>
                  </a:cubicBezTo>
                  <a:cubicBezTo>
                    <a:pt x="375454" y="363147"/>
                    <a:pt x="253534" y="375212"/>
                    <a:pt x="288459" y="401882"/>
                  </a:cubicBezTo>
                  <a:close/>
                  <a:moveTo>
                    <a:pt x="207179" y="439982"/>
                  </a:moveTo>
                  <a:cubicBezTo>
                    <a:pt x="207179" y="440617"/>
                    <a:pt x="207179" y="440617"/>
                    <a:pt x="207179" y="441252"/>
                  </a:cubicBezTo>
                  <a:cubicBezTo>
                    <a:pt x="190034" y="445697"/>
                    <a:pt x="151934" y="438077"/>
                    <a:pt x="148759" y="460302"/>
                  </a:cubicBezTo>
                  <a:cubicBezTo>
                    <a:pt x="155109" y="492687"/>
                    <a:pt x="295444" y="438712"/>
                    <a:pt x="207179" y="439982"/>
                  </a:cubicBezTo>
                  <a:close/>
                  <a:moveTo>
                    <a:pt x="297984" y="448237"/>
                  </a:moveTo>
                  <a:cubicBezTo>
                    <a:pt x="320844" y="443792"/>
                    <a:pt x="368469" y="461572"/>
                    <a:pt x="371009" y="427282"/>
                  </a:cubicBezTo>
                  <a:cubicBezTo>
                    <a:pt x="350054" y="426012"/>
                    <a:pt x="270044" y="410772"/>
                    <a:pt x="297984" y="448237"/>
                  </a:cubicBezTo>
                  <a:close/>
                  <a:moveTo>
                    <a:pt x="291634" y="359972"/>
                  </a:moveTo>
                  <a:cubicBezTo>
                    <a:pt x="311954" y="347907"/>
                    <a:pt x="353864" y="361242"/>
                    <a:pt x="362754" y="339652"/>
                  </a:cubicBezTo>
                  <a:cubicBezTo>
                    <a:pt x="350054" y="319332"/>
                    <a:pt x="244009" y="335207"/>
                    <a:pt x="291634" y="359972"/>
                  </a:cubicBezTo>
                  <a:close/>
                  <a:moveTo>
                    <a:pt x="177969" y="519357"/>
                  </a:moveTo>
                  <a:cubicBezTo>
                    <a:pt x="199559" y="512372"/>
                    <a:pt x="228134" y="521897"/>
                    <a:pt x="239564" y="497132"/>
                  </a:cubicBezTo>
                  <a:cubicBezTo>
                    <a:pt x="217974" y="490147"/>
                    <a:pt x="144314" y="494592"/>
                    <a:pt x="177969" y="519357"/>
                  </a:cubicBezTo>
                  <a:close/>
                  <a:moveTo>
                    <a:pt x="332274" y="485067"/>
                  </a:moveTo>
                  <a:cubicBezTo>
                    <a:pt x="311954" y="485702"/>
                    <a:pt x="265599" y="490782"/>
                    <a:pt x="301794" y="508562"/>
                  </a:cubicBezTo>
                  <a:cubicBezTo>
                    <a:pt x="326559" y="509832"/>
                    <a:pt x="396409" y="498402"/>
                    <a:pt x="332274" y="48506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3" name="Google Shape;50;p2">
              <a:extLst>
                <a:ext uri="{FF2B5EF4-FFF2-40B4-BE49-F238E27FC236}">
                  <a16:creationId xmlns:a16="http://schemas.microsoft.com/office/drawing/2014/main" id="{708C5B91-1264-4D6C-A190-BC6FAC6C274A}"/>
                </a:ext>
              </a:extLst>
            </p:cNvPr>
            <p:cNvSpPr/>
            <p:nvPr/>
          </p:nvSpPr>
          <p:spPr>
            <a:xfrm>
              <a:off x="8750637" y="1716146"/>
              <a:ext cx="454206" cy="406096"/>
            </a:xfrm>
            <a:custGeom>
              <a:avLst/>
              <a:gdLst/>
              <a:ahLst/>
              <a:cxnLst/>
              <a:rect l="l" t="t" r="r" b="b"/>
              <a:pathLst>
                <a:path w="528147" h="472205" extrusionOk="0">
                  <a:moveTo>
                    <a:pt x="395469" y="177165"/>
                  </a:moveTo>
                  <a:cubicBezTo>
                    <a:pt x="443094" y="36830"/>
                    <a:pt x="381499" y="-53340"/>
                    <a:pt x="264659" y="86360"/>
                  </a:cubicBezTo>
                  <a:cubicBezTo>
                    <a:pt x="239894" y="41275"/>
                    <a:pt x="195444" y="0"/>
                    <a:pt x="143374" y="0"/>
                  </a:cubicBezTo>
                  <a:cubicBezTo>
                    <a:pt x="65269" y="15240"/>
                    <a:pt x="123054" y="139065"/>
                    <a:pt x="131944" y="187325"/>
                  </a:cubicBezTo>
                  <a:cubicBezTo>
                    <a:pt x="76064" y="179070"/>
                    <a:pt x="-40776" y="242570"/>
                    <a:pt x="14469" y="300990"/>
                  </a:cubicBezTo>
                  <a:cubicBezTo>
                    <a:pt x="41774" y="327660"/>
                    <a:pt x="81144" y="321945"/>
                    <a:pt x="109719" y="344170"/>
                  </a:cubicBezTo>
                  <a:cubicBezTo>
                    <a:pt x="102734" y="370840"/>
                    <a:pt x="109084" y="399415"/>
                    <a:pt x="92574" y="423545"/>
                  </a:cubicBezTo>
                  <a:cubicBezTo>
                    <a:pt x="86859" y="433070"/>
                    <a:pt x="90034" y="441960"/>
                    <a:pt x="95749" y="450215"/>
                  </a:cubicBezTo>
                  <a:cubicBezTo>
                    <a:pt x="112259" y="475615"/>
                    <a:pt x="147819" y="474345"/>
                    <a:pt x="159249" y="450850"/>
                  </a:cubicBezTo>
                  <a:cubicBezTo>
                    <a:pt x="175759" y="424180"/>
                    <a:pt x="207509" y="409575"/>
                    <a:pt x="235449" y="397510"/>
                  </a:cubicBezTo>
                  <a:cubicBezTo>
                    <a:pt x="289424" y="513715"/>
                    <a:pt x="403724" y="490220"/>
                    <a:pt x="379594" y="355600"/>
                  </a:cubicBezTo>
                  <a:cubicBezTo>
                    <a:pt x="470399" y="330200"/>
                    <a:pt x="493259" y="345440"/>
                    <a:pt x="525009" y="245110"/>
                  </a:cubicBezTo>
                  <a:cubicBezTo>
                    <a:pt x="549139" y="182880"/>
                    <a:pt x="427219" y="204470"/>
                    <a:pt x="395469" y="177165"/>
                  </a:cubicBezTo>
                  <a:close/>
                  <a:moveTo>
                    <a:pt x="392294" y="59055"/>
                  </a:moveTo>
                  <a:cubicBezTo>
                    <a:pt x="393564" y="106680"/>
                    <a:pt x="391659" y="133985"/>
                    <a:pt x="363719" y="175260"/>
                  </a:cubicBezTo>
                  <a:cubicBezTo>
                    <a:pt x="314824" y="185420"/>
                    <a:pt x="309744" y="137795"/>
                    <a:pt x="290059" y="103505"/>
                  </a:cubicBezTo>
                  <a:cubicBezTo>
                    <a:pt x="316094" y="73025"/>
                    <a:pt x="348479" y="12065"/>
                    <a:pt x="392294" y="59055"/>
                  </a:cubicBezTo>
                  <a:close/>
                  <a:moveTo>
                    <a:pt x="347209" y="325755"/>
                  </a:moveTo>
                  <a:cubicBezTo>
                    <a:pt x="331969" y="330835"/>
                    <a:pt x="317999" y="330200"/>
                    <a:pt x="298314" y="327025"/>
                  </a:cubicBezTo>
                  <a:cubicBezTo>
                    <a:pt x="311649" y="308610"/>
                    <a:pt x="318634" y="292100"/>
                    <a:pt x="333239" y="278130"/>
                  </a:cubicBezTo>
                  <a:cubicBezTo>
                    <a:pt x="345304" y="292735"/>
                    <a:pt x="349749" y="307975"/>
                    <a:pt x="347209" y="325755"/>
                  </a:cubicBezTo>
                  <a:close/>
                  <a:moveTo>
                    <a:pt x="271009" y="130175"/>
                  </a:moveTo>
                  <a:cubicBezTo>
                    <a:pt x="287519" y="140970"/>
                    <a:pt x="288789" y="144145"/>
                    <a:pt x="293234" y="172720"/>
                  </a:cubicBezTo>
                  <a:cubicBezTo>
                    <a:pt x="277359" y="178435"/>
                    <a:pt x="262119" y="180975"/>
                    <a:pt x="244339" y="174625"/>
                  </a:cubicBezTo>
                  <a:cubicBezTo>
                    <a:pt x="247514" y="155575"/>
                    <a:pt x="259579" y="142875"/>
                    <a:pt x="271009" y="130175"/>
                  </a:cubicBezTo>
                  <a:close/>
                  <a:moveTo>
                    <a:pt x="131309" y="77470"/>
                  </a:moveTo>
                  <a:cubicBezTo>
                    <a:pt x="173854" y="74930"/>
                    <a:pt x="176394" y="73025"/>
                    <a:pt x="187189" y="26670"/>
                  </a:cubicBezTo>
                  <a:cubicBezTo>
                    <a:pt x="208779" y="61595"/>
                    <a:pt x="240529" y="69215"/>
                    <a:pt x="250689" y="109220"/>
                  </a:cubicBezTo>
                  <a:cubicBezTo>
                    <a:pt x="229099" y="140970"/>
                    <a:pt x="209414" y="200025"/>
                    <a:pt x="161154" y="180975"/>
                  </a:cubicBezTo>
                  <a:cubicBezTo>
                    <a:pt x="144644" y="148590"/>
                    <a:pt x="124324" y="116840"/>
                    <a:pt x="131309" y="77470"/>
                  </a:cubicBezTo>
                  <a:close/>
                  <a:moveTo>
                    <a:pt x="191634" y="321310"/>
                  </a:moveTo>
                  <a:cubicBezTo>
                    <a:pt x="176394" y="325755"/>
                    <a:pt x="165599" y="326390"/>
                    <a:pt x="154169" y="320040"/>
                  </a:cubicBezTo>
                  <a:cubicBezTo>
                    <a:pt x="156074" y="305435"/>
                    <a:pt x="160519" y="293370"/>
                    <a:pt x="172584" y="283210"/>
                  </a:cubicBezTo>
                  <a:cubicBezTo>
                    <a:pt x="185284" y="292735"/>
                    <a:pt x="185919" y="306070"/>
                    <a:pt x="191634" y="321310"/>
                  </a:cubicBezTo>
                  <a:close/>
                  <a:moveTo>
                    <a:pt x="23359" y="274955"/>
                  </a:moveTo>
                  <a:cubicBezTo>
                    <a:pt x="39869" y="215265"/>
                    <a:pt x="92574" y="210185"/>
                    <a:pt x="145279" y="213995"/>
                  </a:cubicBezTo>
                  <a:cubicBezTo>
                    <a:pt x="175759" y="248285"/>
                    <a:pt x="140834" y="281305"/>
                    <a:pt x="124959" y="314960"/>
                  </a:cubicBezTo>
                  <a:cubicBezTo>
                    <a:pt x="83049" y="313690"/>
                    <a:pt x="43679" y="297815"/>
                    <a:pt x="23359" y="274955"/>
                  </a:cubicBezTo>
                  <a:close/>
                  <a:moveTo>
                    <a:pt x="163059" y="412115"/>
                  </a:moveTo>
                  <a:cubicBezTo>
                    <a:pt x="152264" y="408940"/>
                    <a:pt x="142739" y="405765"/>
                    <a:pt x="131944" y="402590"/>
                  </a:cubicBezTo>
                  <a:cubicBezTo>
                    <a:pt x="125594" y="382905"/>
                    <a:pt x="126229" y="365125"/>
                    <a:pt x="143374" y="347345"/>
                  </a:cubicBezTo>
                  <a:cubicBezTo>
                    <a:pt x="170044" y="349250"/>
                    <a:pt x="208144" y="337185"/>
                    <a:pt x="214494" y="377190"/>
                  </a:cubicBezTo>
                  <a:cubicBezTo>
                    <a:pt x="196714" y="389255"/>
                    <a:pt x="180204" y="400685"/>
                    <a:pt x="163059" y="412115"/>
                  </a:cubicBezTo>
                  <a:close/>
                  <a:moveTo>
                    <a:pt x="225289" y="327025"/>
                  </a:moveTo>
                  <a:cubicBezTo>
                    <a:pt x="170679" y="248285"/>
                    <a:pt x="196079" y="189230"/>
                    <a:pt x="295139" y="198120"/>
                  </a:cubicBezTo>
                  <a:cubicBezTo>
                    <a:pt x="326254" y="193040"/>
                    <a:pt x="331969" y="241935"/>
                    <a:pt x="314824" y="260350"/>
                  </a:cubicBezTo>
                  <a:cubicBezTo>
                    <a:pt x="285614" y="290830"/>
                    <a:pt x="279264" y="341630"/>
                    <a:pt x="225289" y="327025"/>
                  </a:cubicBezTo>
                  <a:close/>
                  <a:moveTo>
                    <a:pt x="253864" y="379095"/>
                  </a:moveTo>
                  <a:cubicBezTo>
                    <a:pt x="271644" y="343535"/>
                    <a:pt x="316729" y="349885"/>
                    <a:pt x="350384" y="355600"/>
                  </a:cubicBezTo>
                  <a:cubicBezTo>
                    <a:pt x="385309" y="470535"/>
                    <a:pt x="287519" y="482600"/>
                    <a:pt x="253864" y="379095"/>
                  </a:cubicBezTo>
                  <a:close/>
                  <a:moveTo>
                    <a:pt x="377689" y="327025"/>
                  </a:moveTo>
                  <a:cubicBezTo>
                    <a:pt x="365624" y="281305"/>
                    <a:pt x="337684" y="234950"/>
                    <a:pt x="383404" y="201295"/>
                  </a:cubicBezTo>
                  <a:cubicBezTo>
                    <a:pt x="408804" y="207645"/>
                    <a:pt x="434204" y="213360"/>
                    <a:pt x="460239" y="219710"/>
                  </a:cubicBezTo>
                  <a:cubicBezTo>
                    <a:pt x="462779" y="241300"/>
                    <a:pt x="469764" y="257175"/>
                    <a:pt x="488179" y="269875"/>
                  </a:cubicBezTo>
                  <a:cubicBezTo>
                    <a:pt x="492624" y="324485"/>
                    <a:pt x="417059" y="320675"/>
                    <a:pt x="377689" y="327025"/>
                  </a:cubicBezTo>
                  <a:close/>
                  <a:moveTo>
                    <a:pt x="257039" y="222250"/>
                  </a:moveTo>
                  <a:cubicBezTo>
                    <a:pt x="196714" y="216535"/>
                    <a:pt x="185284" y="288290"/>
                    <a:pt x="248149" y="290830"/>
                  </a:cubicBezTo>
                  <a:cubicBezTo>
                    <a:pt x="289424" y="291465"/>
                    <a:pt x="307204" y="229235"/>
                    <a:pt x="257039" y="222250"/>
                  </a:cubicBezTo>
                  <a:close/>
                  <a:moveTo>
                    <a:pt x="243069" y="266700"/>
                  </a:moveTo>
                  <a:cubicBezTo>
                    <a:pt x="215764" y="264795"/>
                    <a:pt x="229099" y="242570"/>
                    <a:pt x="248149" y="240030"/>
                  </a:cubicBezTo>
                  <a:cubicBezTo>
                    <a:pt x="272279" y="237490"/>
                    <a:pt x="262119" y="269240"/>
                    <a:pt x="243069" y="26670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4" name="Google Shape;51;p2">
              <a:extLst>
                <a:ext uri="{FF2B5EF4-FFF2-40B4-BE49-F238E27FC236}">
                  <a16:creationId xmlns:a16="http://schemas.microsoft.com/office/drawing/2014/main" id="{EB842972-F3A9-4119-BEBC-00CE4D3660D6}"/>
                </a:ext>
              </a:extLst>
            </p:cNvPr>
            <p:cNvSpPr/>
            <p:nvPr/>
          </p:nvSpPr>
          <p:spPr>
            <a:xfrm rot="-2424156">
              <a:off x="2052510" y="-106317"/>
              <a:ext cx="373867" cy="493313"/>
            </a:xfrm>
            <a:custGeom>
              <a:avLst/>
              <a:gdLst/>
              <a:ahLst/>
              <a:cxnLst/>
              <a:rect l="l" t="t" r="r" b="b"/>
              <a:pathLst>
                <a:path w="434661" h="573530" extrusionOk="0">
                  <a:moveTo>
                    <a:pt x="430380" y="417373"/>
                  </a:moveTo>
                  <a:cubicBezTo>
                    <a:pt x="427840" y="354508"/>
                    <a:pt x="363705" y="334823"/>
                    <a:pt x="311635" y="329743"/>
                  </a:cubicBezTo>
                  <a:cubicBezTo>
                    <a:pt x="264010" y="315138"/>
                    <a:pt x="297665" y="236398"/>
                    <a:pt x="288775" y="197028"/>
                  </a:cubicBezTo>
                  <a:cubicBezTo>
                    <a:pt x="290680" y="118923"/>
                    <a:pt x="325605" y="15418"/>
                    <a:pt x="217655" y="178"/>
                  </a:cubicBezTo>
                  <a:cubicBezTo>
                    <a:pt x="211305" y="-1092"/>
                    <a:pt x="199875" y="4623"/>
                    <a:pt x="202415" y="11608"/>
                  </a:cubicBezTo>
                  <a:cubicBezTo>
                    <a:pt x="207495" y="87808"/>
                    <a:pt x="223370" y="169088"/>
                    <a:pt x="197335" y="242748"/>
                  </a:cubicBezTo>
                  <a:cubicBezTo>
                    <a:pt x="158600" y="220523"/>
                    <a:pt x="52555" y="59868"/>
                    <a:pt x="24615" y="87173"/>
                  </a:cubicBezTo>
                  <a:cubicBezTo>
                    <a:pt x="-68095" y="172263"/>
                    <a:pt x="127485" y="297993"/>
                    <a:pt x="175745" y="366573"/>
                  </a:cubicBezTo>
                  <a:cubicBezTo>
                    <a:pt x="205590" y="403403"/>
                    <a:pt x="41760" y="420548"/>
                    <a:pt x="141455" y="548818"/>
                  </a:cubicBezTo>
                  <a:cubicBezTo>
                    <a:pt x="221465" y="630733"/>
                    <a:pt x="298935" y="488493"/>
                    <a:pt x="240515" y="419913"/>
                  </a:cubicBezTo>
                  <a:cubicBezTo>
                    <a:pt x="234165" y="409753"/>
                    <a:pt x="241150" y="384353"/>
                    <a:pt x="256390" y="395148"/>
                  </a:cubicBezTo>
                  <a:cubicBezTo>
                    <a:pt x="288775" y="436423"/>
                    <a:pt x="313540" y="498653"/>
                    <a:pt x="379580" y="489128"/>
                  </a:cubicBezTo>
                  <a:cubicBezTo>
                    <a:pt x="412600" y="482778"/>
                    <a:pt x="446890" y="451028"/>
                    <a:pt x="430380" y="417373"/>
                  </a:cubicBezTo>
                  <a:close/>
                  <a:moveTo>
                    <a:pt x="227180" y="242748"/>
                  </a:moveTo>
                  <a:cubicBezTo>
                    <a:pt x="237975" y="171628"/>
                    <a:pt x="223370" y="100508"/>
                    <a:pt x="232260" y="30023"/>
                  </a:cubicBezTo>
                  <a:cubicBezTo>
                    <a:pt x="277980" y="26213"/>
                    <a:pt x="280520" y="81458"/>
                    <a:pt x="275440" y="113843"/>
                  </a:cubicBezTo>
                  <a:cubicBezTo>
                    <a:pt x="264645" y="171628"/>
                    <a:pt x="276075" y="233858"/>
                    <a:pt x="262105" y="290373"/>
                  </a:cubicBezTo>
                  <a:cubicBezTo>
                    <a:pt x="234800" y="280848"/>
                    <a:pt x="224640" y="268148"/>
                    <a:pt x="227180" y="242748"/>
                  </a:cubicBezTo>
                  <a:close/>
                  <a:moveTo>
                    <a:pt x="152885" y="518338"/>
                  </a:moveTo>
                  <a:cubicBezTo>
                    <a:pt x="152885" y="518338"/>
                    <a:pt x="152885" y="517703"/>
                    <a:pt x="152250" y="517703"/>
                  </a:cubicBezTo>
                  <a:cubicBezTo>
                    <a:pt x="95735" y="500558"/>
                    <a:pt x="151615" y="386258"/>
                    <a:pt x="202415" y="423088"/>
                  </a:cubicBezTo>
                  <a:cubicBezTo>
                    <a:pt x="199240" y="431978"/>
                    <a:pt x="190985" y="433883"/>
                    <a:pt x="182730" y="436423"/>
                  </a:cubicBezTo>
                  <a:cubicBezTo>
                    <a:pt x="152885" y="442773"/>
                    <a:pt x="133835" y="484683"/>
                    <a:pt x="152885" y="518338"/>
                  </a:cubicBezTo>
                  <a:cubicBezTo>
                    <a:pt x="152885" y="518338"/>
                    <a:pt x="152885" y="518338"/>
                    <a:pt x="152885" y="518338"/>
                  </a:cubicBezTo>
                  <a:close/>
                  <a:moveTo>
                    <a:pt x="211305" y="402133"/>
                  </a:moveTo>
                  <a:cubicBezTo>
                    <a:pt x="200510" y="403403"/>
                    <a:pt x="196065" y="378003"/>
                    <a:pt x="209400" y="376733"/>
                  </a:cubicBezTo>
                  <a:cubicBezTo>
                    <a:pt x="225910" y="374828"/>
                    <a:pt x="228450" y="402133"/>
                    <a:pt x="211305" y="402133"/>
                  </a:cubicBezTo>
                  <a:close/>
                  <a:moveTo>
                    <a:pt x="235435" y="458648"/>
                  </a:moveTo>
                  <a:cubicBezTo>
                    <a:pt x="227180" y="451663"/>
                    <a:pt x="220830" y="444043"/>
                    <a:pt x="220195" y="433248"/>
                  </a:cubicBezTo>
                  <a:cubicBezTo>
                    <a:pt x="237340" y="439598"/>
                    <a:pt x="237340" y="439598"/>
                    <a:pt x="235435" y="458648"/>
                  </a:cubicBezTo>
                  <a:close/>
                  <a:moveTo>
                    <a:pt x="177015" y="545008"/>
                  </a:moveTo>
                  <a:cubicBezTo>
                    <a:pt x="180825" y="545008"/>
                    <a:pt x="184000" y="545643"/>
                    <a:pt x="188445" y="545643"/>
                  </a:cubicBezTo>
                  <a:cubicBezTo>
                    <a:pt x="187175" y="555168"/>
                    <a:pt x="175110" y="553263"/>
                    <a:pt x="177015" y="545008"/>
                  </a:cubicBezTo>
                  <a:close/>
                  <a:moveTo>
                    <a:pt x="164950" y="510718"/>
                  </a:moveTo>
                  <a:cubicBezTo>
                    <a:pt x="148440" y="469443"/>
                    <a:pt x="209400" y="428803"/>
                    <a:pt x="222735" y="484048"/>
                  </a:cubicBezTo>
                  <a:cubicBezTo>
                    <a:pt x="217020" y="511988"/>
                    <a:pt x="186540" y="543738"/>
                    <a:pt x="164950" y="510718"/>
                  </a:cubicBezTo>
                  <a:close/>
                  <a:moveTo>
                    <a:pt x="241150" y="477698"/>
                  </a:moveTo>
                  <a:cubicBezTo>
                    <a:pt x="247500" y="493573"/>
                    <a:pt x="240515" y="504368"/>
                    <a:pt x="241785" y="515163"/>
                  </a:cubicBezTo>
                  <a:cubicBezTo>
                    <a:pt x="240515" y="504368"/>
                    <a:pt x="236070" y="493573"/>
                    <a:pt x="241150" y="477698"/>
                  </a:cubicBezTo>
                  <a:close/>
                  <a:moveTo>
                    <a:pt x="242420" y="515163"/>
                  </a:moveTo>
                  <a:cubicBezTo>
                    <a:pt x="237975" y="520878"/>
                    <a:pt x="233530" y="526593"/>
                    <a:pt x="228450" y="532943"/>
                  </a:cubicBezTo>
                  <a:cubicBezTo>
                    <a:pt x="229085" y="513893"/>
                    <a:pt x="229085" y="513893"/>
                    <a:pt x="242420" y="515163"/>
                  </a:cubicBezTo>
                  <a:close/>
                  <a:moveTo>
                    <a:pt x="27155" y="113208"/>
                  </a:moveTo>
                  <a:cubicBezTo>
                    <a:pt x="65890" y="91618"/>
                    <a:pt x="171300" y="284658"/>
                    <a:pt x="220195" y="293548"/>
                  </a:cubicBezTo>
                  <a:lnTo>
                    <a:pt x="219560" y="300533"/>
                  </a:lnTo>
                  <a:cubicBezTo>
                    <a:pt x="140185" y="304978"/>
                    <a:pt x="221465" y="384353"/>
                    <a:pt x="237340" y="308788"/>
                  </a:cubicBezTo>
                  <a:cubicBezTo>
                    <a:pt x="257025" y="318313"/>
                    <a:pt x="270995" y="334188"/>
                    <a:pt x="287505" y="345618"/>
                  </a:cubicBezTo>
                  <a:cubicBezTo>
                    <a:pt x="250675" y="449123"/>
                    <a:pt x="-15390" y="171628"/>
                    <a:pt x="27155" y="113208"/>
                  </a:cubicBezTo>
                  <a:close/>
                  <a:moveTo>
                    <a:pt x="361165" y="474523"/>
                  </a:moveTo>
                  <a:cubicBezTo>
                    <a:pt x="306555" y="467538"/>
                    <a:pt x="248770" y="360858"/>
                    <a:pt x="328780" y="350063"/>
                  </a:cubicBezTo>
                  <a:cubicBezTo>
                    <a:pt x="400535" y="349428"/>
                    <a:pt x="460860" y="469443"/>
                    <a:pt x="361165" y="474523"/>
                  </a:cubicBezTo>
                  <a:close/>
                  <a:moveTo>
                    <a:pt x="305285" y="380543"/>
                  </a:moveTo>
                  <a:cubicBezTo>
                    <a:pt x="314810" y="401498"/>
                    <a:pt x="324970" y="421818"/>
                    <a:pt x="340845" y="439598"/>
                  </a:cubicBezTo>
                  <a:cubicBezTo>
                    <a:pt x="368785" y="464363"/>
                    <a:pt x="409425" y="441503"/>
                    <a:pt x="387835" y="405308"/>
                  </a:cubicBezTo>
                  <a:cubicBezTo>
                    <a:pt x="365610" y="382448"/>
                    <a:pt x="336400" y="346888"/>
                    <a:pt x="305285" y="380543"/>
                  </a:cubicBezTo>
                  <a:close/>
                  <a:moveTo>
                    <a:pt x="368785" y="429438"/>
                  </a:moveTo>
                  <a:cubicBezTo>
                    <a:pt x="350370" y="433248"/>
                    <a:pt x="342115" y="409118"/>
                    <a:pt x="336400" y="390068"/>
                  </a:cubicBezTo>
                  <a:cubicBezTo>
                    <a:pt x="355450" y="395148"/>
                    <a:pt x="378310" y="411658"/>
                    <a:pt x="368785" y="42943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5" name="Google Shape;52;p2">
              <a:extLst>
                <a:ext uri="{FF2B5EF4-FFF2-40B4-BE49-F238E27FC236}">
                  <a16:creationId xmlns:a16="http://schemas.microsoft.com/office/drawing/2014/main" id="{E0E7B5CB-3D65-4882-B5EF-91D6FB545DD2}"/>
                </a:ext>
              </a:extLst>
            </p:cNvPr>
            <p:cNvSpPr/>
            <p:nvPr/>
          </p:nvSpPr>
          <p:spPr>
            <a:xfrm>
              <a:off x="5960437" y="3855732"/>
              <a:ext cx="712864" cy="419317"/>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6" name="Google Shape;53;p2">
              <a:extLst>
                <a:ext uri="{FF2B5EF4-FFF2-40B4-BE49-F238E27FC236}">
                  <a16:creationId xmlns:a16="http://schemas.microsoft.com/office/drawing/2014/main" id="{6E8FA8A2-6748-4033-9D1E-7C0954E44E32}"/>
                </a:ext>
              </a:extLst>
            </p:cNvPr>
            <p:cNvGrpSpPr/>
            <p:nvPr/>
          </p:nvGrpSpPr>
          <p:grpSpPr>
            <a:xfrm rot="891035">
              <a:off x="1165229" y="1691730"/>
              <a:ext cx="657771" cy="386113"/>
              <a:chOff x="1429156" y="1387535"/>
              <a:chExt cx="657769" cy="386112"/>
            </a:xfrm>
          </p:grpSpPr>
          <p:sp>
            <p:nvSpPr>
              <p:cNvPr id="90" name="Google Shape;54;p2">
                <a:extLst>
                  <a:ext uri="{FF2B5EF4-FFF2-40B4-BE49-F238E27FC236}">
                    <a16:creationId xmlns:a16="http://schemas.microsoft.com/office/drawing/2014/main" id="{00037E76-654A-469D-A0B6-022FCDB570C5}"/>
                  </a:ext>
                </a:extLst>
              </p:cNvPr>
              <p:cNvSpPr/>
              <p:nvPr/>
            </p:nvSpPr>
            <p:spPr>
              <a:xfrm>
                <a:off x="1429156" y="1387535"/>
                <a:ext cx="657769" cy="386112"/>
              </a:xfrm>
              <a:custGeom>
                <a:avLst/>
                <a:gdLst/>
                <a:ahLst/>
                <a:cxnLst/>
                <a:rect l="l" t="t" r="r" b="b"/>
                <a:pathLst>
                  <a:path w="764848" h="448968" extrusionOk="0">
                    <a:moveTo>
                      <a:pt x="741700" y="448969"/>
                    </a:moveTo>
                    <a:cubicBezTo>
                      <a:pt x="719475" y="440079"/>
                      <a:pt x="715030" y="440714"/>
                      <a:pt x="686455" y="443889"/>
                    </a:cubicBezTo>
                    <a:cubicBezTo>
                      <a:pt x="552470" y="455319"/>
                      <a:pt x="419120" y="428649"/>
                      <a:pt x="285770" y="436269"/>
                    </a:cubicBezTo>
                    <a:cubicBezTo>
                      <a:pt x="193060" y="430554"/>
                      <a:pt x="98445" y="428649"/>
                      <a:pt x="6370" y="441349"/>
                    </a:cubicBezTo>
                    <a:cubicBezTo>
                      <a:pt x="-45700" y="400709"/>
                      <a:pt x="237510" y="281329"/>
                      <a:pt x="273070" y="259739"/>
                    </a:cubicBezTo>
                    <a:cubicBezTo>
                      <a:pt x="431820" y="183539"/>
                      <a:pt x="582950" y="91464"/>
                      <a:pt x="735985" y="3834"/>
                    </a:cubicBezTo>
                    <a:cubicBezTo>
                      <a:pt x="748685" y="-3786"/>
                      <a:pt x="759480" y="24"/>
                      <a:pt x="761385" y="14629"/>
                    </a:cubicBezTo>
                    <a:cubicBezTo>
                      <a:pt x="772180" y="114324"/>
                      <a:pt x="753765" y="215924"/>
                      <a:pt x="759480" y="316889"/>
                    </a:cubicBezTo>
                    <a:cubicBezTo>
                      <a:pt x="752495" y="359434"/>
                      <a:pt x="769640" y="414044"/>
                      <a:pt x="741700" y="448969"/>
                    </a:cubicBezTo>
                    <a:close/>
                    <a:moveTo>
                      <a:pt x="615970" y="418489"/>
                    </a:moveTo>
                    <a:cubicBezTo>
                      <a:pt x="647720" y="425474"/>
                      <a:pt x="636290" y="413409"/>
                      <a:pt x="645815" y="393724"/>
                    </a:cubicBezTo>
                    <a:cubicBezTo>
                      <a:pt x="661690" y="396264"/>
                      <a:pt x="657880" y="414044"/>
                      <a:pt x="669945" y="421029"/>
                    </a:cubicBezTo>
                    <a:cubicBezTo>
                      <a:pt x="675660" y="420394"/>
                      <a:pt x="682645" y="420394"/>
                      <a:pt x="690900" y="419759"/>
                    </a:cubicBezTo>
                    <a:cubicBezTo>
                      <a:pt x="692170" y="410234"/>
                      <a:pt x="692805" y="402614"/>
                      <a:pt x="694075" y="394994"/>
                    </a:cubicBezTo>
                    <a:cubicBezTo>
                      <a:pt x="703600" y="394994"/>
                      <a:pt x="705505" y="401979"/>
                      <a:pt x="708680" y="407059"/>
                    </a:cubicBezTo>
                    <a:cubicBezTo>
                      <a:pt x="718205" y="421664"/>
                      <a:pt x="735350" y="405154"/>
                      <a:pt x="734080" y="391819"/>
                    </a:cubicBezTo>
                    <a:cubicBezTo>
                      <a:pt x="734715" y="274344"/>
                      <a:pt x="747415" y="153059"/>
                      <a:pt x="738525" y="37489"/>
                    </a:cubicBezTo>
                    <a:cubicBezTo>
                      <a:pt x="616605" y="87019"/>
                      <a:pt x="508020" y="171474"/>
                      <a:pt x="388005" y="229259"/>
                    </a:cubicBezTo>
                    <a:cubicBezTo>
                      <a:pt x="278785" y="288314"/>
                      <a:pt x="157500" y="328954"/>
                      <a:pt x="59710" y="406424"/>
                    </a:cubicBezTo>
                    <a:cubicBezTo>
                      <a:pt x="81300" y="415949"/>
                      <a:pt x="101620" y="415949"/>
                      <a:pt x="122575" y="412139"/>
                    </a:cubicBezTo>
                    <a:cubicBezTo>
                      <a:pt x="125115" y="401344"/>
                      <a:pt x="127020" y="392454"/>
                      <a:pt x="128925" y="383564"/>
                    </a:cubicBezTo>
                    <a:cubicBezTo>
                      <a:pt x="154325" y="379119"/>
                      <a:pt x="141625" y="432459"/>
                      <a:pt x="165120" y="404519"/>
                    </a:cubicBezTo>
                    <a:cubicBezTo>
                      <a:pt x="167025" y="400074"/>
                      <a:pt x="165755" y="393724"/>
                      <a:pt x="174010" y="391819"/>
                    </a:cubicBezTo>
                    <a:cubicBezTo>
                      <a:pt x="194965" y="416584"/>
                      <a:pt x="208935" y="421664"/>
                      <a:pt x="221000" y="386104"/>
                    </a:cubicBezTo>
                    <a:cubicBezTo>
                      <a:pt x="238145" y="394994"/>
                      <a:pt x="238780" y="428649"/>
                      <a:pt x="264180" y="408964"/>
                    </a:cubicBezTo>
                    <a:cubicBezTo>
                      <a:pt x="266085" y="401344"/>
                      <a:pt x="267990" y="393724"/>
                      <a:pt x="269895" y="385469"/>
                    </a:cubicBezTo>
                    <a:cubicBezTo>
                      <a:pt x="286405" y="388644"/>
                      <a:pt x="279420" y="407059"/>
                      <a:pt x="292755" y="414044"/>
                    </a:cubicBezTo>
                    <a:cubicBezTo>
                      <a:pt x="299105" y="413409"/>
                      <a:pt x="308630" y="412774"/>
                      <a:pt x="314345" y="412139"/>
                    </a:cubicBezTo>
                    <a:cubicBezTo>
                      <a:pt x="323870" y="404519"/>
                      <a:pt x="314980" y="392454"/>
                      <a:pt x="327045" y="388644"/>
                    </a:cubicBezTo>
                    <a:cubicBezTo>
                      <a:pt x="339745" y="400709"/>
                      <a:pt x="348635" y="422934"/>
                      <a:pt x="374670" y="409599"/>
                    </a:cubicBezTo>
                    <a:cubicBezTo>
                      <a:pt x="374035" y="400709"/>
                      <a:pt x="373400" y="391819"/>
                      <a:pt x="372765" y="379119"/>
                    </a:cubicBezTo>
                    <a:cubicBezTo>
                      <a:pt x="405785" y="384199"/>
                      <a:pt x="385465" y="430554"/>
                      <a:pt x="425470" y="414679"/>
                    </a:cubicBezTo>
                    <a:cubicBezTo>
                      <a:pt x="429915" y="409599"/>
                      <a:pt x="424200" y="399439"/>
                      <a:pt x="434360" y="394994"/>
                    </a:cubicBezTo>
                    <a:cubicBezTo>
                      <a:pt x="445790" y="408329"/>
                      <a:pt x="454045" y="430554"/>
                      <a:pt x="478810" y="416584"/>
                    </a:cubicBezTo>
                    <a:cubicBezTo>
                      <a:pt x="485160" y="407694"/>
                      <a:pt x="473730" y="396264"/>
                      <a:pt x="483890" y="386739"/>
                    </a:cubicBezTo>
                    <a:cubicBezTo>
                      <a:pt x="503575" y="401344"/>
                      <a:pt x="502940" y="441984"/>
                      <a:pt x="535325" y="421029"/>
                    </a:cubicBezTo>
                    <a:cubicBezTo>
                      <a:pt x="535960" y="410234"/>
                      <a:pt x="536595" y="398804"/>
                      <a:pt x="537865" y="386739"/>
                    </a:cubicBezTo>
                    <a:cubicBezTo>
                      <a:pt x="560090" y="389914"/>
                      <a:pt x="549295" y="410869"/>
                      <a:pt x="561360" y="421029"/>
                    </a:cubicBezTo>
                    <a:cubicBezTo>
                      <a:pt x="600730" y="433094"/>
                      <a:pt x="587395" y="409599"/>
                      <a:pt x="600095" y="388009"/>
                    </a:cubicBezTo>
                    <a:cubicBezTo>
                      <a:pt x="605810" y="398169"/>
                      <a:pt x="610255" y="407059"/>
                      <a:pt x="615970" y="41848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91" name="Google Shape;55;p2">
                <a:extLst>
                  <a:ext uri="{FF2B5EF4-FFF2-40B4-BE49-F238E27FC236}">
                    <a16:creationId xmlns:a16="http://schemas.microsoft.com/office/drawing/2014/main" id="{3D9B4B76-5127-4D96-8478-952301488486}"/>
                  </a:ext>
                </a:extLst>
              </p:cNvPr>
              <p:cNvSpPr/>
              <p:nvPr/>
            </p:nvSpPr>
            <p:spPr>
              <a:xfrm>
                <a:off x="1703617" y="1534561"/>
                <a:ext cx="308110" cy="146566"/>
              </a:xfrm>
              <a:custGeom>
                <a:avLst/>
                <a:gdLst/>
                <a:ahLst/>
                <a:cxnLst/>
                <a:rect l="l" t="t" r="r" b="b"/>
                <a:pathLst>
                  <a:path w="358267" h="170426" extrusionOk="0">
                    <a:moveTo>
                      <a:pt x="331351" y="0"/>
                    </a:moveTo>
                    <a:cubicBezTo>
                      <a:pt x="385326" y="29845"/>
                      <a:pt x="340241" y="100330"/>
                      <a:pt x="347226" y="149860"/>
                    </a:cubicBezTo>
                    <a:cubicBezTo>
                      <a:pt x="345956" y="186690"/>
                      <a:pt x="250706" y="162560"/>
                      <a:pt x="222766" y="163830"/>
                    </a:cubicBezTo>
                    <a:cubicBezTo>
                      <a:pt x="152281" y="173990"/>
                      <a:pt x="81796" y="159385"/>
                      <a:pt x="10676" y="165735"/>
                    </a:cubicBezTo>
                    <a:cubicBezTo>
                      <a:pt x="-67429" y="148590"/>
                      <a:pt x="307856" y="15240"/>
                      <a:pt x="331351" y="0"/>
                    </a:cubicBezTo>
                    <a:close/>
                    <a:moveTo>
                      <a:pt x="331986" y="27305"/>
                    </a:moveTo>
                    <a:cubicBezTo>
                      <a:pt x="281821" y="40005"/>
                      <a:pt x="86241" y="122555"/>
                      <a:pt x="64651" y="139700"/>
                    </a:cubicBezTo>
                    <a:cubicBezTo>
                      <a:pt x="146566" y="156845"/>
                      <a:pt x="236736" y="147955"/>
                      <a:pt x="321191" y="142875"/>
                    </a:cubicBezTo>
                    <a:cubicBezTo>
                      <a:pt x="327541" y="104140"/>
                      <a:pt x="333891" y="66675"/>
                      <a:pt x="331986" y="2730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37" name="Google Shape;56;p2">
              <a:extLst>
                <a:ext uri="{FF2B5EF4-FFF2-40B4-BE49-F238E27FC236}">
                  <a16:creationId xmlns:a16="http://schemas.microsoft.com/office/drawing/2014/main" id="{BCC50E44-D05B-4D2B-BFC7-9BFD74379BFC}"/>
                </a:ext>
              </a:extLst>
            </p:cNvPr>
            <p:cNvSpPr/>
            <p:nvPr/>
          </p:nvSpPr>
          <p:spPr>
            <a:xfrm rot="-1696692">
              <a:off x="7441723" y="1525254"/>
              <a:ext cx="760522" cy="200454"/>
            </a:xfrm>
            <a:custGeom>
              <a:avLst/>
              <a:gdLst/>
              <a:ahLst/>
              <a:cxnLst/>
              <a:rect l="l" t="t" r="r" b="b"/>
              <a:pathLst>
                <a:path w="884171" h="233045" extrusionOk="0">
                  <a:moveTo>
                    <a:pt x="857928" y="0"/>
                  </a:moveTo>
                  <a:cubicBezTo>
                    <a:pt x="574717" y="35560"/>
                    <a:pt x="287698" y="28575"/>
                    <a:pt x="3218" y="62230"/>
                  </a:cubicBezTo>
                  <a:cubicBezTo>
                    <a:pt x="6393" y="102870"/>
                    <a:pt x="-13927" y="213360"/>
                    <a:pt x="19727" y="233045"/>
                  </a:cubicBezTo>
                  <a:cubicBezTo>
                    <a:pt x="151173" y="226695"/>
                    <a:pt x="281348" y="213995"/>
                    <a:pt x="413427" y="214630"/>
                  </a:cubicBezTo>
                  <a:cubicBezTo>
                    <a:pt x="563923" y="219075"/>
                    <a:pt x="715053" y="208280"/>
                    <a:pt x="865548" y="195580"/>
                  </a:cubicBezTo>
                  <a:cubicBezTo>
                    <a:pt x="899203" y="207010"/>
                    <a:pt x="881423" y="5080"/>
                    <a:pt x="857928" y="0"/>
                  </a:cubicBezTo>
                  <a:close/>
                  <a:moveTo>
                    <a:pt x="860467" y="169545"/>
                  </a:moveTo>
                  <a:cubicBezTo>
                    <a:pt x="825542" y="180340"/>
                    <a:pt x="790617" y="177165"/>
                    <a:pt x="756328" y="185420"/>
                  </a:cubicBezTo>
                  <a:cubicBezTo>
                    <a:pt x="748707" y="175260"/>
                    <a:pt x="742357" y="167005"/>
                    <a:pt x="735373" y="157480"/>
                  </a:cubicBezTo>
                  <a:cubicBezTo>
                    <a:pt x="723942" y="175260"/>
                    <a:pt x="730928" y="186690"/>
                    <a:pt x="703623" y="183515"/>
                  </a:cubicBezTo>
                  <a:cubicBezTo>
                    <a:pt x="699813" y="175895"/>
                    <a:pt x="695367" y="168275"/>
                    <a:pt x="690923" y="160020"/>
                  </a:cubicBezTo>
                  <a:cubicBezTo>
                    <a:pt x="677588" y="164465"/>
                    <a:pt x="685842" y="179070"/>
                    <a:pt x="676317" y="184150"/>
                  </a:cubicBezTo>
                  <a:cubicBezTo>
                    <a:pt x="662982" y="182245"/>
                    <a:pt x="673778" y="159385"/>
                    <a:pt x="654092" y="161290"/>
                  </a:cubicBezTo>
                  <a:cubicBezTo>
                    <a:pt x="652188" y="168910"/>
                    <a:pt x="649648" y="177800"/>
                    <a:pt x="647742" y="186690"/>
                  </a:cubicBezTo>
                  <a:cubicBezTo>
                    <a:pt x="598213" y="209550"/>
                    <a:pt x="632503" y="132080"/>
                    <a:pt x="597578" y="128270"/>
                  </a:cubicBezTo>
                  <a:cubicBezTo>
                    <a:pt x="574717" y="146050"/>
                    <a:pt x="625517" y="198120"/>
                    <a:pt x="575988" y="194310"/>
                  </a:cubicBezTo>
                  <a:cubicBezTo>
                    <a:pt x="571542" y="184150"/>
                    <a:pt x="566463" y="172720"/>
                    <a:pt x="561382" y="160020"/>
                  </a:cubicBezTo>
                  <a:cubicBezTo>
                    <a:pt x="548682" y="168910"/>
                    <a:pt x="555667" y="180975"/>
                    <a:pt x="551223" y="189865"/>
                  </a:cubicBezTo>
                  <a:cubicBezTo>
                    <a:pt x="527727" y="199390"/>
                    <a:pt x="528363" y="180340"/>
                    <a:pt x="515663" y="167640"/>
                  </a:cubicBezTo>
                  <a:cubicBezTo>
                    <a:pt x="506138" y="172720"/>
                    <a:pt x="510582" y="179070"/>
                    <a:pt x="509948" y="184785"/>
                  </a:cubicBezTo>
                  <a:cubicBezTo>
                    <a:pt x="503598" y="211455"/>
                    <a:pt x="478832" y="184150"/>
                    <a:pt x="477563" y="168275"/>
                  </a:cubicBezTo>
                  <a:cubicBezTo>
                    <a:pt x="475657" y="168275"/>
                    <a:pt x="473118" y="168910"/>
                    <a:pt x="471213" y="168910"/>
                  </a:cubicBezTo>
                  <a:cubicBezTo>
                    <a:pt x="468673" y="176530"/>
                    <a:pt x="468038" y="185420"/>
                    <a:pt x="468673" y="192405"/>
                  </a:cubicBezTo>
                  <a:cubicBezTo>
                    <a:pt x="419143" y="222885"/>
                    <a:pt x="449623" y="139065"/>
                    <a:pt x="420413" y="134620"/>
                  </a:cubicBezTo>
                  <a:cubicBezTo>
                    <a:pt x="403268" y="157480"/>
                    <a:pt x="441368" y="204470"/>
                    <a:pt x="384852" y="194310"/>
                  </a:cubicBezTo>
                  <a:cubicBezTo>
                    <a:pt x="379773" y="186690"/>
                    <a:pt x="374057" y="178435"/>
                    <a:pt x="367707" y="168910"/>
                  </a:cubicBezTo>
                  <a:cubicBezTo>
                    <a:pt x="355643" y="175260"/>
                    <a:pt x="365802" y="188595"/>
                    <a:pt x="356277" y="194310"/>
                  </a:cubicBezTo>
                  <a:cubicBezTo>
                    <a:pt x="341038" y="190500"/>
                    <a:pt x="348023" y="171450"/>
                    <a:pt x="337227" y="164465"/>
                  </a:cubicBezTo>
                  <a:cubicBezTo>
                    <a:pt x="323893" y="161290"/>
                    <a:pt x="327702" y="179705"/>
                    <a:pt x="325798" y="187960"/>
                  </a:cubicBezTo>
                  <a:cubicBezTo>
                    <a:pt x="311827" y="185420"/>
                    <a:pt x="316907" y="161290"/>
                    <a:pt x="299763" y="167640"/>
                  </a:cubicBezTo>
                  <a:cubicBezTo>
                    <a:pt x="299127" y="175260"/>
                    <a:pt x="298493" y="183515"/>
                    <a:pt x="297857" y="193040"/>
                  </a:cubicBezTo>
                  <a:cubicBezTo>
                    <a:pt x="284523" y="198120"/>
                    <a:pt x="270552" y="196215"/>
                    <a:pt x="255313" y="193675"/>
                  </a:cubicBezTo>
                  <a:cubicBezTo>
                    <a:pt x="253407" y="123190"/>
                    <a:pt x="226102" y="121285"/>
                    <a:pt x="228643" y="193675"/>
                  </a:cubicBezTo>
                  <a:cubicBezTo>
                    <a:pt x="208957" y="210185"/>
                    <a:pt x="200068" y="191770"/>
                    <a:pt x="189907" y="181610"/>
                  </a:cubicBezTo>
                  <a:cubicBezTo>
                    <a:pt x="187368" y="183515"/>
                    <a:pt x="184827" y="184150"/>
                    <a:pt x="184193" y="185420"/>
                  </a:cubicBezTo>
                  <a:cubicBezTo>
                    <a:pt x="179748" y="215265"/>
                    <a:pt x="160063" y="195580"/>
                    <a:pt x="153713" y="178435"/>
                  </a:cubicBezTo>
                  <a:cubicBezTo>
                    <a:pt x="136568" y="176530"/>
                    <a:pt x="152443" y="219075"/>
                    <a:pt x="127043" y="200025"/>
                  </a:cubicBezTo>
                  <a:cubicBezTo>
                    <a:pt x="124502" y="193040"/>
                    <a:pt x="122598" y="184150"/>
                    <a:pt x="116248" y="179070"/>
                  </a:cubicBezTo>
                  <a:cubicBezTo>
                    <a:pt x="104818" y="182245"/>
                    <a:pt x="108627" y="191135"/>
                    <a:pt x="106088" y="197485"/>
                  </a:cubicBezTo>
                  <a:cubicBezTo>
                    <a:pt x="76877" y="236855"/>
                    <a:pt x="86402" y="157480"/>
                    <a:pt x="76877" y="144780"/>
                  </a:cubicBezTo>
                  <a:cubicBezTo>
                    <a:pt x="43857" y="125095"/>
                    <a:pt x="66718" y="187325"/>
                    <a:pt x="62273" y="203200"/>
                  </a:cubicBezTo>
                  <a:cubicBezTo>
                    <a:pt x="52113" y="213360"/>
                    <a:pt x="41318" y="208280"/>
                    <a:pt x="29888" y="208280"/>
                  </a:cubicBezTo>
                  <a:cubicBezTo>
                    <a:pt x="26077" y="177165"/>
                    <a:pt x="5123" y="95250"/>
                    <a:pt x="35602" y="78740"/>
                  </a:cubicBezTo>
                  <a:cubicBezTo>
                    <a:pt x="133393" y="58420"/>
                    <a:pt x="233723" y="57785"/>
                    <a:pt x="333418" y="53975"/>
                  </a:cubicBezTo>
                  <a:cubicBezTo>
                    <a:pt x="505502" y="41910"/>
                    <a:pt x="680763" y="26670"/>
                    <a:pt x="852213" y="30480"/>
                  </a:cubicBezTo>
                  <a:cubicBezTo>
                    <a:pt x="863007" y="74930"/>
                    <a:pt x="864913" y="125730"/>
                    <a:pt x="860467" y="169545"/>
                  </a:cubicBezTo>
                  <a:close/>
                  <a:moveTo>
                    <a:pt x="776648" y="102235"/>
                  </a:moveTo>
                  <a:cubicBezTo>
                    <a:pt x="776648" y="144780"/>
                    <a:pt x="831892" y="132080"/>
                    <a:pt x="839513" y="100965"/>
                  </a:cubicBezTo>
                  <a:cubicBezTo>
                    <a:pt x="838878" y="50800"/>
                    <a:pt x="779188" y="59055"/>
                    <a:pt x="776648" y="102235"/>
                  </a:cubicBezTo>
                  <a:close/>
                  <a:moveTo>
                    <a:pt x="796967" y="102235"/>
                  </a:moveTo>
                  <a:cubicBezTo>
                    <a:pt x="799507" y="89535"/>
                    <a:pt x="809032" y="91440"/>
                    <a:pt x="817288" y="101600"/>
                  </a:cubicBezTo>
                  <a:cubicBezTo>
                    <a:pt x="809032" y="107315"/>
                    <a:pt x="796332" y="116205"/>
                    <a:pt x="796967" y="10223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8" name="Google Shape;57;p2">
              <a:extLst>
                <a:ext uri="{FF2B5EF4-FFF2-40B4-BE49-F238E27FC236}">
                  <a16:creationId xmlns:a16="http://schemas.microsoft.com/office/drawing/2014/main" id="{59BF1B50-3F01-40E4-9920-78A3641A19BF}"/>
                </a:ext>
              </a:extLst>
            </p:cNvPr>
            <p:cNvSpPr/>
            <p:nvPr/>
          </p:nvSpPr>
          <p:spPr>
            <a:xfrm>
              <a:off x="1161548" y="2558031"/>
              <a:ext cx="665135" cy="522113"/>
            </a:xfrm>
            <a:custGeom>
              <a:avLst/>
              <a:gdLst/>
              <a:ahLst/>
              <a:cxnLst/>
              <a:rect l="l" t="t" r="r" b="b"/>
              <a:pathLst>
                <a:path w="773413" h="607108" extrusionOk="0">
                  <a:moveTo>
                    <a:pt x="330200" y="266676"/>
                  </a:moveTo>
                  <a:cubicBezTo>
                    <a:pt x="311785" y="287631"/>
                    <a:pt x="356870" y="297791"/>
                    <a:pt x="365125" y="312396"/>
                  </a:cubicBezTo>
                  <a:cubicBezTo>
                    <a:pt x="452120" y="383516"/>
                    <a:pt x="374650" y="271121"/>
                    <a:pt x="330200" y="266676"/>
                  </a:cubicBezTo>
                  <a:close/>
                  <a:moveTo>
                    <a:pt x="345440" y="379706"/>
                  </a:moveTo>
                  <a:cubicBezTo>
                    <a:pt x="343535" y="361291"/>
                    <a:pt x="321945" y="360021"/>
                    <a:pt x="318770" y="343511"/>
                  </a:cubicBezTo>
                  <a:cubicBezTo>
                    <a:pt x="320675" y="320016"/>
                    <a:pt x="302260" y="323826"/>
                    <a:pt x="288925" y="317476"/>
                  </a:cubicBezTo>
                  <a:cubicBezTo>
                    <a:pt x="288290" y="309856"/>
                    <a:pt x="287655" y="302871"/>
                    <a:pt x="287020" y="295886"/>
                  </a:cubicBezTo>
                  <a:cubicBezTo>
                    <a:pt x="256540" y="302871"/>
                    <a:pt x="237490" y="313031"/>
                    <a:pt x="245745" y="340336"/>
                  </a:cubicBezTo>
                  <a:cubicBezTo>
                    <a:pt x="258445" y="358116"/>
                    <a:pt x="277495" y="337796"/>
                    <a:pt x="294005" y="347956"/>
                  </a:cubicBezTo>
                  <a:cubicBezTo>
                    <a:pt x="292100" y="368911"/>
                    <a:pt x="304800" y="377801"/>
                    <a:pt x="325120" y="377801"/>
                  </a:cubicBezTo>
                  <a:cubicBezTo>
                    <a:pt x="336550" y="404471"/>
                    <a:pt x="335915" y="405106"/>
                    <a:pt x="358775" y="416536"/>
                  </a:cubicBezTo>
                  <a:cubicBezTo>
                    <a:pt x="372110" y="422251"/>
                    <a:pt x="386715" y="457176"/>
                    <a:pt x="400050" y="436221"/>
                  </a:cubicBezTo>
                  <a:cubicBezTo>
                    <a:pt x="391795" y="396851"/>
                    <a:pt x="360680" y="405106"/>
                    <a:pt x="345440" y="379706"/>
                  </a:cubicBezTo>
                  <a:close/>
                  <a:moveTo>
                    <a:pt x="507365" y="428601"/>
                  </a:moveTo>
                  <a:cubicBezTo>
                    <a:pt x="495935" y="401296"/>
                    <a:pt x="474345" y="382881"/>
                    <a:pt x="453390" y="364466"/>
                  </a:cubicBezTo>
                  <a:cubicBezTo>
                    <a:pt x="431165" y="346051"/>
                    <a:pt x="431165" y="391136"/>
                    <a:pt x="451485" y="393676"/>
                  </a:cubicBezTo>
                  <a:cubicBezTo>
                    <a:pt x="487045" y="408916"/>
                    <a:pt x="488315" y="451461"/>
                    <a:pt x="525145" y="467336"/>
                  </a:cubicBezTo>
                  <a:cubicBezTo>
                    <a:pt x="542925" y="447651"/>
                    <a:pt x="513715" y="441301"/>
                    <a:pt x="507365" y="428601"/>
                  </a:cubicBezTo>
                  <a:close/>
                  <a:moveTo>
                    <a:pt x="504825" y="315571"/>
                  </a:moveTo>
                  <a:cubicBezTo>
                    <a:pt x="500380" y="301601"/>
                    <a:pt x="481965" y="299061"/>
                    <a:pt x="480060" y="284456"/>
                  </a:cubicBezTo>
                  <a:cubicBezTo>
                    <a:pt x="474980" y="258421"/>
                    <a:pt x="442595" y="265406"/>
                    <a:pt x="434340" y="241276"/>
                  </a:cubicBezTo>
                  <a:cubicBezTo>
                    <a:pt x="421005" y="238101"/>
                    <a:pt x="410210" y="251436"/>
                    <a:pt x="398145" y="240006"/>
                  </a:cubicBezTo>
                  <a:cubicBezTo>
                    <a:pt x="403860" y="233656"/>
                    <a:pt x="408940" y="232386"/>
                    <a:pt x="417195" y="228576"/>
                  </a:cubicBezTo>
                  <a:cubicBezTo>
                    <a:pt x="400050" y="175871"/>
                    <a:pt x="313690" y="272391"/>
                    <a:pt x="419735" y="267311"/>
                  </a:cubicBezTo>
                  <a:cubicBezTo>
                    <a:pt x="422275" y="289536"/>
                    <a:pt x="445770" y="278741"/>
                    <a:pt x="461645" y="288266"/>
                  </a:cubicBezTo>
                  <a:cubicBezTo>
                    <a:pt x="460375" y="315571"/>
                    <a:pt x="490855" y="330176"/>
                    <a:pt x="508000" y="347321"/>
                  </a:cubicBezTo>
                  <a:cubicBezTo>
                    <a:pt x="532130" y="360656"/>
                    <a:pt x="526415" y="399391"/>
                    <a:pt x="563245" y="392406"/>
                  </a:cubicBezTo>
                  <a:cubicBezTo>
                    <a:pt x="560070" y="370181"/>
                    <a:pt x="537210" y="365101"/>
                    <a:pt x="537210" y="340971"/>
                  </a:cubicBezTo>
                  <a:cubicBezTo>
                    <a:pt x="524510" y="334621"/>
                    <a:pt x="509270" y="329541"/>
                    <a:pt x="504825" y="315571"/>
                  </a:cubicBezTo>
                  <a:close/>
                  <a:moveTo>
                    <a:pt x="744220" y="156186"/>
                  </a:moveTo>
                  <a:cubicBezTo>
                    <a:pt x="658495" y="119991"/>
                    <a:pt x="573405" y="78081"/>
                    <a:pt x="509270" y="8231"/>
                  </a:cubicBezTo>
                  <a:cubicBezTo>
                    <a:pt x="478155" y="-22249"/>
                    <a:pt x="454660" y="40616"/>
                    <a:pt x="430530" y="55856"/>
                  </a:cubicBezTo>
                  <a:cubicBezTo>
                    <a:pt x="309880" y="170156"/>
                    <a:pt x="172720" y="286361"/>
                    <a:pt x="0" y="294616"/>
                  </a:cubicBezTo>
                  <a:cubicBezTo>
                    <a:pt x="14605" y="319381"/>
                    <a:pt x="14605" y="318746"/>
                    <a:pt x="29845" y="328271"/>
                  </a:cubicBezTo>
                  <a:cubicBezTo>
                    <a:pt x="91440" y="365736"/>
                    <a:pt x="144780" y="415901"/>
                    <a:pt x="205740" y="454001"/>
                  </a:cubicBezTo>
                  <a:cubicBezTo>
                    <a:pt x="279400" y="483211"/>
                    <a:pt x="368935" y="638786"/>
                    <a:pt x="440690" y="601322"/>
                  </a:cubicBezTo>
                  <a:cubicBezTo>
                    <a:pt x="623570" y="562586"/>
                    <a:pt x="855980" y="342876"/>
                    <a:pt x="744220" y="156186"/>
                  </a:cubicBezTo>
                  <a:close/>
                  <a:moveTo>
                    <a:pt x="412750" y="585447"/>
                  </a:moveTo>
                  <a:cubicBezTo>
                    <a:pt x="372110" y="579731"/>
                    <a:pt x="340995" y="535916"/>
                    <a:pt x="308610" y="511786"/>
                  </a:cubicBezTo>
                  <a:cubicBezTo>
                    <a:pt x="229235" y="438761"/>
                    <a:pt x="133985" y="389866"/>
                    <a:pt x="57150" y="314301"/>
                  </a:cubicBezTo>
                  <a:cubicBezTo>
                    <a:pt x="231140" y="271756"/>
                    <a:pt x="370840" y="152376"/>
                    <a:pt x="493395" y="26646"/>
                  </a:cubicBezTo>
                  <a:cubicBezTo>
                    <a:pt x="561975" y="90781"/>
                    <a:pt x="644525" y="126976"/>
                    <a:pt x="723265" y="173966"/>
                  </a:cubicBezTo>
                  <a:cubicBezTo>
                    <a:pt x="699135" y="203176"/>
                    <a:pt x="664210" y="216511"/>
                    <a:pt x="643255" y="243816"/>
                  </a:cubicBezTo>
                  <a:cubicBezTo>
                    <a:pt x="660400" y="283186"/>
                    <a:pt x="710565" y="292076"/>
                    <a:pt x="733425" y="327636"/>
                  </a:cubicBezTo>
                  <a:cubicBezTo>
                    <a:pt x="689610" y="466701"/>
                    <a:pt x="548005" y="554966"/>
                    <a:pt x="412750" y="585447"/>
                  </a:cubicBezTo>
                  <a:close/>
                  <a:moveTo>
                    <a:pt x="674370" y="250166"/>
                  </a:moveTo>
                  <a:cubicBezTo>
                    <a:pt x="697865" y="229211"/>
                    <a:pt x="714375" y="205716"/>
                    <a:pt x="743585" y="197461"/>
                  </a:cubicBezTo>
                  <a:cubicBezTo>
                    <a:pt x="744855" y="232386"/>
                    <a:pt x="751205" y="265406"/>
                    <a:pt x="738505" y="299061"/>
                  </a:cubicBezTo>
                  <a:cubicBezTo>
                    <a:pt x="712470" y="288266"/>
                    <a:pt x="697865" y="265406"/>
                    <a:pt x="674370" y="250166"/>
                  </a:cubicBezTo>
                  <a:close/>
                  <a:moveTo>
                    <a:pt x="641985" y="310491"/>
                  </a:moveTo>
                  <a:cubicBezTo>
                    <a:pt x="619760" y="306681"/>
                    <a:pt x="605790" y="289536"/>
                    <a:pt x="589280" y="280011"/>
                  </a:cubicBezTo>
                  <a:cubicBezTo>
                    <a:pt x="587375" y="270486"/>
                    <a:pt x="586105" y="263501"/>
                    <a:pt x="584835" y="255881"/>
                  </a:cubicBezTo>
                  <a:cubicBezTo>
                    <a:pt x="541020" y="246356"/>
                    <a:pt x="568960" y="223496"/>
                    <a:pt x="506095" y="215241"/>
                  </a:cubicBezTo>
                  <a:cubicBezTo>
                    <a:pt x="534670" y="166346"/>
                    <a:pt x="490220" y="189841"/>
                    <a:pt x="461645" y="186031"/>
                  </a:cubicBezTo>
                  <a:cubicBezTo>
                    <a:pt x="436245" y="172061"/>
                    <a:pt x="474345" y="158726"/>
                    <a:pt x="487045" y="156186"/>
                  </a:cubicBezTo>
                  <a:cubicBezTo>
                    <a:pt x="502920" y="130786"/>
                    <a:pt x="456565" y="133961"/>
                    <a:pt x="447040" y="148566"/>
                  </a:cubicBezTo>
                  <a:cubicBezTo>
                    <a:pt x="419100" y="174601"/>
                    <a:pt x="444500" y="210796"/>
                    <a:pt x="478790" y="206986"/>
                  </a:cubicBezTo>
                  <a:cubicBezTo>
                    <a:pt x="490855" y="245086"/>
                    <a:pt x="502285" y="234291"/>
                    <a:pt x="534670" y="244451"/>
                  </a:cubicBezTo>
                  <a:cubicBezTo>
                    <a:pt x="539115" y="264771"/>
                    <a:pt x="565785" y="269851"/>
                    <a:pt x="571500" y="292711"/>
                  </a:cubicBezTo>
                  <a:cubicBezTo>
                    <a:pt x="590550" y="305411"/>
                    <a:pt x="613410" y="332081"/>
                    <a:pt x="638175" y="329541"/>
                  </a:cubicBezTo>
                  <a:cubicBezTo>
                    <a:pt x="647700" y="327636"/>
                    <a:pt x="648335" y="313666"/>
                    <a:pt x="641985" y="310491"/>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9" name="Google Shape;58;p2">
              <a:extLst>
                <a:ext uri="{FF2B5EF4-FFF2-40B4-BE49-F238E27FC236}">
                  <a16:creationId xmlns:a16="http://schemas.microsoft.com/office/drawing/2014/main" id="{ECF2D44A-FB25-43C4-AFB2-097784CDC432}"/>
                </a:ext>
              </a:extLst>
            </p:cNvPr>
            <p:cNvGrpSpPr/>
            <p:nvPr/>
          </p:nvGrpSpPr>
          <p:grpSpPr>
            <a:xfrm>
              <a:off x="346827" y="3411153"/>
              <a:ext cx="376916" cy="455685"/>
              <a:chOff x="1010452" y="1144365"/>
              <a:chExt cx="376916" cy="455685"/>
            </a:xfrm>
          </p:grpSpPr>
          <p:sp>
            <p:nvSpPr>
              <p:cNvPr id="88" name="Google Shape;59;p2">
                <a:extLst>
                  <a:ext uri="{FF2B5EF4-FFF2-40B4-BE49-F238E27FC236}">
                    <a16:creationId xmlns:a16="http://schemas.microsoft.com/office/drawing/2014/main" id="{9DAA066F-D056-423F-BF3E-D6A24D45AEE9}"/>
                  </a:ext>
                </a:extLst>
              </p:cNvPr>
              <p:cNvSpPr/>
              <p:nvPr/>
            </p:nvSpPr>
            <p:spPr>
              <a:xfrm>
                <a:off x="1010452" y="1144365"/>
                <a:ext cx="376916" cy="455685"/>
              </a:xfrm>
              <a:custGeom>
                <a:avLst/>
                <a:gdLst/>
                <a:ahLst/>
                <a:cxnLst/>
                <a:rect l="l" t="t" r="r" b="b"/>
                <a:pathLst>
                  <a:path w="438274" h="529866" extrusionOk="0">
                    <a:moveTo>
                      <a:pt x="42669" y="358775"/>
                    </a:moveTo>
                    <a:cubicBezTo>
                      <a:pt x="32509" y="365760"/>
                      <a:pt x="24889" y="370840"/>
                      <a:pt x="16634" y="376555"/>
                    </a:cubicBezTo>
                    <a:cubicBezTo>
                      <a:pt x="759" y="367030"/>
                      <a:pt x="-511" y="353060"/>
                      <a:pt x="124" y="337820"/>
                    </a:cubicBezTo>
                    <a:cubicBezTo>
                      <a:pt x="25524" y="336550"/>
                      <a:pt x="44574" y="340360"/>
                      <a:pt x="69339" y="353060"/>
                    </a:cubicBezTo>
                    <a:cubicBezTo>
                      <a:pt x="81404" y="349250"/>
                      <a:pt x="94739" y="345440"/>
                      <a:pt x="107439" y="340995"/>
                    </a:cubicBezTo>
                    <a:cubicBezTo>
                      <a:pt x="139189" y="224155"/>
                      <a:pt x="129029" y="254000"/>
                      <a:pt x="172209" y="186055"/>
                    </a:cubicBezTo>
                    <a:cubicBezTo>
                      <a:pt x="136014" y="133985"/>
                      <a:pt x="101089" y="64770"/>
                      <a:pt x="130934" y="0"/>
                    </a:cubicBezTo>
                    <a:cubicBezTo>
                      <a:pt x="181099" y="8255"/>
                      <a:pt x="230629" y="101600"/>
                      <a:pt x="237614" y="151130"/>
                    </a:cubicBezTo>
                    <a:cubicBezTo>
                      <a:pt x="282699" y="160020"/>
                      <a:pt x="330324" y="148590"/>
                      <a:pt x="366519" y="186055"/>
                    </a:cubicBezTo>
                    <a:cubicBezTo>
                      <a:pt x="391284" y="211455"/>
                      <a:pt x="430654" y="226695"/>
                      <a:pt x="438274" y="264795"/>
                    </a:cubicBezTo>
                    <a:cubicBezTo>
                      <a:pt x="363344" y="320040"/>
                      <a:pt x="256029" y="259080"/>
                      <a:pt x="195704" y="205740"/>
                    </a:cubicBezTo>
                    <a:cubicBezTo>
                      <a:pt x="153794" y="228600"/>
                      <a:pt x="141094" y="292100"/>
                      <a:pt x="136649" y="332740"/>
                    </a:cubicBezTo>
                    <a:cubicBezTo>
                      <a:pt x="143634" y="339090"/>
                      <a:pt x="151889" y="345440"/>
                      <a:pt x="160779" y="353060"/>
                    </a:cubicBezTo>
                    <a:cubicBezTo>
                      <a:pt x="169669" y="349885"/>
                      <a:pt x="178559" y="346075"/>
                      <a:pt x="188084" y="342900"/>
                    </a:cubicBezTo>
                    <a:cubicBezTo>
                      <a:pt x="193799" y="347345"/>
                      <a:pt x="199514" y="351790"/>
                      <a:pt x="205864" y="357505"/>
                    </a:cubicBezTo>
                    <a:cubicBezTo>
                      <a:pt x="238249" y="346710"/>
                      <a:pt x="275079" y="366395"/>
                      <a:pt x="310004" y="365125"/>
                    </a:cubicBezTo>
                    <a:cubicBezTo>
                      <a:pt x="348104" y="407670"/>
                      <a:pt x="245869" y="379095"/>
                      <a:pt x="227454" y="375285"/>
                    </a:cubicBezTo>
                    <a:cubicBezTo>
                      <a:pt x="220469" y="379095"/>
                      <a:pt x="212849" y="384175"/>
                      <a:pt x="203959" y="388620"/>
                    </a:cubicBezTo>
                    <a:cubicBezTo>
                      <a:pt x="196974" y="386080"/>
                      <a:pt x="188719" y="381000"/>
                      <a:pt x="184274" y="375920"/>
                    </a:cubicBezTo>
                    <a:cubicBezTo>
                      <a:pt x="167129" y="374650"/>
                      <a:pt x="151889" y="373380"/>
                      <a:pt x="134744" y="372110"/>
                    </a:cubicBezTo>
                    <a:cubicBezTo>
                      <a:pt x="134744" y="381000"/>
                      <a:pt x="139189" y="389890"/>
                      <a:pt x="145539" y="395605"/>
                    </a:cubicBezTo>
                    <a:cubicBezTo>
                      <a:pt x="186179" y="433070"/>
                      <a:pt x="166494" y="499110"/>
                      <a:pt x="128394" y="528955"/>
                    </a:cubicBezTo>
                    <a:cubicBezTo>
                      <a:pt x="69974" y="541020"/>
                      <a:pt x="67434" y="429895"/>
                      <a:pt x="99819" y="396875"/>
                    </a:cubicBezTo>
                    <a:cubicBezTo>
                      <a:pt x="113154" y="386715"/>
                      <a:pt x="109979" y="361315"/>
                      <a:pt x="90294" y="370205"/>
                    </a:cubicBezTo>
                    <a:cubicBezTo>
                      <a:pt x="71244" y="380365"/>
                      <a:pt x="57909" y="368300"/>
                      <a:pt x="42669" y="358775"/>
                    </a:cubicBezTo>
                    <a:close/>
                    <a:moveTo>
                      <a:pt x="111884" y="481965"/>
                    </a:moveTo>
                    <a:cubicBezTo>
                      <a:pt x="107439" y="512445"/>
                      <a:pt x="133474" y="506095"/>
                      <a:pt x="111249" y="482600"/>
                    </a:cubicBezTo>
                    <a:cubicBezTo>
                      <a:pt x="110614" y="470535"/>
                      <a:pt x="109979" y="458470"/>
                      <a:pt x="108709" y="446405"/>
                    </a:cubicBezTo>
                    <a:cubicBezTo>
                      <a:pt x="105534" y="458470"/>
                      <a:pt x="99184" y="471805"/>
                      <a:pt x="111884" y="481965"/>
                    </a:cubicBezTo>
                    <a:close/>
                    <a:moveTo>
                      <a:pt x="200784" y="171450"/>
                    </a:moveTo>
                    <a:cubicBezTo>
                      <a:pt x="233804" y="126365"/>
                      <a:pt x="188084" y="57785"/>
                      <a:pt x="148079" y="34290"/>
                    </a:cubicBezTo>
                    <a:cubicBezTo>
                      <a:pt x="130934" y="70485"/>
                      <a:pt x="156334" y="168910"/>
                      <a:pt x="200784" y="171450"/>
                    </a:cubicBezTo>
                    <a:lnTo>
                      <a:pt x="200784" y="171450"/>
                    </a:lnTo>
                    <a:close/>
                    <a:moveTo>
                      <a:pt x="241424" y="220980"/>
                    </a:moveTo>
                    <a:lnTo>
                      <a:pt x="242059" y="219075"/>
                    </a:lnTo>
                    <a:lnTo>
                      <a:pt x="240154" y="220345"/>
                    </a:lnTo>
                    <a:cubicBezTo>
                      <a:pt x="289684" y="245110"/>
                      <a:pt x="363979" y="292100"/>
                      <a:pt x="412239" y="248920"/>
                    </a:cubicBezTo>
                    <a:cubicBezTo>
                      <a:pt x="370964" y="205740"/>
                      <a:pt x="304289" y="149860"/>
                      <a:pt x="243964" y="186690"/>
                    </a:cubicBezTo>
                    <a:cubicBezTo>
                      <a:pt x="269999" y="217170"/>
                      <a:pt x="344294" y="203835"/>
                      <a:pt x="353819" y="244475"/>
                    </a:cubicBezTo>
                    <a:cubicBezTo>
                      <a:pt x="318259" y="237490"/>
                      <a:pt x="280159" y="214630"/>
                      <a:pt x="241424" y="220980"/>
                    </a:cubicBezTo>
                    <a:close/>
                    <a:moveTo>
                      <a:pt x="139189" y="431165"/>
                    </a:moveTo>
                    <a:cubicBezTo>
                      <a:pt x="135379" y="450215"/>
                      <a:pt x="134744" y="450215"/>
                      <a:pt x="140459" y="465455"/>
                    </a:cubicBezTo>
                    <a:cubicBezTo>
                      <a:pt x="146809" y="453390"/>
                      <a:pt x="145539" y="443230"/>
                      <a:pt x="139189" y="43116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89" name="Google Shape;60;p2">
                <a:extLst>
                  <a:ext uri="{FF2B5EF4-FFF2-40B4-BE49-F238E27FC236}">
                    <a16:creationId xmlns:a16="http://schemas.microsoft.com/office/drawing/2014/main" id="{3D9CCD77-55C1-476F-8683-56ED66C7A90A}"/>
                  </a:ext>
                </a:extLst>
              </p:cNvPr>
              <p:cNvSpPr/>
              <p:nvPr/>
            </p:nvSpPr>
            <p:spPr>
              <a:xfrm>
                <a:off x="1151008" y="1222803"/>
                <a:ext cx="35003" cy="68520"/>
              </a:xfrm>
              <a:custGeom>
                <a:avLst/>
                <a:gdLst/>
                <a:ahLst/>
                <a:cxnLst/>
                <a:rect l="l" t="t" r="r" b="b"/>
                <a:pathLst>
                  <a:path w="40701" h="79674" extrusionOk="0">
                    <a:moveTo>
                      <a:pt x="38100" y="79674"/>
                    </a:moveTo>
                    <a:cubicBezTo>
                      <a:pt x="20320" y="56179"/>
                      <a:pt x="8255" y="30144"/>
                      <a:pt x="0" y="2840"/>
                    </a:cubicBezTo>
                    <a:cubicBezTo>
                      <a:pt x="24130" y="-16210"/>
                      <a:pt x="48895" y="66340"/>
                      <a:pt x="38100" y="79674"/>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40" name="Google Shape;61;p2">
              <a:extLst>
                <a:ext uri="{FF2B5EF4-FFF2-40B4-BE49-F238E27FC236}">
                  <a16:creationId xmlns:a16="http://schemas.microsoft.com/office/drawing/2014/main" id="{4AF7C0F7-47FA-4AEE-B784-77502FF351F3}"/>
                </a:ext>
              </a:extLst>
            </p:cNvPr>
            <p:cNvGrpSpPr/>
            <p:nvPr/>
          </p:nvGrpSpPr>
          <p:grpSpPr>
            <a:xfrm>
              <a:off x="7439637" y="3918577"/>
              <a:ext cx="503800" cy="507307"/>
              <a:chOff x="7439637" y="3918577"/>
              <a:chExt cx="503800" cy="507307"/>
            </a:xfrm>
          </p:grpSpPr>
          <p:sp>
            <p:nvSpPr>
              <p:cNvPr id="86" name="Google Shape;62;p2">
                <a:extLst>
                  <a:ext uri="{FF2B5EF4-FFF2-40B4-BE49-F238E27FC236}">
                    <a16:creationId xmlns:a16="http://schemas.microsoft.com/office/drawing/2014/main" id="{46328B47-DA59-4652-A7F5-124DD21137EF}"/>
                  </a:ext>
                </a:extLst>
              </p:cNvPr>
              <p:cNvSpPr/>
              <p:nvPr/>
            </p:nvSpPr>
            <p:spPr>
              <a:xfrm>
                <a:off x="7547126" y="4133375"/>
                <a:ext cx="332324" cy="292506"/>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7" name="Google Shape;63;p2">
                <a:extLst>
                  <a:ext uri="{FF2B5EF4-FFF2-40B4-BE49-F238E27FC236}">
                    <a16:creationId xmlns:a16="http://schemas.microsoft.com/office/drawing/2014/main" id="{9199EEDB-BB7B-4A6E-ADD8-4E3E159896F8}"/>
                  </a:ext>
                </a:extLst>
              </p:cNvPr>
              <p:cNvSpPr/>
              <p:nvPr/>
            </p:nvSpPr>
            <p:spPr>
              <a:xfrm rot="-1109260">
                <a:off x="7493180" y="3971096"/>
                <a:ext cx="396713" cy="402269"/>
              </a:xfrm>
              <a:custGeom>
                <a:avLst/>
                <a:gdLst/>
                <a:ahLst/>
                <a:cxnLst/>
                <a:rect l="l" t="t" r="r" b="b"/>
                <a:pathLst>
                  <a:path w="461644" h="468109" extrusionOk="0">
                    <a:moveTo>
                      <a:pt x="313055" y="28998"/>
                    </a:moveTo>
                    <a:cubicBezTo>
                      <a:pt x="261620" y="-13547"/>
                      <a:pt x="187960" y="-4022"/>
                      <a:pt x="131445" y="23918"/>
                    </a:cubicBezTo>
                    <a:cubicBezTo>
                      <a:pt x="158750" y="209973"/>
                      <a:pt x="74295" y="277918"/>
                      <a:pt x="0" y="435398"/>
                    </a:cubicBezTo>
                    <a:cubicBezTo>
                      <a:pt x="26670" y="495088"/>
                      <a:pt x="107314" y="453178"/>
                      <a:pt x="158750" y="461433"/>
                    </a:cubicBezTo>
                    <a:cubicBezTo>
                      <a:pt x="257810" y="439208"/>
                      <a:pt x="367664" y="470323"/>
                      <a:pt x="461645" y="435398"/>
                    </a:cubicBezTo>
                    <a:cubicBezTo>
                      <a:pt x="369570" y="280458"/>
                      <a:pt x="297814" y="222038"/>
                      <a:pt x="313055" y="28998"/>
                    </a:cubicBezTo>
                    <a:close/>
                    <a:moveTo>
                      <a:pt x="270510" y="39158"/>
                    </a:moveTo>
                    <a:cubicBezTo>
                      <a:pt x="237489" y="54398"/>
                      <a:pt x="205105" y="51858"/>
                      <a:pt x="172085" y="38523"/>
                    </a:cubicBezTo>
                    <a:cubicBezTo>
                      <a:pt x="197485" y="14393"/>
                      <a:pt x="243205" y="16933"/>
                      <a:pt x="270510" y="39158"/>
                    </a:cubicBezTo>
                    <a:close/>
                    <a:moveTo>
                      <a:pt x="160655" y="63923"/>
                    </a:moveTo>
                    <a:cubicBezTo>
                      <a:pt x="203835" y="69638"/>
                      <a:pt x="242570" y="70273"/>
                      <a:pt x="287020" y="64558"/>
                    </a:cubicBezTo>
                    <a:cubicBezTo>
                      <a:pt x="301625" y="119803"/>
                      <a:pt x="283845" y="182033"/>
                      <a:pt x="306070" y="232833"/>
                    </a:cubicBezTo>
                    <a:cubicBezTo>
                      <a:pt x="314325" y="244898"/>
                      <a:pt x="330835" y="258868"/>
                      <a:pt x="321310" y="274743"/>
                    </a:cubicBezTo>
                    <a:cubicBezTo>
                      <a:pt x="258445" y="376978"/>
                      <a:pt x="194310" y="273473"/>
                      <a:pt x="116839" y="281728"/>
                    </a:cubicBezTo>
                    <a:cubicBezTo>
                      <a:pt x="172085" y="168063"/>
                      <a:pt x="155575" y="180763"/>
                      <a:pt x="160655" y="63923"/>
                    </a:cubicBezTo>
                    <a:close/>
                    <a:moveTo>
                      <a:pt x="350520" y="430318"/>
                    </a:moveTo>
                    <a:cubicBezTo>
                      <a:pt x="243839" y="425238"/>
                      <a:pt x="137795" y="444923"/>
                      <a:pt x="31750" y="441113"/>
                    </a:cubicBezTo>
                    <a:cubicBezTo>
                      <a:pt x="123189" y="141393"/>
                      <a:pt x="212089" y="450003"/>
                      <a:pt x="340360" y="284903"/>
                    </a:cubicBezTo>
                    <a:cubicBezTo>
                      <a:pt x="373380" y="329353"/>
                      <a:pt x="400685" y="368088"/>
                      <a:pt x="425450" y="415713"/>
                    </a:cubicBezTo>
                    <a:cubicBezTo>
                      <a:pt x="418464" y="425238"/>
                      <a:pt x="368935" y="431588"/>
                      <a:pt x="350520" y="430318"/>
                    </a:cubicBezTo>
                    <a:close/>
                    <a:moveTo>
                      <a:pt x="275589" y="413173"/>
                    </a:moveTo>
                    <a:cubicBezTo>
                      <a:pt x="280670" y="396663"/>
                      <a:pt x="275589" y="382058"/>
                      <a:pt x="274320" y="363643"/>
                    </a:cubicBezTo>
                    <a:cubicBezTo>
                      <a:pt x="203200" y="347768"/>
                      <a:pt x="209550" y="449368"/>
                      <a:pt x="275589" y="413173"/>
                    </a:cubicBezTo>
                    <a:close/>
                    <a:moveTo>
                      <a:pt x="250189" y="403648"/>
                    </a:moveTo>
                    <a:cubicBezTo>
                      <a:pt x="236855" y="403013"/>
                      <a:pt x="242570" y="390313"/>
                      <a:pt x="252095" y="387773"/>
                    </a:cubicBezTo>
                    <a:cubicBezTo>
                      <a:pt x="264160" y="389678"/>
                      <a:pt x="259714" y="403013"/>
                      <a:pt x="250189" y="403648"/>
                    </a:cubicBezTo>
                    <a:close/>
                    <a:moveTo>
                      <a:pt x="160020" y="336338"/>
                    </a:moveTo>
                    <a:cubicBezTo>
                      <a:pt x="121920" y="334433"/>
                      <a:pt x="120014" y="387138"/>
                      <a:pt x="158750" y="385233"/>
                    </a:cubicBezTo>
                    <a:cubicBezTo>
                      <a:pt x="191770" y="387773"/>
                      <a:pt x="194310" y="335703"/>
                      <a:pt x="160020" y="336338"/>
                    </a:cubicBezTo>
                    <a:close/>
                    <a:moveTo>
                      <a:pt x="153035" y="363008"/>
                    </a:moveTo>
                    <a:cubicBezTo>
                      <a:pt x="160020" y="361103"/>
                      <a:pt x="163830" y="354118"/>
                      <a:pt x="167639" y="365548"/>
                    </a:cubicBezTo>
                    <a:cubicBezTo>
                      <a:pt x="161289" y="366183"/>
                      <a:pt x="155575" y="370628"/>
                      <a:pt x="153035" y="363008"/>
                    </a:cubicBezTo>
                    <a:close/>
                    <a:moveTo>
                      <a:pt x="235585" y="262678"/>
                    </a:moveTo>
                    <a:cubicBezTo>
                      <a:pt x="268605" y="265218"/>
                      <a:pt x="281305" y="215053"/>
                      <a:pt x="240030" y="211243"/>
                    </a:cubicBezTo>
                    <a:cubicBezTo>
                      <a:pt x="203200" y="206798"/>
                      <a:pt x="203835" y="257598"/>
                      <a:pt x="235585" y="262678"/>
                    </a:cubicBezTo>
                    <a:close/>
                    <a:moveTo>
                      <a:pt x="248285" y="235373"/>
                    </a:moveTo>
                    <a:cubicBezTo>
                      <a:pt x="242570" y="240453"/>
                      <a:pt x="237489" y="246803"/>
                      <a:pt x="232410" y="238548"/>
                    </a:cubicBezTo>
                    <a:cubicBezTo>
                      <a:pt x="231139" y="228388"/>
                      <a:pt x="240664" y="230293"/>
                      <a:pt x="248285" y="235373"/>
                    </a:cubicBezTo>
                    <a:close/>
                    <a:moveTo>
                      <a:pt x="224155" y="133138"/>
                    </a:moveTo>
                    <a:cubicBezTo>
                      <a:pt x="224789" y="115993"/>
                      <a:pt x="196214" y="108373"/>
                      <a:pt x="193675" y="129328"/>
                    </a:cubicBezTo>
                    <a:cubicBezTo>
                      <a:pt x="190500" y="154093"/>
                      <a:pt x="222250" y="155998"/>
                      <a:pt x="224155" y="13313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41" name="Google Shape;64;p2">
              <a:extLst>
                <a:ext uri="{FF2B5EF4-FFF2-40B4-BE49-F238E27FC236}">
                  <a16:creationId xmlns:a16="http://schemas.microsoft.com/office/drawing/2014/main" id="{E59F448A-21CE-4C24-B920-61BB83D212B2}"/>
                </a:ext>
              </a:extLst>
            </p:cNvPr>
            <p:cNvSpPr/>
            <p:nvPr/>
          </p:nvSpPr>
          <p:spPr>
            <a:xfrm>
              <a:off x="6255960" y="791694"/>
              <a:ext cx="453103" cy="511439"/>
            </a:xfrm>
            <a:custGeom>
              <a:avLst/>
              <a:gdLst/>
              <a:ahLst/>
              <a:cxnLst/>
              <a:rect l="l" t="t" r="r" b="b"/>
              <a:pathLst>
                <a:path w="526864" h="594697" extrusionOk="0">
                  <a:moveTo>
                    <a:pt x="476936" y="348155"/>
                  </a:moveTo>
                  <a:cubicBezTo>
                    <a:pt x="414706" y="390065"/>
                    <a:pt x="352476" y="373555"/>
                    <a:pt x="427406" y="306880"/>
                  </a:cubicBezTo>
                  <a:cubicBezTo>
                    <a:pt x="588696" y="206550"/>
                    <a:pt x="435661" y="-15065"/>
                    <a:pt x="280086" y="810"/>
                  </a:cubicBezTo>
                  <a:cubicBezTo>
                    <a:pt x="137211" y="13510"/>
                    <a:pt x="14656" y="153845"/>
                    <a:pt x="51" y="293545"/>
                  </a:cubicBezTo>
                  <a:cubicBezTo>
                    <a:pt x="-3759" y="510080"/>
                    <a:pt x="205791" y="675815"/>
                    <a:pt x="402641" y="552625"/>
                  </a:cubicBezTo>
                  <a:cubicBezTo>
                    <a:pt x="461061" y="528495"/>
                    <a:pt x="601396" y="353870"/>
                    <a:pt x="476936" y="348155"/>
                  </a:cubicBezTo>
                  <a:close/>
                  <a:moveTo>
                    <a:pt x="205156" y="568500"/>
                  </a:moveTo>
                  <a:cubicBezTo>
                    <a:pt x="39421" y="529765"/>
                    <a:pt x="-27254" y="296085"/>
                    <a:pt x="67996" y="162735"/>
                  </a:cubicBezTo>
                  <a:cubicBezTo>
                    <a:pt x="139116" y="53515"/>
                    <a:pt x="294691" y="-44275"/>
                    <a:pt x="410896" y="59865"/>
                  </a:cubicBezTo>
                  <a:cubicBezTo>
                    <a:pt x="457251" y="97965"/>
                    <a:pt x="501066" y="170990"/>
                    <a:pt x="469316" y="230045"/>
                  </a:cubicBezTo>
                  <a:cubicBezTo>
                    <a:pt x="447726" y="280845"/>
                    <a:pt x="340411" y="315135"/>
                    <a:pt x="379146" y="376095"/>
                  </a:cubicBezTo>
                  <a:cubicBezTo>
                    <a:pt x="412801" y="414830"/>
                    <a:pt x="457886" y="371650"/>
                    <a:pt x="497256" y="369745"/>
                  </a:cubicBezTo>
                  <a:cubicBezTo>
                    <a:pt x="507416" y="503095"/>
                    <a:pt x="323901" y="594535"/>
                    <a:pt x="205156" y="568500"/>
                  </a:cubicBezTo>
                  <a:close/>
                  <a:moveTo>
                    <a:pt x="132766" y="332915"/>
                  </a:moveTo>
                  <a:cubicBezTo>
                    <a:pt x="154991" y="341805"/>
                    <a:pt x="200076" y="333550"/>
                    <a:pt x="181026" y="301165"/>
                  </a:cubicBezTo>
                  <a:cubicBezTo>
                    <a:pt x="172136" y="286560"/>
                    <a:pt x="167691" y="270050"/>
                    <a:pt x="172771" y="252270"/>
                  </a:cubicBezTo>
                  <a:cubicBezTo>
                    <a:pt x="176581" y="210995"/>
                    <a:pt x="122606" y="217345"/>
                    <a:pt x="95936" y="212900"/>
                  </a:cubicBezTo>
                  <a:cubicBezTo>
                    <a:pt x="30531" y="204645"/>
                    <a:pt x="20371" y="327200"/>
                    <a:pt x="76886" y="346885"/>
                  </a:cubicBezTo>
                  <a:cubicBezTo>
                    <a:pt x="96571" y="336090"/>
                    <a:pt x="109906" y="322755"/>
                    <a:pt x="132766" y="332915"/>
                  </a:cubicBezTo>
                  <a:close/>
                  <a:moveTo>
                    <a:pt x="283261" y="118920"/>
                  </a:moveTo>
                  <a:cubicBezTo>
                    <a:pt x="299771" y="35735"/>
                    <a:pt x="146101" y="25575"/>
                    <a:pt x="179756" y="118920"/>
                  </a:cubicBezTo>
                  <a:cubicBezTo>
                    <a:pt x="116256" y="200835"/>
                    <a:pt x="250241" y="230045"/>
                    <a:pt x="283261" y="118920"/>
                  </a:cubicBezTo>
                  <a:close/>
                  <a:moveTo>
                    <a:pt x="263576" y="96695"/>
                  </a:moveTo>
                  <a:cubicBezTo>
                    <a:pt x="261671" y="99870"/>
                    <a:pt x="260401" y="101775"/>
                    <a:pt x="259766" y="103045"/>
                  </a:cubicBezTo>
                  <a:cubicBezTo>
                    <a:pt x="249606" y="96060"/>
                    <a:pt x="253416" y="87170"/>
                    <a:pt x="263576" y="96695"/>
                  </a:cubicBezTo>
                  <a:close/>
                  <a:moveTo>
                    <a:pt x="229286" y="144320"/>
                  </a:moveTo>
                  <a:cubicBezTo>
                    <a:pt x="232461" y="131620"/>
                    <a:pt x="239446" y="126540"/>
                    <a:pt x="255321" y="121460"/>
                  </a:cubicBezTo>
                  <a:cubicBezTo>
                    <a:pt x="248336" y="136065"/>
                    <a:pt x="245161" y="146225"/>
                    <a:pt x="229286" y="144320"/>
                  </a:cubicBezTo>
                  <a:close/>
                  <a:moveTo>
                    <a:pt x="201346" y="404035"/>
                  </a:moveTo>
                  <a:cubicBezTo>
                    <a:pt x="199441" y="358315"/>
                    <a:pt x="131496" y="364030"/>
                    <a:pt x="106731" y="386890"/>
                  </a:cubicBezTo>
                  <a:cubicBezTo>
                    <a:pt x="81331" y="451660"/>
                    <a:pt x="128956" y="520240"/>
                    <a:pt x="190551" y="461185"/>
                  </a:cubicBezTo>
                  <a:cubicBezTo>
                    <a:pt x="208966" y="445945"/>
                    <a:pt x="200076" y="424355"/>
                    <a:pt x="201346" y="404035"/>
                  </a:cubicBezTo>
                  <a:close/>
                  <a:moveTo>
                    <a:pt x="424866" y="139875"/>
                  </a:moveTo>
                  <a:cubicBezTo>
                    <a:pt x="413436" y="53515"/>
                    <a:pt x="334696" y="68120"/>
                    <a:pt x="334061" y="151305"/>
                  </a:cubicBezTo>
                  <a:cubicBezTo>
                    <a:pt x="334061" y="216075"/>
                    <a:pt x="445821" y="205915"/>
                    <a:pt x="424866" y="139875"/>
                  </a:cubicBezTo>
                  <a:close/>
                  <a:moveTo>
                    <a:pt x="259131" y="467535"/>
                  </a:moveTo>
                  <a:cubicBezTo>
                    <a:pt x="194361" y="477060"/>
                    <a:pt x="205156" y="565960"/>
                    <a:pt x="274371" y="560880"/>
                  </a:cubicBezTo>
                  <a:cubicBezTo>
                    <a:pt x="332791" y="531035"/>
                    <a:pt x="342316" y="461185"/>
                    <a:pt x="259131" y="467535"/>
                  </a:cubicBezTo>
                  <a:close/>
                  <a:moveTo>
                    <a:pt x="410261" y="407210"/>
                  </a:moveTo>
                  <a:cubicBezTo>
                    <a:pt x="370891" y="406575"/>
                    <a:pt x="327711" y="466265"/>
                    <a:pt x="364541" y="497380"/>
                  </a:cubicBezTo>
                  <a:cubicBezTo>
                    <a:pt x="418516" y="538655"/>
                    <a:pt x="504876" y="406575"/>
                    <a:pt x="410261" y="407210"/>
                  </a:cubicBezTo>
                  <a:close/>
                  <a:moveTo>
                    <a:pt x="390576" y="483410"/>
                  </a:moveTo>
                  <a:cubicBezTo>
                    <a:pt x="351206" y="484680"/>
                    <a:pt x="389306" y="425625"/>
                    <a:pt x="413436" y="428165"/>
                  </a:cubicBezTo>
                  <a:cubicBezTo>
                    <a:pt x="455346" y="434515"/>
                    <a:pt x="410261" y="476425"/>
                    <a:pt x="390576" y="48341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2" name="Google Shape;65;p2">
              <a:extLst>
                <a:ext uri="{FF2B5EF4-FFF2-40B4-BE49-F238E27FC236}">
                  <a16:creationId xmlns:a16="http://schemas.microsoft.com/office/drawing/2014/main" id="{527558DB-1967-464C-A148-6CC493D60684}"/>
                </a:ext>
              </a:extLst>
            </p:cNvPr>
            <p:cNvSpPr/>
            <p:nvPr/>
          </p:nvSpPr>
          <p:spPr>
            <a:xfrm rot="1799564">
              <a:off x="7155158" y="4556613"/>
              <a:ext cx="351219" cy="440001"/>
            </a:xfrm>
            <a:custGeom>
              <a:avLst/>
              <a:gdLst/>
              <a:ahLst/>
              <a:cxnLst/>
              <a:rect l="l" t="t" r="r" b="b"/>
              <a:pathLst>
                <a:path w="408305" h="511517" extrusionOk="0">
                  <a:moveTo>
                    <a:pt x="89536" y="14843"/>
                  </a:moveTo>
                  <a:cubicBezTo>
                    <a:pt x="68580" y="20558"/>
                    <a:pt x="76200" y="45323"/>
                    <a:pt x="70486" y="61198"/>
                  </a:cubicBezTo>
                  <a:cubicBezTo>
                    <a:pt x="48261" y="207248"/>
                    <a:pt x="12700" y="352663"/>
                    <a:pt x="0" y="499348"/>
                  </a:cubicBezTo>
                  <a:cubicBezTo>
                    <a:pt x="80011" y="540623"/>
                    <a:pt x="333375" y="470138"/>
                    <a:pt x="377190" y="389493"/>
                  </a:cubicBezTo>
                  <a:cubicBezTo>
                    <a:pt x="321945" y="291068"/>
                    <a:pt x="245111" y="207248"/>
                    <a:pt x="178436" y="117078"/>
                  </a:cubicBezTo>
                  <a:cubicBezTo>
                    <a:pt x="146050" y="88503"/>
                    <a:pt x="130811" y="26273"/>
                    <a:pt x="89536" y="14843"/>
                  </a:cubicBezTo>
                  <a:close/>
                  <a:moveTo>
                    <a:pt x="344805" y="390763"/>
                  </a:moveTo>
                  <a:cubicBezTo>
                    <a:pt x="313055" y="461248"/>
                    <a:pt x="111761" y="499348"/>
                    <a:pt x="36830" y="494268"/>
                  </a:cubicBezTo>
                  <a:cubicBezTo>
                    <a:pt x="33655" y="423148"/>
                    <a:pt x="287655" y="318373"/>
                    <a:pt x="344805" y="390763"/>
                  </a:cubicBezTo>
                  <a:close/>
                  <a:moveTo>
                    <a:pt x="184150" y="362188"/>
                  </a:moveTo>
                  <a:cubicBezTo>
                    <a:pt x="176530" y="351393"/>
                    <a:pt x="170180" y="341868"/>
                    <a:pt x="161290" y="329803"/>
                  </a:cubicBezTo>
                  <a:cubicBezTo>
                    <a:pt x="150495" y="343773"/>
                    <a:pt x="154305" y="353933"/>
                    <a:pt x="156211" y="369808"/>
                  </a:cubicBezTo>
                  <a:cubicBezTo>
                    <a:pt x="114300" y="394573"/>
                    <a:pt x="70486" y="415528"/>
                    <a:pt x="33655" y="447913"/>
                  </a:cubicBezTo>
                  <a:cubicBezTo>
                    <a:pt x="18415" y="439023"/>
                    <a:pt x="32386" y="417433"/>
                    <a:pt x="31750" y="403463"/>
                  </a:cubicBezTo>
                  <a:cubicBezTo>
                    <a:pt x="55880" y="288528"/>
                    <a:pt x="65405" y="170418"/>
                    <a:pt x="95886" y="57388"/>
                  </a:cubicBezTo>
                  <a:cubicBezTo>
                    <a:pt x="111125" y="52308"/>
                    <a:pt x="112395" y="68183"/>
                    <a:pt x="118111" y="78978"/>
                  </a:cubicBezTo>
                  <a:cubicBezTo>
                    <a:pt x="111761" y="80883"/>
                    <a:pt x="104775" y="82153"/>
                    <a:pt x="97155" y="84693"/>
                  </a:cubicBezTo>
                  <a:cubicBezTo>
                    <a:pt x="99695" y="98663"/>
                    <a:pt x="100330" y="123428"/>
                    <a:pt x="120015" y="112633"/>
                  </a:cubicBezTo>
                  <a:cubicBezTo>
                    <a:pt x="121286" y="104378"/>
                    <a:pt x="123190" y="96123"/>
                    <a:pt x="124461" y="87233"/>
                  </a:cubicBezTo>
                  <a:cubicBezTo>
                    <a:pt x="189230" y="173593"/>
                    <a:pt x="263525" y="252968"/>
                    <a:pt x="317500" y="346948"/>
                  </a:cubicBezTo>
                  <a:cubicBezTo>
                    <a:pt x="271780" y="346313"/>
                    <a:pt x="229870" y="353933"/>
                    <a:pt x="184150" y="362188"/>
                  </a:cubicBezTo>
                  <a:close/>
                  <a:moveTo>
                    <a:pt x="326390" y="268208"/>
                  </a:moveTo>
                  <a:cubicBezTo>
                    <a:pt x="326390" y="285988"/>
                    <a:pt x="349250" y="302498"/>
                    <a:pt x="354330" y="321548"/>
                  </a:cubicBezTo>
                  <a:cubicBezTo>
                    <a:pt x="360680" y="330438"/>
                    <a:pt x="370205" y="339328"/>
                    <a:pt x="382270" y="330438"/>
                  </a:cubicBezTo>
                  <a:cubicBezTo>
                    <a:pt x="373380" y="307578"/>
                    <a:pt x="350520" y="297418"/>
                    <a:pt x="344805" y="272018"/>
                  </a:cubicBezTo>
                  <a:cubicBezTo>
                    <a:pt x="341630" y="264398"/>
                    <a:pt x="332740" y="265033"/>
                    <a:pt x="326390" y="268208"/>
                  </a:cubicBezTo>
                  <a:close/>
                  <a:moveTo>
                    <a:pt x="160020" y="26908"/>
                  </a:moveTo>
                  <a:cubicBezTo>
                    <a:pt x="147320" y="1508"/>
                    <a:pt x="137161" y="-8652"/>
                    <a:pt x="119380" y="8493"/>
                  </a:cubicBezTo>
                  <a:cubicBezTo>
                    <a:pt x="132715" y="18653"/>
                    <a:pt x="144145" y="46593"/>
                    <a:pt x="160020" y="26908"/>
                  </a:cubicBezTo>
                  <a:close/>
                  <a:moveTo>
                    <a:pt x="280670" y="188198"/>
                  </a:moveTo>
                  <a:cubicBezTo>
                    <a:pt x="285115" y="164068"/>
                    <a:pt x="281305" y="158353"/>
                    <a:pt x="252730" y="155813"/>
                  </a:cubicBezTo>
                  <a:cubicBezTo>
                    <a:pt x="259080" y="172323"/>
                    <a:pt x="266700" y="182483"/>
                    <a:pt x="280670" y="188198"/>
                  </a:cubicBezTo>
                  <a:close/>
                  <a:moveTo>
                    <a:pt x="245111" y="131683"/>
                  </a:moveTo>
                  <a:cubicBezTo>
                    <a:pt x="254636" y="116443"/>
                    <a:pt x="235586" y="105648"/>
                    <a:pt x="218440" y="110093"/>
                  </a:cubicBezTo>
                  <a:cubicBezTo>
                    <a:pt x="226061" y="126603"/>
                    <a:pt x="231775" y="138033"/>
                    <a:pt x="245111" y="131683"/>
                  </a:cubicBezTo>
                  <a:close/>
                  <a:moveTo>
                    <a:pt x="290830" y="209788"/>
                  </a:moveTo>
                  <a:cubicBezTo>
                    <a:pt x="284480" y="219313"/>
                    <a:pt x="295275" y="227568"/>
                    <a:pt x="300990" y="234553"/>
                  </a:cubicBezTo>
                  <a:cubicBezTo>
                    <a:pt x="328295" y="239633"/>
                    <a:pt x="310515" y="205343"/>
                    <a:pt x="290830" y="209788"/>
                  </a:cubicBezTo>
                  <a:close/>
                  <a:moveTo>
                    <a:pt x="202565" y="76438"/>
                  </a:moveTo>
                  <a:cubicBezTo>
                    <a:pt x="202565" y="63103"/>
                    <a:pt x="183515" y="56118"/>
                    <a:pt x="176530" y="65643"/>
                  </a:cubicBezTo>
                  <a:cubicBezTo>
                    <a:pt x="174625" y="77708"/>
                    <a:pt x="193040" y="87233"/>
                    <a:pt x="202565" y="76438"/>
                  </a:cubicBezTo>
                  <a:close/>
                  <a:moveTo>
                    <a:pt x="389890" y="366633"/>
                  </a:moveTo>
                  <a:cubicBezTo>
                    <a:pt x="393700" y="375523"/>
                    <a:pt x="399415" y="371078"/>
                    <a:pt x="408305" y="366633"/>
                  </a:cubicBezTo>
                  <a:cubicBezTo>
                    <a:pt x="398145" y="357743"/>
                    <a:pt x="395605" y="355838"/>
                    <a:pt x="389890" y="366633"/>
                  </a:cubicBezTo>
                  <a:close/>
                  <a:moveTo>
                    <a:pt x="119380" y="157718"/>
                  </a:moveTo>
                  <a:cubicBezTo>
                    <a:pt x="102870" y="164703"/>
                    <a:pt x="128905" y="203438"/>
                    <a:pt x="139700" y="179308"/>
                  </a:cubicBezTo>
                  <a:cubicBezTo>
                    <a:pt x="134620" y="170418"/>
                    <a:pt x="132715" y="155178"/>
                    <a:pt x="119380" y="157718"/>
                  </a:cubicBezTo>
                  <a:close/>
                  <a:moveTo>
                    <a:pt x="146686" y="244078"/>
                  </a:moveTo>
                  <a:cubicBezTo>
                    <a:pt x="157480" y="238998"/>
                    <a:pt x="151130" y="216773"/>
                    <a:pt x="139700" y="214868"/>
                  </a:cubicBezTo>
                  <a:cubicBezTo>
                    <a:pt x="126365" y="219313"/>
                    <a:pt x="131445" y="247888"/>
                    <a:pt x="146686" y="244078"/>
                  </a:cubicBezTo>
                  <a:close/>
                  <a:moveTo>
                    <a:pt x="142875" y="287258"/>
                  </a:moveTo>
                  <a:cubicBezTo>
                    <a:pt x="142875" y="305673"/>
                    <a:pt x="164465" y="305673"/>
                    <a:pt x="163195" y="289798"/>
                  </a:cubicBezTo>
                  <a:cubicBezTo>
                    <a:pt x="161290" y="275828"/>
                    <a:pt x="147320" y="277098"/>
                    <a:pt x="142875" y="287258"/>
                  </a:cubicBezTo>
                  <a:close/>
                  <a:moveTo>
                    <a:pt x="172086" y="402193"/>
                  </a:moveTo>
                  <a:cubicBezTo>
                    <a:pt x="160655" y="407908"/>
                    <a:pt x="168911" y="423783"/>
                    <a:pt x="180975" y="426323"/>
                  </a:cubicBezTo>
                  <a:cubicBezTo>
                    <a:pt x="191136" y="415528"/>
                    <a:pt x="185420" y="402193"/>
                    <a:pt x="172086" y="402193"/>
                  </a:cubicBezTo>
                  <a:close/>
                  <a:moveTo>
                    <a:pt x="187961" y="447913"/>
                  </a:moveTo>
                  <a:cubicBezTo>
                    <a:pt x="184786" y="451088"/>
                    <a:pt x="182245" y="453628"/>
                    <a:pt x="180340" y="456168"/>
                  </a:cubicBezTo>
                  <a:cubicBezTo>
                    <a:pt x="187961" y="468868"/>
                    <a:pt x="201930" y="458073"/>
                    <a:pt x="187961" y="44791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43" name="Google Shape;66;p2">
              <a:extLst>
                <a:ext uri="{FF2B5EF4-FFF2-40B4-BE49-F238E27FC236}">
                  <a16:creationId xmlns:a16="http://schemas.microsoft.com/office/drawing/2014/main" id="{6696EF14-D5CC-40FA-AFFE-9EE05B54F2CD}"/>
                </a:ext>
              </a:extLst>
            </p:cNvPr>
            <p:cNvGrpSpPr/>
            <p:nvPr/>
          </p:nvGrpSpPr>
          <p:grpSpPr>
            <a:xfrm>
              <a:off x="7413193" y="740389"/>
              <a:ext cx="289739" cy="482318"/>
              <a:chOff x="4912930" y="846902"/>
              <a:chExt cx="289739" cy="482318"/>
            </a:xfrm>
          </p:grpSpPr>
          <p:sp>
            <p:nvSpPr>
              <p:cNvPr id="84" name="Google Shape;67;p2">
                <a:extLst>
                  <a:ext uri="{FF2B5EF4-FFF2-40B4-BE49-F238E27FC236}">
                    <a16:creationId xmlns:a16="http://schemas.microsoft.com/office/drawing/2014/main" id="{B789A9D7-7032-492B-8E88-FAAFF213085F}"/>
                  </a:ext>
                </a:extLst>
              </p:cNvPr>
              <p:cNvSpPr/>
              <p:nvPr/>
            </p:nvSpPr>
            <p:spPr>
              <a:xfrm rot="-539734">
                <a:off x="4946894" y="1102828"/>
                <a:ext cx="216728" cy="210745"/>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5" name="Google Shape;68;p2">
                <a:extLst>
                  <a:ext uri="{FF2B5EF4-FFF2-40B4-BE49-F238E27FC236}">
                    <a16:creationId xmlns:a16="http://schemas.microsoft.com/office/drawing/2014/main" id="{04D6CFDC-9538-4D9F-8FF0-4602FECC44E8}"/>
                  </a:ext>
                </a:extLst>
              </p:cNvPr>
              <p:cNvSpPr/>
              <p:nvPr/>
            </p:nvSpPr>
            <p:spPr>
              <a:xfrm>
                <a:off x="4912930" y="846902"/>
                <a:ext cx="289739" cy="456235"/>
              </a:xfrm>
              <a:custGeom>
                <a:avLst/>
                <a:gdLst/>
                <a:ahLst/>
                <a:cxnLst/>
                <a:rect l="l" t="t" r="r" b="b"/>
                <a:pathLst>
                  <a:path w="336906" h="530506" extrusionOk="0">
                    <a:moveTo>
                      <a:pt x="136525" y="96168"/>
                    </a:moveTo>
                    <a:cubicBezTo>
                      <a:pt x="113030" y="223803"/>
                      <a:pt x="24130" y="329848"/>
                      <a:pt x="0" y="458118"/>
                    </a:cubicBezTo>
                    <a:cubicBezTo>
                      <a:pt x="60960" y="713388"/>
                      <a:pt x="264795" y="217453"/>
                      <a:pt x="278765" y="141253"/>
                    </a:cubicBezTo>
                    <a:cubicBezTo>
                      <a:pt x="291465" y="75213"/>
                      <a:pt x="152400" y="18698"/>
                      <a:pt x="136525" y="96168"/>
                    </a:cubicBezTo>
                    <a:close/>
                    <a:moveTo>
                      <a:pt x="69850" y="504473"/>
                    </a:moveTo>
                    <a:cubicBezTo>
                      <a:pt x="-16510" y="531778"/>
                      <a:pt x="43815" y="378743"/>
                      <a:pt x="63500" y="342548"/>
                    </a:cubicBezTo>
                    <a:cubicBezTo>
                      <a:pt x="111760" y="336833"/>
                      <a:pt x="138430" y="339373"/>
                      <a:pt x="164465" y="352073"/>
                    </a:cubicBezTo>
                    <a:cubicBezTo>
                      <a:pt x="137795" y="404778"/>
                      <a:pt x="107315" y="458753"/>
                      <a:pt x="69850" y="504473"/>
                    </a:cubicBezTo>
                    <a:close/>
                    <a:moveTo>
                      <a:pt x="182245" y="318418"/>
                    </a:moveTo>
                    <a:cubicBezTo>
                      <a:pt x="149860" y="327308"/>
                      <a:pt x="116205" y="321593"/>
                      <a:pt x="80645" y="319053"/>
                    </a:cubicBezTo>
                    <a:cubicBezTo>
                      <a:pt x="100330" y="253013"/>
                      <a:pt x="133350" y="192053"/>
                      <a:pt x="159385" y="127918"/>
                    </a:cubicBezTo>
                    <a:cubicBezTo>
                      <a:pt x="189230" y="139348"/>
                      <a:pt x="217170" y="150143"/>
                      <a:pt x="245110" y="161573"/>
                    </a:cubicBezTo>
                    <a:cubicBezTo>
                      <a:pt x="244475" y="190148"/>
                      <a:pt x="216535" y="259998"/>
                      <a:pt x="182245" y="318418"/>
                    </a:cubicBezTo>
                    <a:close/>
                    <a:moveTo>
                      <a:pt x="248285" y="134268"/>
                    </a:moveTo>
                    <a:cubicBezTo>
                      <a:pt x="222885" y="140618"/>
                      <a:pt x="121920" y="93628"/>
                      <a:pt x="187960" y="80928"/>
                    </a:cubicBezTo>
                    <a:cubicBezTo>
                      <a:pt x="208915" y="83468"/>
                      <a:pt x="281940" y="105693"/>
                      <a:pt x="248285" y="134268"/>
                    </a:cubicBezTo>
                    <a:close/>
                    <a:moveTo>
                      <a:pt x="295275" y="283"/>
                    </a:moveTo>
                    <a:cubicBezTo>
                      <a:pt x="224155" y="-6067"/>
                      <a:pt x="259715" y="96803"/>
                      <a:pt x="311785" y="73308"/>
                    </a:cubicBezTo>
                    <a:cubicBezTo>
                      <a:pt x="353695" y="53623"/>
                      <a:pt x="339725" y="-1622"/>
                      <a:pt x="295275" y="283"/>
                    </a:cubicBezTo>
                    <a:close/>
                    <a:moveTo>
                      <a:pt x="274320" y="30763"/>
                    </a:moveTo>
                    <a:cubicBezTo>
                      <a:pt x="290830" y="26318"/>
                      <a:pt x="303530" y="14253"/>
                      <a:pt x="317500" y="26318"/>
                    </a:cubicBezTo>
                    <a:cubicBezTo>
                      <a:pt x="329565" y="56163"/>
                      <a:pt x="273685" y="75848"/>
                      <a:pt x="274320" y="30763"/>
                    </a:cubicBezTo>
                    <a:close/>
                    <a:moveTo>
                      <a:pt x="210820" y="187608"/>
                    </a:moveTo>
                    <a:cubicBezTo>
                      <a:pt x="212090" y="151413"/>
                      <a:pt x="158115" y="146333"/>
                      <a:pt x="156210" y="186338"/>
                    </a:cubicBezTo>
                    <a:cubicBezTo>
                      <a:pt x="155575" y="216183"/>
                      <a:pt x="209550" y="217453"/>
                      <a:pt x="210820" y="187608"/>
                    </a:cubicBezTo>
                    <a:close/>
                    <a:moveTo>
                      <a:pt x="187960" y="180623"/>
                    </a:moveTo>
                    <a:cubicBezTo>
                      <a:pt x="193040" y="185068"/>
                      <a:pt x="189230" y="186973"/>
                      <a:pt x="186055" y="190783"/>
                    </a:cubicBezTo>
                    <a:cubicBezTo>
                      <a:pt x="179705" y="185068"/>
                      <a:pt x="183515" y="184433"/>
                      <a:pt x="187960" y="180623"/>
                    </a:cubicBezTo>
                    <a:close/>
                    <a:moveTo>
                      <a:pt x="167005" y="229518"/>
                    </a:moveTo>
                    <a:cubicBezTo>
                      <a:pt x="139700" y="230153"/>
                      <a:pt x="128270" y="275873"/>
                      <a:pt x="164465" y="276508"/>
                    </a:cubicBezTo>
                    <a:cubicBezTo>
                      <a:pt x="196215" y="277143"/>
                      <a:pt x="193675" y="232058"/>
                      <a:pt x="167005" y="22951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44" name="Google Shape;69;p2">
              <a:extLst>
                <a:ext uri="{FF2B5EF4-FFF2-40B4-BE49-F238E27FC236}">
                  <a16:creationId xmlns:a16="http://schemas.microsoft.com/office/drawing/2014/main" id="{FF13580C-CB14-4338-9AB3-16D33D789C93}"/>
                </a:ext>
              </a:extLst>
            </p:cNvPr>
            <p:cNvSpPr/>
            <p:nvPr/>
          </p:nvSpPr>
          <p:spPr>
            <a:xfrm>
              <a:off x="7082287" y="-53997"/>
              <a:ext cx="602898" cy="641121"/>
            </a:xfrm>
            <a:custGeom>
              <a:avLst/>
              <a:gdLst/>
              <a:ahLst/>
              <a:cxnLst/>
              <a:rect l="l" t="t" r="r" b="b"/>
              <a:pathLst>
                <a:path w="701044" h="745490" extrusionOk="0">
                  <a:moveTo>
                    <a:pt x="690343" y="116840"/>
                  </a:moveTo>
                  <a:cubicBezTo>
                    <a:pt x="663037" y="55245"/>
                    <a:pt x="674468" y="90170"/>
                    <a:pt x="624302" y="72390"/>
                  </a:cubicBezTo>
                  <a:cubicBezTo>
                    <a:pt x="483968" y="55880"/>
                    <a:pt x="352522" y="0"/>
                    <a:pt x="209647" y="0"/>
                  </a:cubicBezTo>
                  <a:cubicBezTo>
                    <a:pt x="-38003" y="735330"/>
                    <a:pt x="-186592" y="579120"/>
                    <a:pt x="475712" y="745490"/>
                  </a:cubicBezTo>
                  <a:cubicBezTo>
                    <a:pt x="548102" y="622935"/>
                    <a:pt x="579218" y="475615"/>
                    <a:pt x="631922" y="342900"/>
                  </a:cubicBezTo>
                  <a:cubicBezTo>
                    <a:pt x="640812" y="299720"/>
                    <a:pt x="731618" y="134620"/>
                    <a:pt x="690343" y="116840"/>
                  </a:cubicBezTo>
                  <a:close/>
                  <a:moveTo>
                    <a:pt x="219172" y="41275"/>
                  </a:moveTo>
                  <a:cubicBezTo>
                    <a:pt x="230602" y="-11430"/>
                    <a:pt x="585568" y="92075"/>
                    <a:pt x="641447" y="107950"/>
                  </a:cubicBezTo>
                  <a:cubicBezTo>
                    <a:pt x="585568" y="295910"/>
                    <a:pt x="517622" y="479425"/>
                    <a:pt x="438247" y="658495"/>
                  </a:cubicBezTo>
                  <a:cubicBezTo>
                    <a:pt x="294102" y="639445"/>
                    <a:pt x="169643" y="583565"/>
                    <a:pt x="30577" y="553085"/>
                  </a:cubicBezTo>
                  <a:cubicBezTo>
                    <a:pt x="79472" y="377190"/>
                    <a:pt x="160118" y="213995"/>
                    <a:pt x="219172" y="41275"/>
                  </a:cubicBezTo>
                  <a:close/>
                  <a:moveTo>
                    <a:pt x="612872" y="333375"/>
                  </a:moveTo>
                  <a:cubicBezTo>
                    <a:pt x="569058" y="462280"/>
                    <a:pt x="518893" y="588010"/>
                    <a:pt x="469997" y="715645"/>
                  </a:cubicBezTo>
                  <a:cubicBezTo>
                    <a:pt x="320772" y="690245"/>
                    <a:pt x="174087" y="657860"/>
                    <a:pt x="30577" y="610235"/>
                  </a:cubicBezTo>
                  <a:cubicBezTo>
                    <a:pt x="24227" y="600710"/>
                    <a:pt x="22958" y="591820"/>
                    <a:pt x="30577" y="581660"/>
                  </a:cubicBezTo>
                  <a:cubicBezTo>
                    <a:pt x="151227" y="589915"/>
                    <a:pt x="265527" y="648335"/>
                    <a:pt x="384272" y="674370"/>
                  </a:cubicBezTo>
                  <a:cubicBezTo>
                    <a:pt x="461108" y="708025"/>
                    <a:pt x="464283" y="661035"/>
                    <a:pt x="487143" y="600710"/>
                  </a:cubicBezTo>
                  <a:cubicBezTo>
                    <a:pt x="563343" y="445770"/>
                    <a:pt x="599537" y="280035"/>
                    <a:pt x="664943" y="121920"/>
                  </a:cubicBezTo>
                  <a:cubicBezTo>
                    <a:pt x="691612" y="187960"/>
                    <a:pt x="622397" y="264795"/>
                    <a:pt x="612872" y="333375"/>
                  </a:cubicBezTo>
                  <a:close/>
                  <a:moveTo>
                    <a:pt x="533497" y="298450"/>
                  </a:moveTo>
                  <a:cubicBezTo>
                    <a:pt x="540483" y="255270"/>
                    <a:pt x="596362" y="196850"/>
                    <a:pt x="565883" y="157480"/>
                  </a:cubicBezTo>
                  <a:cubicBezTo>
                    <a:pt x="503018" y="130810"/>
                    <a:pt x="431262" y="120650"/>
                    <a:pt x="363952" y="105410"/>
                  </a:cubicBezTo>
                  <a:cubicBezTo>
                    <a:pt x="329662" y="93980"/>
                    <a:pt x="291562" y="78105"/>
                    <a:pt x="254733" y="90805"/>
                  </a:cubicBezTo>
                  <a:cubicBezTo>
                    <a:pt x="231872" y="146685"/>
                    <a:pt x="221712" y="208280"/>
                    <a:pt x="191233" y="264160"/>
                  </a:cubicBezTo>
                  <a:cubicBezTo>
                    <a:pt x="285847" y="318135"/>
                    <a:pt x="410308" y="321310"/>
                    <a:pt x="511908" y="368300"/>
                  </a:cubicBezTo>
                  <a:cubicBezTo>
                    <a:pt x="534768" y="354965"/>
                    <a:pt x="522702" y="320040"/>
                    <a:pt x="533497" y="298450"/>
                  </a:cubicBezTo>
                  <a:close/>
                  <a:moveTo>
                    <a:pt x="224252" y="257175"/>
                  </a:moveTo>
                  <a:cubicBezTo>
                    <a:pt x="268702" y="73025"/>
                    <a:pt x="257272" y="105410"/>
                    <a:pt x="427452" y="140335"/>
                  </a:cubicBezTo>
                  <a:cubicBezTo>
                    <a:pt x="619222" y="183515"/>
                    <a:pt x="536037" y="178435"/>
                    <a:pt x="504287" y="334010"/>
                  </a:cubicBezTo>
                  <a:cubicBezTo>
                    <a:pt x="408402" y="320040"/>
                    <a:pt x="312518" y="288290"/>
                    <a:pt x="224252" y="257175"/>
                  </a:cubicBezTo>
                  <a:close/>
                  <a:moveTo>
                    <a:pt x="297912" y="153670"/>
                  </a:moveTo>
                  <a:cubicBezTo>
                    <a:pt x="239493" y="175260"/>
                    <a:pt x="427452" y="197485"/>
                    <a:pt x="442693" y="207645"/>
                  </a:cubicBezTo>
                  <a:cubicBezTo>
                    <a:pt x="456662" y="171450"/>
                    <a:pt x="325218" y="168275"/>
                    <a:pt x="297912" y="153670"/>
                  </a:cubicBezTo>
                  <a:close/>
                  <a:moveTo>
                    <a:pt x="280768" y="226060"/>
                  </a:moveTo>
                  <a:cubicBezTo>
                    <a:pt x="305533" y="227965"/>
                    <a:pt x="325852" y="247650"/>
                    <a:pt x="348077" y="226695"/>
                  </a:cubicBezTo>
                  <a:cubicBezTo>
                    <a:pt x="327122" y="221615"/>
                    <a:pt x="259812" y="190500"/>
                    <a:pt x="280768" y="2260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5" name="Google Shape;70;p2">
              <a:extLst>
                <a:ext uri="{FF2B5EF4-FFF2-40B4-BE49-F238E27FC236}">
                  <a16:creationId xmlns:a16="http://schemas.microsoft.com/office/drawing/2014/main" id="{E5A5B5C8-FD14-4385-AE28-FC4CE101CBF1}"/>
                </a:ext>
              </a:extLst>
            </p:cNvPr>
            <p:cNvSpPr/>
            <p:nvPr/>
          </p:nvSpPr>
          <p:spPr>
            <a:xfrm>
              <a:off x="4981978" y="271723"/>
              <a:ext cx="738779" cy="460515"/>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46" name="Google Shape;71;p2">
              <a:extLst>
                <a:ext uri="{FF2B5EF4-FFF2-40B4-BE49-F238E27FC236}">
                  <a16:creationId xmlns:a16="http://schemas.microsoft.com/office/drawing/2014/main" id="{EF0497D5-034D-4BED-B2FD-96D861FDF618}"/>
                </a:ext>
              </a:extLst>
            </p:cNvPr>
            <p:cNvGrpSpPr/>
            <p:nvPr/>
          </p:nvGrpSpPr>
          <p:grpSpPr>
            <a:xfrm>
              <a:off x="7801268" y="2011644"/>
              <a:ext cx="583849" cy="670195"/>
              <a:chOff x="7801268" y="2011644"/>
              <a:chExt cx="583849" cy="670195"/>
            </a:xfrm>
          </p:grpSpPr>
          <p:sp>
            <p:nvSpPr>
              <p:cNvPr id="82" name="Google Shape;72;p2">
                <a:extLst>
                  <a:ext uri="{FF2B5EF4-FFF2-40B4-BE49-F238E27FC236}">
                    <a16:creationId xmlns:a16="http://schemas.microsoft.com/office/drawing/2014/main" id="{17A26FFC-8348-4ABC-A812-F6E26FDB1B85}"/>
                  </a:ext>
                </a:extLst>
              </p:cNvPr>
              <p:cNvSpPr/>
              <p:nvPr/>
            </p:nvSpPr>
            <p:spPr>
              <a:xfrm rot="6678441">
                <a:off x="7840657" y="2123048"/>
                <a:ext cx="518922" cy="409425"/>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3" name="Google Shape;73;p2">
                <a:extLst>
                  <a:ext uri="{FF2B5EF4-FFF2-40B4-BE49-F238E27FC236}">
                    <a16:creationId xmlns:a16="http://schemas.microsoft.com/office/drawing/2014/main" id="{5BD01DDA-6970-4AD9-88E1-5EC430ADC778}"/>
                  </a:ext>
                </a:extLst>
              </p:cNvPr>
              <p:cNvSpPr/>
              <p:nvPr/>
            </p:nvSpPr>
            <p:spPr>
              <a:xfrm rot="-1245048">
                <a:off x="7884626" y="2097617"/>
                <a:ext cx="363919" cy="537176"/>
              </a:xfrm>
              <a:custGeom>
                <a:avLst/>
                <a:gdLst/>
                <a:ahLst/>
                <a:cxnLst/>
                <a:rect l="l" t="t" r="r" b="b"/>
                <a:pathLst>
                  <a:path w="422747" h="624012" extrusionOk="0">
                    <a:moveTo>
                      <a:pt x="410845" y="259621"/>
                    </a:moveTo>
                    <a:cubicBezTo>
                      <a:pt x="398145" y="183421"/>
                      <a:pt x="422275" y="81821"/>
                      <a:pt x="377825" y="18321"/>
                    </a:cubicBezTo>
                    <a:cubicBezTo>
                      <a:pt x="294640" y="-22319"/>
                      <a:pt x="191770" y="15781"/>
                      <a:pt x="103505" y="26576"/>
                    </a:cubicBezTo>
                    <a:cubicBezTo>
                      <a:pt x="76836" y="36101"/>
                      <a:pt x="38100" y="32291"/>
                      <a:pt x="17780" y="51976"/>
                    </a:cubicBezTo>
                    <a:cubicBezTo>
                      <a:pt x="17145" y="62771"/>
                      <a:pt x="5715" y="62771"/>
                      <a:pt x="0" y="72931"/>
                    </a:cubicBezTo>
                    <a:cubicBezTo>
                      <a:pt x="19686" y="229776"/>
                      <a:pt x="7620" y="389161"/>
                      <a:pt x="13970" y="547276"/>
                    </a:cubicBezTo>
                    <a:cubicBezTo>
                      <a:pt x="-6350" y="657766"/>
                      <a:pt x="162561" y="615856"/>
                      <a:pt x="227330" y="617761"/>
                    </a:cubicBezTo>
                    <a:cubicBezTo>
                      <a:pt x="270511" y="592361"/>
                      <a:pt x="426086" y="628556"/>
                      <a:pt x="422275" y="570771"/>
                    </a:cubicBezTo>
                    <a:cubicBezTo>
                      <a:pt x="424815" y="467266"/>
                      <a:pt x="416561" y="363126"/>
                      <a:pt x="410845" y="259621"/>
                    </a:cubicBezTo>
                    <a:close/>
                    <a:moveTo>
                      <a:pt x="353061" y="579026"/>
                    </a:moveTo>
                    <a:cubicBezTo>
                      <a:pt x="288925" y="577121"/>
                      <a:pt x="60961" y="637446"/>
                      <a:pt x="38736" y="575851"/>
                    </a:cubicBezTo>
                    <a:cubicBezTo>
                      <a:pt x="143511" y="579026"/>
                      <a:pt x="248286" y="572676"/>
                      <a:pt x="353061" y="574581"/>
                    </a:cubicBezTo>
                    <a:cubicBezTo>
                      <a:pt x="353061" y="575851"/>
                      <a:pt x="353061" y="577121"/>
                      <a:pt x="353061" y="579026"/>
                    </a:cubicBezTo>
                    <a:close/>
                    <a:moveTo>
                      <a:pt x="361315" y="547911"/>
                    </a:moveTo>
                    <a:cubicBezTo>
                      <a:pt x="252095" y="555531"/>
                      <a:pt x="144145" y="561881"/>
                      <a:pt x="35561" y="551086"/>
                    </a:cubicBezTo>
                    <a:cubicBezTo>
                      <a:pt x="39370" y="392971"/>
                      <a:pt x="33020" y="236761"/>
                      <a:pt x="27305" y="79281"/>
                    </a:cubicBezTo>
                    <a:cubicBezTo>
                      <a:pt x="112395" y="27846"/>
                      <a:pt x="231775" y="25941"/>
                      <a:pt x="329565" y="25941"/>
                    </a:cubicBezTo>
                    <a:cubicBezTo>
                      <a:pt x="369570" y="197391"/>
                      <a:pt x="365761" y="373286"/>
                      <a:pt x="361315" y="547911"/>
                    </a:cubicBezTo>
                    <a:close/>
                    <a:moveTo>
                      <a:pt x="377190" y="141511"/>
                    </a:moveTo>
                    <a:cubicBezTo>
                      <a:pt x="360045" y="110396"/>
                      <a:pt x="364490" y="76106"/>
                      <a:pt x="356870" y="41816"/>
                    </a:cubicBezTo>
                    <a:cubicBezTo>
                      <a:pt x="381000" y="13241"/>
                      <a:pt x="381000" y="121826"/>
                      <a:pt x="377190" y="141511"/>
                    </a:cubicBezTo>
                    <a:close/>
                    <a:moveTo>
                      <a:pt x="397511" y="544736"/>
                    </a:moveTo>
                    <a:cubicBezTo>
                      <a:pt x="372745" y="497746"/>
                      <a:pt x="394336" y="431071"/>
                      <a:pt x="387350" y="376461"/>
                    </a:cubicBezTo>
                    <a:cubicBezTo>
                      <a:pt x="401955" y="370746"/>
                      <a:pt x="402590" y="530766"/>
                      <a:pt x="397511" y="544736"/>
                    </a:cubicBezTo>
                    <a:close/>
                    <a:moveTo>
                      <a:pt x="302895" y="182786"/>
                    </a:moveTo>
                    <a:cubicBezTo>
                      <a:pt x="313690" y="183421"/>
                      <a:pt x="331470" y="173896"/>
                      <a:pt x="320675" y="162466"/>
                    </a:cubicBezTo>
                    <a:cubicBezTo>
                      <a:pt x="297180" y="138336"/>
                      <a:pt x="309880" y="104046"/>
                      <a:pt x="300355" y="74836"/>
                    </a:cubicBezTo>
                    <a:cubicBezTo>
                      <a:pt x="307340" y="35466"/>
                      <a:pt x="90170" y="76741"/>
                      <a:pt x="59690" y="81821"/>
                    </a:cubicBezTo>
                    <a:cubicBezTo>
                      <a:pt x="48261" y="119921"/>
                      <a:pt x="77470" y="152941"/>
                      <a:pt x="62865" y="194851"/>
                    </a:cubicBezTo>
                    <a:cubicBezTo>
                      <a:pt x="148590" y="206916"/>
                      <a:pt x="211455" y="177071"/>
                      <a:pt x="302895" y="182786"/>
                    </a:cubicBezTo>
                    <a:close/>
                    <a:moveTo>
                      <a:pt x="282575" y="83091"/>
                    </a:moveTo>
                    <a:cubicBezTo>
                      <a:pt x="292100" y="105316"/>
                      <a:pt x="287655" y="127541"/>
                      <a:pt x="290830" y="149131"/>
                    </a:cubicBezTo>
                    <a:cubicBezTo>
                      <a:pt x="227965" y="172626"/>
                      <a:pt x="154940" y="172626"/>
                      <a:pt x="87630" y="174531"/>
                    </a:cubicBezTo>
                    <a:cubicBezTo>
                      <a:pt x="75565" y="151671"/>
                      <a:pt x="83820" y="128176"/>
                      <a:pt x="72390" y="104046"/>
                    </a:cubicBezTo>
                    <a:cubicBezTo>
                      <a:pt x="140970" y="86266"/>
                      <a:pt x="212725" y="81821"/>
                      <a:pt x="282575" y="83091"/>
                    </a:cubicBezTo>
                    <a:close/>
                    <a:moveTo>
                      <a:pt x="274955" y="383446"/>
                    </a:moveTo>
                    <a:cubicBezTo>
                      <a:pt x="257811" y="411386"/>
                      <a:pt x="281305" y="441866"/>
                      <a:pt x="268605" y="477426"/>
                    </a:cubicBezTo>
                    <a:cubicBezTo>
                      <a:pt x="244475" y="452026"/>
                      <a:pt x="215900" y="479331"/>
                      <a:pt x="189865" y="461551"/>
                    </a:cubicBezTo>
                    <a:cubicBezTo>
                      <a:pt x="175261" y="454566"/>
                      <a:pt x="163195" y="458376"/>
                      <a:pt x="153036" y="471076"/>
                    </a:cubicBezTo>
                    <a:cubicBezTo>
                      <a:pt x="159386" y="509176"/>
                      <a:pt x="156845" y="525686"/>
                      <a:pt x="204470" y="518066"/>
                    </a:cubicBezTo>
                    <a:cubicBezTo>
                      <a:pt x="208280" y="509811"/>
                      <a:pt x="212725" y="500921"/>
                      <a:pt x="218440" y="490761"/>
                    </a:cubicBezTo>
                    <a:cubicBezTo>
                      <a:pt x="223520" y="501556"/>
                      <a:pt x="227330" y="510446"/>
                      <a:pt x="232411" y="521241"/>
                    </a:cubicBezTo>
                    <a:cubicBezTo>
                      <a:pt x="243840" y="517431"/>
                      <a:pt x="253365" y="513621"/>
                      <a:pt x="263525" y="510446"/>
                    </a:cubicBezTo>
                    <a:cubicBezTo>
                      <a:pt x="290195" y="526321"/>
                      <a:pt x="290195" y="526321"/>
                      <a:pt x="328295" y="509811"/>
                    </a:cubicBezTo>
                    <a:cubicBezTo>
                      <a:pt x="327661" y="468536"/>
                      <a:pt x="347345" y="349791"/>
                      <a:pt x="274955" y="383446"/>
                    </a:cubicBezTo>
                    <a:close/>
                    <a:moveTo>
                      <a:pt x="193040" y="500921"/>
                    </a:moveTo>
                    <a:cubicBezTo>
                      <a:pt x="177800" y="500921"/>
                      <a:pt x="173990" y="498381"/>
                      <a:pt x="173355" y="489491"/>
                    </a:cubicBezTo>
                    <a:cubicBezTo>
                      <a:pt x="176530" y="469806"/>
                      <a:pt x="203836" y="475521"/>
                      <a:pt x="193040" y="500921"/>
                    </a:cubicBezTo>
                    <a:close/>
                    <a:moveTo>
                      <a:pt x="309245" y="497111"/>
                    </a:moveTo>
                    <a:cubicBezTo>
                      <a:pt x="302261" y="498381"/>
                      <a:pt x="296545" y="499016"/>
                      <a:pt x="290830" y="499651"/>
                    </a:cubicBezTo>
                    <a:cubicBezTo>
                      <a:pt x="267970" y="379636"/>
                      <a:pt x="323215" y="357411"/>
                      <a:pt x="309245" y="497111"/>
                    </a:cubicBezTo>
                    <a:close/>
                    <a:moveTo>
                      <a:pt x="296545" y="210091"/>
                    </a:moveTo>
                    <a:cubicBezTo>
                      <a:pt x="233680" y="208186"/>
                      <a:pt x="267970" y="301531"/>
                      <a:pt x="319405" y="275496"/>
                    </a:cubicBezTo>
                    <a:cubicBezTo>
                      <a:pt x="336550" y="264066"/>
                      <a:pt x="332740" y="203741"/>
                      <a:pt x="296545" y="210091"/>
                    </a:cubicBezTo>
                    <a:close/>
                    <a:moveTo>
                      <a:pt x="297815" y="259621"/>
                    </a:moveTo>
                    <a:cubicBezTo>
                      <a:pt x="281940" y="260891"/>
                      <a:pt x="273050" y="230411"/>
                      <a:pt x="294640" y="229141"/>
                    </a:cubicBezTo>
                    <a:cubicBezTo>
                      <a:pt x="314961" y="225331"/>
                      <a:pt x="313690" y="259621"/>
                      <a:pt x="297815" y="259621"/>
                    </a:cubicBezTo>
                    <a:close/>
                    <a:moveTo>
                      <a:pt x="244475" y="359316"/>
                    </a:moveTo>
                    <a:cubicBezTo>
                      <a:pt x="244475" y="342171"/>
                      <a:pt x="245111" y="327566"/>
                      <a:pt x="244475" y="312961"/>
                    </a:cubicBezTo>
                    <a:cubicBezTo>
                      <a:pt x="243205" y="288196"/>
                      <a:pt x="198120" y="286926"/>
                      <a:pt x="201930" y="315501"/>
                    </a:cubicBezTo>
                    <a:cubicBezTo>
                      <a:pt x="203836" y="344076"/>
                      <a:pt x="207645" y="372651"/>
                      <a:pt x="244475" y="359316"/>
                    </a:cubicBezTo>
                    <a:close/>
                    <a:moveTo>
                      <a:pt x="89536" y="305976"/>
                    </a:moveTo>
                    <a:cubicBezTo>
                      <a:pt x="83186" y="326296"/>
                      <a:pt x="95886" y="344711"/>
                      <a:pt x="95250" y="365666"/>
                    </a:cubicBezTo>
                    <a:cubicBezTo>
                      <a:pt x="164465" y="385986"/>
                      <a:pt x="142240" y="276131"/>
                      <a:pt x="89536" y="305976"/>
                    </a:cubicBezTo>
                    <a:close/>
                    <a:moveTo>
                      <a:pt x="111125" y="321851"/>
                    </a:moveTo>
                    <a:cubicBezTo>
                      <a:pt x="123190" y="324391"/>
                      <a:pt x="117475" y="335186"/>
                      <a:pt x="118745" y="345346"/>
                    </a:cubicBezTo>
                    <a:cubicBezTo>
                      <a:pt x="105411" y="341536"/>
                      <a:pt x="100965" y="326931"/>
                      <a:pt x="111125" y="321851"/>
                    </a:cubicBezTo>
                    <a:close/>
                    <a:moveTo>
                      <a:pt x="136525" y="446946"/>
                    </a:moveTo>
                    <a:cubicBezTo>
                      <a:pt x="143511" y="375191"/>
                      <a:pt x="60961" y="365031"/>
                      <a:pt x="86995" y="447581"/>
                    </a:cubicBezTo>
                    <a:cubicBezTo>
                      <a:pt x="114300" y="460916"/>
                      <a:pt x="114300" y="460916"/>
                      <a:pt x="136525" y="446946"/>
                    </a:cubicBezTo>
                    <a:close/>
                    <a:moveTo>
                      <a:pt x="100330" y="420911"/>
                    </a:moveTo>
                    <a:cubicBezTo>
                      <a:pt x="104775" y="394876"/>
                      <a:pt x="135255" y="420276"/>
                      <a:pt x="120650" y="436151"/>
                    </a:cubicBezTo>
                    <a:cubicBezTo>
                      <a:pt x="109220" y="446946"/>
                      <a:pt x="99061" y="432976"/>
                      <a:pt x="100330" y="420911"/>
                    </a:cubicBezTo>
                    <a:close/>
                    <a:moveTo>
                      <a:pt x="195580" y="443136"/>
                    </a:moveTo>
                    <a:cubicBezTo>
                      <a:pt x="203200" y="439961"/>
                      <a:pt x="205105" y="432341"/>
                      <a:pt x="201295" y="418371"/>
                    </a:cubicBezTo>
                    <a:cubicBezTo>
                      <a:pt x="196850" y="387891"/>
                      <a:pt x="176530" y="387891"/>
                      <a:pt x="149861" y="392336"/>
                    </a:cubicBezTo>
                    <a:cubicBezTo>
                      <a:pt x="140336" y="422181"/>
                      <a:pt x="160655" y="461551"/>
                      <a:pt x="195580" y="443136"/>
                    </a:cubicBezTo>
                    <a:close/>
                    <a:moveTo>
                      <a:pt x="167640" y="418371"/>
                    </a:moveTo>
                    <a:cubicBezTo>
                      <a:pt x="172086" y="406306"/>
                      <a:pt x="187961" y="408846"/>
                      <a:pt x="187961" y="424086"/>
                    </a:cubicBezTo>
                    <a:cubicBezTo>
                      <a:pt x="182245" y="432341"/>
                      <a:pt x="165736" y="429801"/>
                      <a:pt x="167640" y="418371"/>
                    </a:cubicBezTo>
                    <a:close/>
                    <a:moveTo>
                      <a:pt x="153670" y="298356"/>
                    </a:moveTo>
                    <a:cubicBezTo>
                      <a:pt x="156211" y="323756"/>
                      <a:pt x="149861" y="351696"/>
                      <a:pt x="179705" y="368206"/>
                    </a:cubicBezTo>
                    <a:cubicBezTo>
                      <a:pt x="205105" y="341536"/>
                      <a:pt x="201930" y="284386"/>
                      <a:pt x="153670" y="298356"/>
                    </a:cubicBezTo>
                    <a:close/>
                    <a:moveTo>
                      <a:pt x="281940" y="293276"/>
                    </a:moveTo>
                    <a:cubicBezTo>
                      <a:pt x="253365" y="305341"/>
                      <a:pt x="274955" y="359951"/>
                      <a:pt x="304165" y="356141"/>
                    </a:cubicBezTo>
                    <a:cubicBezTo>
                      <a:pt x="340995" y="335186"/>
                      <a:pt x="321311" y="295181"/>
                      <a:pt x="281940" y="293276"/>
                    </a:cubicBezTo>
                    <a:close/>
                    <a:moveTo>
                      <a:pt x="295911" y="331376"/>
                    </a:moveTo>
                    <a:cubicBezTo>
                      <a:pt x="282575" y="330741"/>
                      <a:pt x="287020" y="317406"/>
                      <a:pt x="297180" y="311691"/>
                    </a:cubicBezTo>
                    <a:cubicBezTo>
                      <a:pt x="304800" y="321216"/>
                      <a:pt x="306070" y="326931"/>
                      <a:pt x="295911" y="331376"/>
                    </a:cubicBezTo>
                    <a:close/>
                    <a:moveTo>
                      <a:pt x="123825" y="282481"/>
                    </a:moveTo>
                    <a:cubicBezTo>
                      <a:pt x="137795" y="226601"/>
                      <a:pt x="78740" y="200566"/>
                      <a:pt x="79375" y="252001"/>
                    </a:cubicBezTo>
                    <a:cubicBezTo>
                      <a:pt x="79375" y="279306"/>
                      <a:pt x="96520" y="290101"/>
                      <a:pt x="123825" y="282481"/>
                    </a:cubicBezTo>
                    <a:close/>
                    <a:moveTo>
                      <a:pt x="98425" y="248826"/>
                    </a:moveTo>
                    <a:cubicBezTo>
                      <a:pt x="99695" y="250096"/>
                      <a:pt x="100330" y="251366"/>
                      <a:pt x="101600" y="252636"/>
                    </a:cubicBezTo>
                    <a:cubicBezTo>
                      <a:pt x="100330" y="253906"/>
                      <a:pt x="99061" y="254541"/>
                      <a:pt x="97155" y="255811"/>
                    </a:cubicBezTo>
                    <a:cubicBezTo>
                      <a:pt x="94615" y="252636"/>
                      <a:pt x="97155" y="250731"/>
                      <a:pt x="98425" y="248826"/>
                    </a:cubicBezTo>
                    <a:close/>
                    <a:moveTo>
                      <a:pt x="92075" y="494571"/>
                    </a:moveTo>
                    <a:cubicBezTo>
                      <a:pt x="85090" y="528861"/>
                      <a:pt x="130811" y="542831"/>
                      <a:pt x="140336" y="509176"/>
                    </a:cubicBezTo>
                    <a:cubicBezTo>
                      <a:pt x="157480" y="470441"/>
                      <a:pt x="92075" y="442501"/>
                      <a:pt x="92075" y="494571"/>
                    </a:cubicBezTo>
                    <a:close/>
                    <a:moveTo>
                      <a:pt x="120650" y="509176"/>
                    </a:moveTo>
                    <a:cubicBezTo>
                      <a:pt x="103505" y="511081"/>
                      <a:pt x="111125" y="487586"/>
                      <a:pt x="123190" y="483141"/>
                    </a:cubicBezTo>
                    <a:cubicBezTo>
                      <a:pt x="133986" y="490126"/>
                      <a:pt x="130811" y="503461"/>
                      <a:pt x="120650" y="509176"/>
                    </a:cubicBezTo>
                    <a:close/>
                    <a:moveTo>
                      <a:pt x="202565" y="236126"/>
                    </a:moveTo>
                    <a:cubicBezTo>
                      <a:pt x="179070" y="285656"/>
                      <a:pt x="231140" y="297721"/>
                      <a:pt x="239395" y="257716"/>
                    </a:cubicBezTo>
                    <a:cubicBezTo>
                      <a:pt x="245111" y="238666"/>
                      <a:pt x="234315" y="207551"/>
                      <a:pt x="211455" y="216441"/>
                    </a:cubicBezTo>
                    <a:cubicBezTo>
                      <a:pt x="207011" y="231046"/>
                      <a:pt x="232411" y="231046"/>
                      <a:pt x="218440" y="250731"/>
                    </a:cubicBezTo>
                    <a:cubicBezTo>
                      <a:pt x="213995" y="245651"/>
                      <a:pt x="210186" y="242476"/>
                      <a:pt x="202565" y="236126"/>
                    </a:cubicBezTo>
                    <a:close/>
                    <a:moveTo>
                      <a:pt x="168911" y="271686"/>
                    </a:moveTo>
                    <a:cubicBezTo>
                      <a:pt x="217805" y="236126"/>
                      <a:pt x="125730" y="175801"/>
                      <a:pt x="143511" y="248826"/>
                    </a:cubicBezTo>
                    <a:cubicBezTo>
                      <a:pt x="134620" y="267241"/>
                      <a:pt x="151765" y="288831"/>
                      <a:pt x="168911" y="271686"/>
                    </a:cubicBezTo>
                    <a:close/>
                    <a:moveTo>
                      <a:pt x="161925" y="243111"/>
                    </a:moveTo>
                    <a:cubicBezTo>
                      <a:pt x="161290" y="244381"/>
                      <a:pt x="161290" y="245016"/>
                      <a:pt x="160655" y="246921"/>
                    </a:cubicBezTo>
                    <a:cubicBezTo>
                      <a:pt x="159386" y="243746"/>
                      <a:pt x="158750" y="243111"/>
                      <a:pt x="161925" y="243111"/>
                    </a:cubicBezTo>
                    <a:close/>
                    <a:moveTo>
                      <a:pt x="238125" y="450121"/>
                    </a:moveTo>
                    <a:cubicBezTo>
                      <a:pt x="280036" y="441866"/>
                      <a:pt x="257811" y="388526"/>
                      <a:pt x="221615" y="387256"/>
                    </a:cubicBezTo>
                    <a:cubicBezTo>
                      <a:pt x="212725" y="409481"/>
                      <a:pt x="210820" y="448216"/>
                      <a:pt x="238125" y="450121"/>
                    </a:cubicBezTo>
                    <a:close/>
                    <a:moveTo>
                      <a:pt x="241936" y="415831"/>
                    </a:moveTo>
                    <a:cubicBezTo>
                      <a:pt x="243840" y="417736"/>
                      <a:pt x="245745" y="419641"/>
                      <a:pt x="248920" y="422816"/>
                    </a:cubicBezTo>
                    <a:cubicBezTo>
                      <a:pt x="245111" y="425991"/>
                      <a:pt x="241936" y="427896"/>
                      <a:pt x="239395" y="429801"/>
                    </a:cubicBezTo>
                    <a:cubicBezTo>
                      <a:pt x="235586" y="424086"/>
                      <a:pt x="235586" y="420276"/>
                      <a:pt x="241936" y="415831"/>
                    </a:cubicBezTo>
                    <a:close/>
                    <a:moveTo>
                      <a:pt x="272415" y="107856"/>
                    </a:moveTo>
                    <a:cubicBezTo>
                      <a:pt x="263525" y="83091"/>
                      <a:pt x="234315" y="98966"/>
                      <a:pt x="234950" y="120556"/>
                    </a:cubicBezTo>
                    <a:cubicBezTo>
                      <a:pt x="233045" y="161196"/>
                      <a:pt x="292736" y="142781"/>
                      <a:pt x="272415" y="10785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47" name="Google Shape;74;p2">
              <a:extLst>
                <a:ext uri="{FF2B5EF4-FFF2-40B4-BE49-F238E27FC236}">
                  <a16:creationId xmlns:a16="http://schemas.microsoft.com/office/drawing/2014/main" id="{659C0682-6BC4-4294-943E-0123E3492480}"/>
                </a:ext>
              </a:extLst>
            </p:cNvPr>
            <p:cNvGrpSpPr/>
            <p:nvPr/>
          </p:nvGrpSpPr>
          <p:grpSpPr>
            <a:xfrm>
              <a:off x="286734" y="1360788"/>
              <a:ext cx="437027" cy="515682"/>
              <a:chOff x="286734" y="1360788"/>
              <a:chExt cx="437027" cy="515682"/>
            </a:xfrm>
          </p:grpSpPr>
          <p:sp>
            <p:nvSpPr>
              <p:cNvPr id="80" name="Google Shape;75;p2">
                <a:extLst>
                  <a:ext uri="{FF2B5EF4-FFF2-40B4-BE49-F238E27FC236}">
                    <a16:creationId xmlns:a16="http://schemas.microsoft.com/office/drawing/2014/main" id="{73DCC9B3-C9C8-4AA7-A179-BC5D1EFCFE34}"/>
                  </a:ext>
                </a:extLst>
              </p:cNvPr>
              <p:cNvSpPr/>
              <p:nvPr/>
            </p:nvSpPr>
            <p:spPr>
              <a:xfrm>
                <a:off x="286734" y="1396113"/>
                <a:ext cx="288826" cy="292506"/>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1" name="Google Shape;76;p2">
                <a:extLst>
                  <a:ext uri="{FF2B5EF4-FFF2-40B4-BE49-F238E27FC236}">
                    <a16:creationId xmlns:a16="http://schemas.microsoft.com/office/drawing/2014/main" id="{126F0858-6408-4050-BBCE-F70FADA594F6}"/>
                  </a:ext>
                </a:extLst>
              </p:cNvPr>
              <p:cNvSpPr/>
              <p:nvPr/>
            </p:nvSpPr>
            <p:spPr>
              <a:xfrm>
                <a:off x="313599" y="1360788"/>
                <a:ext cx="410163" cy="515682"/>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48" name="Google Shape;77;p2">
              <a:extLst>
                <a:ext uri="{FF2B5EF4-FFF2-40B4-BE49-F238E27FC236}">
                  <a16:creationId xmlns:a16="http://schemas.microsoft.com/office/drawing/2014/main" id="{A3AA01DC-6A07-4C85-B5EF-4D5A93B2A10D}"/>
                </a:ext>
              </a:extLst>
            </p:cNvPr>
            <p:cNvSpPr/>
            <p:nvPr/>
          </p:nvSpPr>
          <p:spPr>
            <a:xfrm>
              <a:off x="2688787" y="4098763"/>
              <a:ext cx="455682" cy="432729"/>
            </a:xfrm>
            <a:custGeom>
              <a:avLst/>
              <a:gdLst/>
              <a:ahLst/>
              <a:cxnLst/>
              <a:rect l="l" t="t" r="r" b="b"/>
              <a:pathLst>
                <a:path w="529863" h="503173" extrusionOk="0">
                  <a:moveTo>
                    <a:pt x="284791" y="7"/>
                  </a:moveTo>
                  <a:cubicBezTo>
                    <a:pt x="128581" y="-1263"/>
                    <a:pt x="-16834" y="165107"/>
                    <a:pt x="1581" y="320047"/>
                  </a:cubicBezTo>
                  <a:cubicBezTo>
                    <a:pt x="39046" y="421647"/>
                    <a:pt x="142551" y="523247"/>
                    <a:pt x="258756" y="499752"/>
                  </a:cubicBezTo>
                  <a:cubicBezTo>
                    <a:pt x="592766" y="480702"/>
                    <a:pt x="637216" y="23502"/>
                    <a:pt x="284791" y="7"/>
                  </a:cubicBezTo>
                  <a:close/>
                  <a:moveTo>
                    <a:pt x="19996" y="279407"/>
                  </a:moveTo>
                  <a:cubicBezTo>
                    <a:pt x="54921" y="-23488"/>
                    <a:pt x="481641" y="-98418"/>
                    <a:pt x="510216" y="240037"/>
                  </a:cubicBezTo>
                  <a:cubicBezTo>
                    <a:pt x="498786" y="520707"/>
                    <a:pt x="47936" y="583572"/>
                    <a:pt x="19996" y="279407"/>
                  </a:cubicBezTo>
                  <a:close/>
                  <a:moveTo>
                    <a:pt x="420681" y="98432"/>
                  </a:moveTo>
                  <a:cubicBezTo>
                    <a:pt x="381311" y="71127"/>
                    <a:pt x="348926" y="18422"/>
                    <a:pt x="295586" y="25407"/>
                  </a:cubicBezTo>
                  <a:cubicBezTo>
                    <a:pt x="53651" y="36837"/>
                    <a:pt x="-66364" y="403867"/>
                    <a:pt x="216211" y="458477"/>
                  </a:cubicBezTo>
                  <a:cubicBezTo>
                    <a:pt x="395916" y="493402"/>
                    <a:pt x="611181" y="219082"/>
                    <a:pt x="420681" y="98432"/>
                  </a:cubicBezTo>
                  <a:close/>
                  <a:moveTo>
                    <a:pt x="448621" y="292742"/>
                  </a:moveTo>
                  <a:cubicBezTo>
                    <a:pt x="448621" y="321952"/>
                    <a:pt x="428301" y="340367"/>
                    <a:pt x="413061" y="361957"/>
                  </a:cubicBezTo>
                  <a:cubicBezTo>
                    <a:pt x="404171" y="358782"/>
                    <a:pt x="396551" y="356242"/>
                    <a:pt x="385756" y="353067"/>
                  </a:cubicBezTo>
                  <a:cubicBezTo>
                    <a:pt x="387026" y="363227"/>
                    <a:pt x="387661" y="371482"/>
                    <a:pt x="388931" y="381007"/>
                  </a:cubicBezTo>
                  <a:cubicBezTo>
                    <a:pt x="376866" y="389262"/>
                    <a:pt x="363531" y="398152"/>
                    <a:pt x="354006" y="405137"/>
                  </a:cubicBezTo>
                  <a:cubicBezTo>
                    <a:pt x="338131" y="406407"/>
                    <a:pt x="337496" y="387357"/>
                    <a:pt x="321621" y="391167"/>
                  </a:cubicBezTo>
                  <a:cubicBezTo>
                    <a:pt x="324796" y="427362"/>
                    <a:pt x="291776" y="441967"/>
                    <a:pt x="249231" y="436887"/>
                  </a:cubicBezTo>
                  <a:cubicBezTo>
                    <a:pt x="251771" y="392437"/>
                    <a:pt x="220656" y="385452"/>
                    <a:pt x="220656" y="434982"/>
                  </a:cubicBezTo>
                  <a:cubicBezTo>
                    <a:pt x="184461" y="439427"/>
                    <a:pt x="133661" y="422917"/>
                    <a:pt x="131121" y="384182"/>
                  </a:cubicBezTo>
                  <a:cubicBezTo>
                    <a:pt x="123501" y="374022"/>
                    <a:pt x="104451" y="381007"/>
                    <a:pt x="100641" y="363862"/>
                  </a:cubicBezTo>
                  <a:cubicBezTo>
                    <a:pt x="126676" y="342907"/>
                    <a:pt x="106356" y="340367"/>
                    <a:pt x="84131" y="337192"/>
                  </a:cubicBezTo>
                  <a:cubicBezTo>
                    <a:pt x="71431" y="309887"/>
                    <a:pt x="63176" y="283217"/>
                    <a:pt x="75241" y="253372"/>
                  </a:cubicBezTo>
                  <a:cubicBezTo>
                    <a:pt x="119691" y="255277"/>
                    <a:pt x="140011" y="238132"/>
                    <a:pt x="83496" y="227972"/>
                  </a:cubicBezTo>
                  <a:cubicBezTo>
                    <a:pt x="84131" y="196857"/>
                    <a:pt x="95561" y="172092"/>
                    <a:pt x="115246" y="151137"/>
                  </a:cubicBezTo>
                  <a:cubicBezTo>
                    <a:pt x="136836" y="150502"/>
                    <a:pt x="150171" y="158122"/>
                    <a:pt x="136201" y="127642"/>
                  </a:cubicBezTo>
                  <a:cubicBezTo>
                    <a:pt x="174301" y="55252"/>
                    <a:pt x="207321" y="129547"/>
                    <a:pt x="205416" y="75572"/>
                  </a:cubicBezTo>
                  <a:cubicBezTo>
                    <a:pt x="230181" y="48267"/>
                    <a:pt x="263201" y="50172"/>
                    <a:pt x="297491" y="50172"/>
                  </a:cubicBezTo>
                  <a:cubicBezTo>
                    <a:pt x="295586" y="66682"/>
                    <a:pt x="308921" y="107957"/>
                    <a:pt x="323526" y="78747"/>
                  </a:cubicBezTo>
                  <a:cubicBezTo>
                    <a:pt x="319716" y="17152"/>
                    <a:pt x="382581" y="87637"/>
                    <a:pt x="399726" y="104147"/>
                  </a:cubicBezTo>
                  <a:cubicBezTo>
                    <a:pt x="394646" y="118117"/>
                    <a:pt x="385121" y="125102"/>
                    <a:pt x="399726" y="135262"/>
                  </a:cubicBezTo>
                  <a:cubicBezTo>
                    <a:pt x="409251" y="131452"/>
                    <a:pt x="417506" y="128277"/>
                    <a:pt x="427031" y="124467"/>
                  </a:cubicBezTo>
                  <a:cubicBezTo>
                    <a:pt x="440366" y="138437"/>
                    <a:pt x="451161" y="153042"/>
                    <a:pt x="461956" y="168917"/>
                  </a:cubicBezTo>
                  <a:cubicBezTo>
                    <a:pt x="451796" y="175267"/>
                    <a:pt x="444176" y="179712"/>
                    <a:pt x="436556" y="184157"/>
                  </a:cubicBezTo>
                  <a:cubicBezTo>
                    <a:pt x="444176" y="199397"/>
                    <a:pt x="459416" y="190507"/>
                    <a:pt x="470846" y="199397"/>
                  </a:cubicBezTo>
                  <a:cubicBezTo>
                    <a:pt x="475926" y="240037"/>
                    <a:pt x="467036" y="281947"/>
                    <a:pt x="416871" y="266707"/>
                  </a:cubicBezTo>
                  <a:cubicBezTo>
                    <a:pt x="388931" y="285757"/>
                    <a:pt x="434651" y="288297"/>
                    <a:pt x="448621" y="292742"/>
                  </a:cubicBezTo>
                  <a:close/>
                  <a:moveTo>
                    <a:pt x="304476" y="222892"/>
                  </a:moveTo>
                  <a:cubicBezTo>
                    <a:pt x="320351" y="55887"/>
                    <a:pt x="287966" y="104782"/>
                    <a:pt x="251771" y="225432"/>
                  </a:cubicBezTo>
                  <a:cubicBezTo>
                    <a:pt x="240341" y="251467"/>
                    <a:pt x="258121" y="281312"/>
                    <a:pt x="287966" y="270517"/>
                  </a:cubicBezTo>
                  <a:cubicBezTo>
                    <a:pt x="318446" y="260357"/>
                    <a:pt x="343846" y="239402"/>
                    <a:pt x="374961" y="232417"/>
                  </a:cubicBezTo>
                  <a:cubicBezTo>
                    <a:pt x="383216" y="231147"/>
                    <a:pt x="386391" y="223527"/>
                    <a:pt x="384486" y="215272"/>
                  </a:cubicBezTo>
                  <a:cubicBezTo>
                    <a:pt x="370516" y="186062"/>
                    <a:pt x="329241" y="220987"/>
                    <a:pt x="304476" y="222892"/>
                  </a:cubicBezTo>
                  <a:close/>
                  <a:moveTo>
                    <a:pt x="273996" y="229242"/>
                  </a:moveTo>
                  <a:cubicBezTo>
                    <a:pt x="273996" y="219717"/>
                    <a:pt x="273996" y="209557"/>
                    <a:pt x="282886" y="201937"/>
                  </a:cubicBezTo>
                  <a:cubicBezTo>
                    <a:pt x="282251" y="220352"/>
                    <a:pt x="282251" y="220987"/>
                    <a:pt x="273996" y="22924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9" name="Google Shape;78;p2">
              <a:extLst>
                <a:ext uri="{FF2B5EF4-FFF2-40B4-BE49-F238E27FC236}">
                  <a16:creationId xmlns:a16="http://schemas.microsoft.com/office/drawing/2014/main" id="{388C9D55-90F3-4356-87AA-968D9E2FEAF3}"/>
                </a:ext>
              </a:extLst>
            </p:cNvPr>
            <p:cNvSpPr/>
            <p:nvPr/>
          </p:nvSpPr>
          <p:spPr>
            <a:xfrm>
              <a:off x="933400" y="1069738"/>
              <a:ext cx="175646" cy="373020"/>
            </a:xfrm>
            <a:custGeom>
              <a:avLst/>
              <a:gdLst/>
              <a:ahLst/>
              <a:cxnLst/>
              <a:rect l="l" t="t" r="r" b="b"/>
              <a:pathLst>
                <a:path w="342723" h="727844" extrusionOk="0">
                  <a:moveTo>
                    <a:pt x="45039" y="381062"/>
                  </a:moveTo>
                  <a:cubicBezTo>
                    <a:pt x="-1317" y="378522"/>
                    <a:pt x="-11476" y="360107"/>
                    <a:pt x="12653" y="325182"/>
                  </a:cubicBezTo>
                  <a:cubicBezTo>
                    <a:pt x="39958" y="272477"/>
                    <a:pt x="46308" y="211517"/>
                    <a:pt x="66628" y="156272"/>
                  </a:cubicBezTo>
                  <a:cubicBezTo>
                    <a:pt x="88853" y="99757"/>
                    <a:pt x="95203" y="15302"/>
                    <a:pt x="167594" y="3237"/>
                  </a:cubicBezTo>
                  <a:cubicBezTo>
                    <a:pt x="221569" y="-5653"/>
                    <a:pt x="288878" y="2602"/>
                    <a:pt x="328249" y="42607"/>
                  </a:cubicBezTo>
                  <a:cubicBezTo>
                    <a:pt x="373333" y="154367"/>
                    <a:pt x="300944" y="280097"/>
                    <a:pt x="276178" y="390587"/>
                  </a:cubicBezTo>
                  <a:cubicBezTo>
                    <a:pt x="243158" y="499807"/>
                    <a:pt x="232999" y="643317"/>
                    <a:pt x="145369" y="722058"/>
                  </a:cubicBezTo>
                  <a:cubicBezTo>
                    <a:pt x="-64181" y="765872"/>
                    <a:pt x="59008" y="549972"/>
                    <a:pt x="74883" y="441387"/>
                  </a:cubicBezTo>
                  <a:cubicBezTo>
                    <a:pt x="96474" y="381062"/>
                    <a:pt x="117428" y="174052"/>
                    <a:pt x="175849" y="160082"/>
                  </a:cubicBezTo>
                  <a:cubicBezTo>
                    <a:pt x="205058" y="153097"/>
                    <a:pt x="234269" y="157542"/>
                    <a:pt x="230458" y="194372"/>
                  </a:cubicBezTo>
                  <a:cubicBezTo>
                    <a:pt x="240619" y="221677"/>
                    <a:pt x="129494" y="694752"/>
                    <a:pt x="133303" y="503617"/>
                  </a:cubicBezTo>
                  <a:cubicBezTo>
                    <a:pt x="150449" y="416622"/>
                    <a:pt x="184103" y="330262"/>
                    <a:pt x="181564" y="240727"/>
                  </a:cubicBezTo>
                  <a:cubicBezTo>
                    <a:pt x="130764" y="306132"/>
                    <a:pt x="137749" y="399477"/>
                    <a:pt x="109174" y="476312"/>
                  </a:cubicBezTo>
                  <a:cubicBezTo>
                    <a:pt x="105999" y="530922"/>
                    <a:pt x="19639" y="685862"/>
                    <a:pt x="116158" y="683957"/>
                  </a:cubicBezTo>
                  <a:cubicBezTo>
                    <a:pt x="208869" y="661732"/>
                    <a:pt x="231094" y="334707"/>
                    <a:pt x="270464" y="240092"/>
                  </a:cubicBezTo>
                  <a:cubicBezTo>
                    <a:pt x="276178" y="187387"/>
                    <a:pt x="298403" y="109917"/>
                    <a:pt x="252683" y="71182"/>
                  </a:cubicBezTo>
                  <a:cubicBezTo>
                    <a:pt x="213314" y="45147"/>
                    <a:pt x="172674" y="52767"/>
                    <a:pt x="144099" y="91502"/>
                  </a:cubicBezTo>
                  <a:cubicBezTo>
                    <a:pt x="95203" y="181037"/>
                    <a:pt x="85678" y="287717"/>
                    <a:pt x="45039" y="381062"/>
                  </a:cubicBezTo>
                  <a:close/>
                  <a:moveTo>
                    <a:pt x="300944" y="198182"/>
                  </a:moveTo>
                  <a:cubicBezTo>
                    <a:pt x="321899" y="177227"/>
                    <a:pt x="309833" y="138492"/>
                    <a:pt x="314914" y="110552"/>
                  </a:cubicBezTo>
                  <a:cubicBezTo>
                    <a:pt x="319358" y="81342"/>
                    <a:pt x="322533" y="48322"/>
                    <a:pt x="288878" y="37527"/>
                  </a:cubicBezTo>
                  <a:cubicBezTo>
                    <a:pt x="246969" y="18477"/>
                    <a:pt x="137749" y="1332"/>
                    <a:pt x="133303" y="62292"/>
                  </a:cubicBezTo>
                  <a:cubicBezTo>
                    <a:pt x="243794" y="-24703"/>
                    <a:pt x="324439" y="87692"/>
                    <a:pt x="300944" y="200722"/>
                  </a:cubicBezTo>
                  <a:cubicBezTo>
                    <a:pt x="300944" y="200087"/>
                    <a:pt x="300944" y="199452"/>
                    <a:pt x="300944" y="198182"/>
                  </a:cubicBezTo>
                  <a:close/>
                  <a:moveTo>
                    <a:pt x="124414" y="705547"/>
                  </a:moveTo>
                  <a:cubicBezTo>
                    <a:pt x="92028" y="697927"/>
                    <a:pt x="73614" y="690942"/>
                    <a:pt x="47578" y="676972"/>
                  </a:cubicBezTo>
                  <a:cubicBezTo>
                    <a:pt x="39958" y="705547"/>
                    <a:pt x="97744" y="711897"/>
                    <a:pt x="124414" y="70554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0" name="Google Shape;79;p2">
              <a:extLst>
                <a:ext uri="{FF2B5EF4-FFF2-40B4-BE49-F238E27FC236}">
                  <a16:creationId xmlns:a16="http://schemas.microsoft.com/office/drawing/2014/main" id="{F3A5549A-876E-45E2-A621-E4C04BEA4816}"/>
                </a:ext>
              </a:extLst>
            </p:cNvPr>
            <p:cNvSpPr/>
            <p:nvPr/>
          </p:nvSpPr>
          <p:spPr>
            <a:xfrm>
              <a:off x="8204352" y="3801552"/>
              <a:ext cx="240787" cy="203050"/>
            </a:xfrm>
            <a:custGeom>
              <a:avLst/>
              <a:gdLst/>
              <a:ahLst/>
              <a:cxnLst/>
              <a:rect l="l" t="t" r="r" b="b"/>
              <a:pathLst>
                <a:path w="279985" h="236105" extrusionOk="0">
                  <a:moveTo>
                    <a:pt x="224300" y="47511"/>
                  </a:moveTo>
                  <a:cubicBezTo>
                    <a:pt x="226204" y="79261"/>
                    <a:pt x="221125" y="105931"/>
                    <a:pt x="208425" y="131331"/>
                  </a:cubicBezTo>
                  <a:cubicBezTo>
                    <a:pt x="221759" y="154826"/>
                    <a:pt x="285895" y="220866"/>
                    <a:pt x="279545" y="236106"/>
                  </a:cubicBezTo>
                  <a:cubicBezTo>
                    <a:pt x="240175" y="235471"/>
                    <a:pt x="211600" y="195466"/>
                    <a:pt x="177309" y="177686"/>
                  </a:cubicBezTo>
                  <a:cubicBezTo>
                    <a:pt x="143654" y="201816"/>
                    <a:pt x="92220" y="247536"/>
                    <a:pt x="79520" y="180226"/>
                  </a:cubicBezTo>
                  <a:cubicBezTo>
                    <a:pt x="76979" y="116091"/>
                    <a:pt x="-26525" y="129426"/>
                    <a:pt x="6495" y="57671"/>
                  </a:cubicBezTo>
                  <a:cubicBezTo>
                    <a:pt x="60470" y="-73774"/>
                    <a:pt x="91584" y="62116"/>
                    <a:pt x="169054" y="51321"/>
                  </a:cubicBezTo>
                  <a:cubicBezTo>
                    <a:pt x="187470" y="48781"/>
                    <a:pt x="205884" y="39891"/>
                    <a:pt x="224300" y="47511"/>
                  </a:cubicBezTo>
                  <a:close/>
                  <a:moveTo>
                    <a:pt x="217950" y="187211"/>
                  </a:moveTo>
                  <a:cubicBezTo>
                    <a:pt x="218584" y="187211"/>
                    <a:pt x="218584" y="186576"/>
                    <a:pt x="219220" y="186576"/>
                  </a:cubicBezTo>
                  <a:cubicBezTo>
                    <a:pt x="218584" y="186576"/>
                    <a:pt x="217950" y="187211"/>
                    <a:pt x="217315" y="187211"/>
                  </a:cubicBezTo>
                  <a:cubicBezTo>
                    <a:pt x="224300" y="172606"/>
                    <a:pt x="211600" y="156096"/>
                    <a:pt x="196995" y="158636"/>
                  </a:cubicBezTo>
                  <a:cubicBezTo>
                    <a:pt x="196359" y="171336"/>
                    <a:pt x="210329" y="177686"/>
                    <a:pt x="217950" y="187211"/>
                  </a:cubicBezTo>
                  <a:close/>
                  <a:moveTo>
                    <a:pt x="87140" y="47511"/>
                  </a:moveTo>
                  <a:cubicBezTo>
                    <a:pt x="75075" y="65926"/>
                    <a:pt x="63009" y="84341"/>
                    <a:pt x="50945" y="103391"/>
                  </a:cubicBezTo>
                  <a:cubicBezTo>
                    <a:pt x="66820" y="119901"/>
                    <a:pt x="82059" y="135776"/>
                    <a:pt x="96665" y="151016"/>
                  </a:cubicBezTo>
                  <a:cubicBezTo>
                    <a:pt x="125875" y="135776"/>
                    <a:pt x="153815" y="112281"/>
                    <a:pt x="149370" y="78626"/>
                  </a:cubicBezTo>
                  <a:cubicBezTo>
                    <a:pt x="129684" y="69101"/>
                    <a:pt x="110634" y="59576"/>
                    <a:pt x="87140" y="47511"/>
                  </a:cubicBezTo>
                  <a:close/>
                  <a:moveTo>
                    <a:pt x="202075" y="76721"/>
                  </a:moveTo>
                  <a:cubicBezTo>
                    <a:pt x="174770" y="65291"/>
                    <a:pt x="153179" y="156096"/>
                    <a:pt x="103650" y="180861"/>
                  </a:cubicBezTo>
                  <a:cubicBezTo>
                    <a:pt x="118890" y="218961"/>
                    <a:pt x="213504" y="108471"/>
                    <a:pt x="202075" y="76721"/>
                  </a:cubicBezTo>
                  <a:close/>
                  <a:moveTo>
                    <a:pt x="22370" y="86246"/>
                  </a:moveTo>
                  <a:cubicBezTo>
                    <a:pt x="54120" y="77356"/>
                    <a:pt x="60470" y="54496"/>
                    <a:pt x="67454" y="32271"/>
                  </a:cubicBezTo>
                  <a:cubicBezTo>
                    <a:pt x="47134" y="4331"/>
                    <a:pt x="24909" y="63386"/>
                    <a:pt x="22370" y="8624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1" name="Google Shape;80;p2">
              <a:extLst>
                <a:ext uri="{FF2B5EF4-FFF2-40B4-BE49-F238E27FC236}">
                  <a16:creationId xmlns:a16="http://schemas.microsoft.com/office/drawing/2014/main" id="{E19FCB57-4C77-4452-9EDE-9CF05C41F758}"/>
                </a:ext>
              </a:extLst>
            </p:cNvPr>
            <p:cNvSpPr/>
            <p:nvPr/>
          </p:nvSpPr>
          <p:spPr>
            <a:xfrm>
              <a:off x="8204357" y="240186"/>
              <a:ext cx="175884" cy="174728"/>
            </a:xfrm>
            <a:custGeom>
              <a:avLst/>
              <a:gdLst/>
              <a:ahLst/>
              <a:cxnLst/>
              <a:rect l="l" t="t" r="r" b="b"/>
              <a:pathLst>
                <a:path w="204516" h="203172" extrusionOk="0">
                  <a:moveTo>
                    <a:pt x="139555" y="137768"/>
                  </a:moveTo>
                  <a:cubicBezTo>
                    <a:pt x="146541" y="154278"/>
                    <a:pt x="194166" y="201903"/>
                    <a:pt x="157971" y="203173"/>
                  </a:cubicBezTo>
                  <a:cubicBezTo>
                    <a:pt x="139555" y="186028"/>
                    <a:pt x="135746" y="163168"/>
                    <a:pt x="112250" y="148563"/>
                  </a:cubicBezTo>
                  <a:cubicBezTo>
                    <a:pt x="-110000" y="230478"/>
                    <a:pt x="44941" y="-27967"/>
                    <a:pt x="173210" y="2513"/>
                  </a:cubicBezTo>
                  <a:cubicBezTo>
                    <a:pt x="245600" y="34898"/>
                    <a:pt x="174480" y="104113"/>
                    <a:pt x="139555" y="137768"/>
                  </a:cubicBezTo>
                  <a:close/>
                  <a:moveTo>
                    <a:pt x="184005" y="29183"/>
                  </a:moveTo>
                  <a:cubicBezTo>
                    <a:pt x="117330" y="1243"/>
                    <a:pt x="46846" y="67283"/>
                    <a:pt x="20175" y="123163"/>
                  </a:cubicBezTo>
                  <a:cubicBezTo>
                    <a:pt x="32875" y="190473"/>
                    <a:pt x="196705" y="83158"/>
                    <a:pt x="184005" y="2918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52" name="Google Shape;81;p2">
              <a:extLst>
                <a:ext uri="{FF2B5EF4-FFF2-40B4-BE49-F238E27FC236}">
                  <a16:creationId xmlns:a16="http://schemas.microsoft.com/office/drawing/2014/main" id="{991E8543-6457-41EF-A093-9737A2F9EE38}"/>
                </a:ext>
              </a:extLst>
            </p:cNvPr>
            <p:cNvGrpSpPr/>
            <p:nvPr/>
          </p:nvGrpSpPr>
          <p:grpSpPr>
            <a:xfrm>
              <a:off x="8513660" y="3273951"/>
              <a:ext cx="236955" cy="259508"/>
              <a:chOff x="1624551" y="3569952"/>
              <a:chExt cx="236955" cy="259508"/>
            </a:xfrm>
          </p:grpSpPr>
          <p:sp>
            <p:nvSpPr>
              <p:cNvPr id="78" name="Google Shape;82;p2">
                <a:extLst>
                  <a:ext uri="{FF2B5EF4-FFF2-40B4-BE49-F238E27FC236}">
                    <a16:creationId xmlns:a16="http://schemas.microsoft.com/office/drawing/2014/main" id="{C7DF3842-B862-4240-8CA8-E8140697D3DC}"/>
                  </a:ext>
                </a:extLst>
              </p:cNvPr>
              <p:cNvSpPr/>
              <p:nvPr/>
            </p:nvSpPr>
            <p:spPr>
              <a:xfrm>
                <a:off x="1624551" y="3569952"/>
                <a:ext cx="224786" cy="227651"/>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79" name="Google Shape;83;p2">
                <a:extLst>
                  <a:ext uri="{FF2B5EF4-FFF2-40B4-BE49-F238E27FC236}">
                    <a16:creationId xmlns:a16="http://schemas.microsoft.com/office/drawing/2014/main" id="{320ACF7E-2D7B-4CBE-B2F6-5E5661CAFDC7}"/>
                  </a:ext>
                </a:extLst>
              </p:cNvPr>
              <p:cNvSpPr/>
              <p:nvPr/>
            </p:nvSpPr>
            <p:spPr>
              <a:xfrm>
                <a:off x="1625368" y="3599553"/>
                <a:ext cx="236138" cy="229907"/>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53" name="Google Shape;84;p2">
              <a:extLst>
                <a:ext uri="{FF2B5EF4-FFF2-40B4-BE49-F238E27FC236}">
                  <a16:creationId xmlns:a16="http://schemas.microsoft.com/office/drawing/2014/main" id="{C2A2A45D-1013-46CC-9BE8-C87DA338C1B2}"/>
                </a:ext>
              </a:extLst>
            </p:cNvPr>
            <p:cNvGrpSpPr/>
            <p:nvPr/>
          </p:nvGrpSpPr>
          <p:grpSpPr>
            <a:xfrm>
              <a:off x="3637530" y="4055057"/>
              <a:ext cx="418773" cy="520154"/>
              <a:chOff x="3637530" y="4055057"/>
              <a:chExt cx="418773" cy="520154"/>
            </a:xfrm>
          </p:grpSpPr>
          <p:sp>
            <p:nvSpPr>
              <p:cNvPr id="76" name="Google Shape;85;p2">
                <a:extLst>
                  <a:ext uri="{FF2B5EF4-FFF2-40B4-BE49-F238E27FC236}">
                    <a16:creationId xmlns:a16="http://schemas.microsoft.com/office/drawing/2014/main" id="{9BEFDE11-15FD-4E8D-A436-F119FB103822}"/>
                  </a:ext>
                </a:extLst>
              </p:cNvPr>
              <p:cNvSpPr/>
              <p:nvPr/>
            </p:nvSpPr>
            <p:spPr>
              <a:xfrm rot="5542319">
                <a:off x="3769303" y="4204066"/>
                <a:ext cx="285154" cy="277283"/>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77" name="Google Shape;86;p2">
                <a:extLst>
                  <a:ext uri="{FF2B5EF4-FFF2-40B4-BE49-F238E27FC236}">
                    <a16:creationId xmlns:a16="http://schemas.microsoft.com/office/drawing/2014/main" id="{FDA24A41-B4F9-4E3A-997E-85B5DAEB1210}"/>
                  </a:ext>
                </a:extLst>
              </p:cNvPr>
              <p:cNvSpPr/>
              <p:nvPr/>
            </p:nvSpPr>
            <p:spPr>
              <a:xfrm rot="9304419">
                <a:off x="3726725" y="4079275"/>
                <a:ext cx="219185" cy="471718"/>
              </a:xfrm>
              <a:custGeom>
                <a:avLst/>
                <a:gdLst/>
                <a:ahLst/>
                <a:cxnLst/>
                <a:rect l="l" t="t" r="r" b="b"/>
                <a:pathLst>
                  <a:path w="254831" h="548433" extrusionOk="0">
                    <a:moveTo>
                      <a:pt x="1225" y="243944"/>
                    </a:moveTo>
                    <a:cubicBezTo>
                      <a:pt x="-2584" y="153774"/>
                      <a:pt x="42500" y="76304"/>
                      <a:pt x="97110" y="7724"/>
                    </a:cubicBezTo>
                    <a:cubicBezTo>
                      <a:pt x="171406" y="-39901"/>
                      <a:pt x="226016" y="146154"/>
                      <a:pt x="245700" y="198859"/>
                    </a:cubicBezTo>
                    <a:cubicBezTo>
                      <a:pt x="276816" y="301729"/>
                      <a:pt x="217125" y="404599"/>
                      <a:pt x="233000" y="508104"/>
                    </a:cubicBezTo>
                    <a:cubicBezTo>
                      <a:pt x="238716" y="550014"/>
                      <a:pt x="205696" y="569064"/>
                      <a:pt x="201250" y="516359"/>
                    </a:cubicBezTo>
                    <a:cubicBezTo>
                      <a:pt x="164421" y="394439"/>
                      <a:pt x="-16554" y="432539"/>
                      <a:pt x="1225" y="243944"/>
                    </a:cubicBezTo>
                    <a:close/>
                    <a:moveTo>
                      <a:pt x="114891" y="236959"/>
                    </a:moveTo>
                    <a:cubicBezTo>
                      <a:pt x="103460" y="228704"/>
                      <a:pt x="21546" y="208384"/>
                      <a:pt x="57741" y="193144"/>
                    </a:cubicBezTo>
                    <a:cubicBezTo>
                      <a:pt x="78060" y="196954"/>
                      <a:pt x="88856" y="214734"/>
                      <a:pt x="111081" y="216639"/>
                    </a:cubicBezTo>
                    <a:cubicBezTo>
                      <a:pt x="108541" y="178539"/>
                      <a:pt x="97110" y="143614"/>
                      <a:pt x="105366" y="106784"/>
                    </a:cubicBezTo>
                    <a:cubicBezTo>
                      <a:pt x="111081" y="107419"/>
                      <a:pt x="116160" y="108054"/>
                      <a:pt x="120606" y="108054"/>
                    </a:cubicBezTo>
                    <a:cubicBezTo>
                      <a:pt x="123781" y="120754"/>
                      <a:pt x="126321" y="131549"/>
                      <a:pt x="129496" y="144249"/>
                    </a:cubicBezTo>
                    <a:cubicBezTo>
                      <a:pt x="182200" y="111229"/>
                      <a:pt x="146641" y="163934"/>
                      <a:pt x="130766" y="183619"/>
                    </a:cubicBezTo>
                    <a:cubicBezTo>
                      <a:pt x="135210" y="210924"/>
                      <a:pt x="135846" y="238229"/>
                      <a:pt x="149181" y="265534"/>
                    </a:cubicBezTo>
                    <a:cubicBezTo>
                      <a:pt x="163785" y="256009"/>
                      <a:pt x="167596" y="243309"/>
                      <a:pt x="186646" y="248389"/>
                    </a:cubicBezTo>
                    <a:cubicBezTo>
                      <a:pt x="175216" y="271249"/>
                      <a:pt x="149181" y="286489"/>
                      <a:pt x="154896" y="311254"/>
                    </a:cubicBezTo>
                    <a:cubicBezTo>
                      <a:pt x="171406" y="348719"/>
                      <a:pt x="172675" y="392534"/>
                      <a:pt x="204425" y="422379"/>
                    </a:cubicBezTo>
                    <a:cubicBezTo>
                      <a:pt x="252050" y="285219"/>
                      <a:pt x="233635" y="137264"/>
                      <a:pt x="136481" y="27409"/>
                    </a:cubicBezTo>
                    <a:cubicBezTo>
                      <a:pt x="86950" y="-1166"/>
                      <a:pt x="19006" y="177269"/>
                      <a:pt x="24721" y="219814"/>
                    </a:cubicBezTo>
                    <a:cubicBezTo>
                      <a:pt x="8846" y="328399"/>
                      <a:pt x="72346" y="405869"/>
                      <a:pt x="175216" y="431269"/>
                    </a:cubicBezTo>
                    <a:cubicBezTo>
                      <a:pt x="170135" y="362689"/>
                      <a:pt x="112350" y="366499"/>
                      <a:pt x="80600" y="323954"/>
                    </a:cubicBezTo>
                    <a:cubicBezTo>
                      <a:pt x="106635" y="317604"/>
                      <a:pt x="118700" y="347449"/>
                      <a:pt x="140925" y="338559"/>
                    </a:cubicBezTo>
                    <a:cubicBezTo>
                      <a:pt x="128225" y="305539"/>
                      <a:pt x="128860" y="270614"/>
                      <a:pt x="114891" y="23695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54" name="Google Shape;87;p2">
              <a:extLst>
                <a:ext uri="{FF2B5EF4-FFF2-40B4-BE49-F238E27FC236}">
                  <a16:creationId xmlns:a16="http://schemas.microsoft.com/office/drawing/2014/main" id="{744A2DE7-10E1-4F99-B048-70EE169979E7}"/>
                </a:ext>
              </a:extLst>
            </p:cNvPr>
            <p:cNvSpPr/>
            <p:nvPr/>
          </p:nvSpPr>
          <p:spPr>
            <a:xfrm>
              <a:off x="3033704" y="205770"/>
              <a:ext cx="238646" cy="243555"/>
            </a:xfrm>
            <a:custGeom>
              <a:avLst/>
              <a:gdLst/>
              <a:ahLst/>
              <a:cxnLst/>
              <a:rect l="l" t="t" r="r" b="b"/>
              <a:pathLst>
                <a:path w="277495" h="283204" extrusionOk="0">
                  <a:moveTo>
                    <a:pt x="208280" y="49133"/>
                  </a:moveTo>
                  <a:cubicBezTo>
                    <a:pt x="137795" y="91043"/>
                    <a:pt x="68580" y="136763"/>
                    <a:pt x="0" y="179943"/>
                  </a:cubicBezTo>
                  <a:cubicBezTo>
                    <a:pt x="8890" y="202168"/>
                    <a:pt x="26670" y="266938"/>
                    <a:pt x="57150" y="247888"/>
                  </a:cubicBezTo>
                  <a:cubicBezTo>
                    <a:pt x="130175" y="204708"/>
                    <a:pt x="208280" y="168513"/>
                    <a:pt x="277495" y="120888"/>
                  </a:cubicBezTo>
                  <a:cubicBezTo>
                    <a:pt x="258445" y="97393"/>
                    <a:pt x="247650" y="28178"/>
                    <a:pt x="208280" y="49133"/>
                  </a:cubicBezTo>
                  <a:close/>
                  <a:moveTo>
                    <a:pt x="46355" y="226933"/>
                  </a:moveTo>
                  <a:cubicBezTo>
                    <a:pt x="33655" y="218043"/>
                    <a:pt x="29210" y="206613"/>
                    <a:pt x="25400" y="192643"/>
                  </a:cubicBezTo>
                  <a:cubicBezTo>
                    <a:pt x="88265" y="150733"/>
                    <a:pt x="149225" y="105648"/>
                    <a:pt x="218440" y="71358"/>
                  </a:cubicBezTo>
                  <a:cubicBezTo>
                    <a:pt x="236220" y="75803"/>
                    <a:pt x="240030" y="91678"/>
                    <a:pt x="247015" y="107553"/>
                  </a:cubicBezTo>
                  <a:cubicBezTo>
                    <a:pt x="186055" y="158353"/>
                    <a:pt x="114300" y="189468"/>
                    <a:pt x="46355" y="226933"/>
                  </a:cubicBezTo>
                  <a:close/>
                  <a:moveTo>
                    <a:pt x="181610" y="200898"/>
                  </a:moveTo>
                  <a:cubicBezTo>
                    <a:pt x="130810" y="200898"/>
                    <a:pt x="120650" y="289798"/>
                    <a:pt x="181610" y="282813"/>
                  </a:cubicBezTo>
                  <a:cubicBezTo>
                    <a:pt x="240665" y="284083"/>
                    <a:pt x="243840" y="201533"/>
                    <a:pt x="181610" y="200898"/>
                  </a:cubicBezTo>
                  <a:close/>
                  <a:moveTo>
                    <a:pt x="163830" y="259318"/>
                  </a:moveTo>
                  <a:cubicBezTo>
                    <a:pt x="159385" y="227568"/>
                    <a:pt x="184785" y="232013"/>
                    <a:pt x="205105" y="234553"/>
                  </a:cubicBezTo>
                  <a:cubicBezTo>
                    <a:pt x="208280" y="258683"/>
                    <a:pt x="182245" y="268843"/>
                    <a:pt x="163830" y="259318"/>
                  </a:cubicBezTo>
                  <a:close/>
                  <a:moveTo>
                    <a:pt x="123190" y="32623"/>
                  </a:moveTo>
                  <a:cubicBezTo>
                    <a:pt x="104140" y="-16272"/>
                    <a:pt x="28575" y="-9922"/>
                    <a:pt x="29210" y="49768"/>
                  </a:cubicBezTo>
                  <a:cubicBezTo>
                    <a:pt x="38735" y="111998"/>
                    <a:pt x="126365" y="90408"/>
                    <a:pt x="123190" y="32623"/>
                  </a:cubicBezTo>
                  <a:close/>
                  <a:moveTo>
                    <a:pt x="81280" y="20558"/>
                  </a:moveTo>
                  <a:cubicBezTo>
                    <a:pt x="127635" y="19923"/>
                    <a:pt x="81915" y="87868"/>
                    <a:pt x="55880" y="63103"/>
                  </a:cubicBezTo>
                  <a:cubicBezTo>
                    <a:pt x="37465" y="47228"/>
                    <a:pt x="61595" y="16748"/>
                    <a:pt x="81280" y="2055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5" name="Google Shape;88;p2">
              <a:extLst>
                <a:ext uri="{FF2B5EF4-FFF2-40B4-BE49-F238E27FC236}">
                  <a16:creationId xmlns:a16="http://schemas.microsoft.com/office/drawing/2014/main" id="{2AF5F280-BD3E-405D-BEF9-7EC951D2C3B2}"/>
                </a:ext>
              </a:extLst>
            </p:cNvPr>
            <p:cNvSpPr/>
            <p:nvPr/>
          </p:nvSpPr>
          <p:spPr>
            <a:xfrm>
              <a:off x="8737650" y="439219"/>
              <a:ext cx="257856" cy="284838"/>
            </a:xfrm>
            <a:custGeom>
              <a:avLst/>
              <a:gdLst/>
              <a:ahLst/>
              <a:cxnLst/>
              <a:rect l="l" t="t" r="r" b="b"/>
              <a:pathLst>
                <a:path w="299833" h="331207" extrusionOk="0">
                  <a:moveTo>
                    <a:pt x="209405" y="209687"/>
                  </a:moveTo>
                  <a:cubicBezTo>
                    <a:pt x="197340" y="292237"/>
                    <a:pt x="224645" y="334782"/>
                    <a:pt x="116695" y="330972"/>
                  </a:cubicBezTo>
                  <a:cubicBezTo>
                    <a:pt x="76690" y="318272"/>
                    <a:pt x="105900" y="251597"/>
                    <a:pt x="82405" y="221752"/>
                  </a:cubicBezTo>
                  <a:cubicBezTo>
                    <a:pt x="-9670" y="236992"/>
                    <a:pt x="-780" y="222387"/>
                    <a:pt x="1125" y="136662"/>
                  </a:cubicBezTo>
                  <a:cubicBezTo>
                    <a:pt x="15730" y="118882"/>
                    <a:pt x="46210" y="123327"/>
                    <a:pt x="67800" y="118247"/>
                  </a:cubicBezTo>
                  <a:cubicBezTo>
                    <a:pt x="113520" y="107452"/>
                    <a:pt x="65895" y="38872"/>
                    <a:pt x="89390" y="5852"/>
                  </a:cubicBezTo>
                  <a:cubicBezTo>
                    <a:pt x="202420" y="-15103"/>
                    <a:pt x="175750" y="20457"/>
                    <a:pt x="194165" y="108722"/>
                  </a:cubicBezTo>
                  <a:cubicBezTo>
                    <a:pt x="225280" y="118247"/>
                    <a:pt x="286240" y="96022"/>
                    <a:pt x="293225" y="135392"/>
                  </a:cubicBezTo>
                  <a:cubicBezTo>
                    <a:pt x="318625" y="214767"/>
                    <a:pt x="266555" y="199527"/>
                    <a:pt x="209405" y="209687"/>
                  </a:cubicBezTo>
                  <a:close/>
                  <a:moveTo>
                    <a:pt x="27795" y="202067"/>
                  </a:moveTo>
                  <a:cubicBezTo>
                    <a:pt x="155430" y="169682"/>
                    <a:pt x="92565" y="223657"/>
                    <a:pt x="125585" y="302397"/>
                  </a:cubicBezTo>
                  <a:cubicBezTo>
                    <a:pt x="140190" y="304302"/>
                    <a:pt x="156065" y="306842"/>
                    <a:pt x="171305" y="301127"/>
                  </a:cubicBezTo>
                  <a:cubicBezTo>
                    <a:pt x="195435" y="266202"/>
                    <a:pt x="166860" y="221752"/>
                    <a:pt x="189720" y="188097"/>
                  </a:cubicBezTo>
                  <a:cubicBezTo>
                    <a:pt x="215755" y="184287"/>
                    <a:pt x="243695" y="179842"/>
                    <a:pt x="271635" y="175397"/>
                  </a:cubicBezTo>
                  <a:cubicBezTo>
                    <a:pt x="276715" y="160792"/>
                    <a:pt x="276715" y="149362"/>
                    <a:pt x="267825" y="137932"/>
                  </a:cubicBezTo>
                  <a:cubicBezTo>
                    <a:pt x="176385" y="125867"/>
                    <a:pt x="163050" y="146187"/>
                    <a:pt x="160510" y="40142"/>
                  </a:cubicBezTo>
                  <a:cubicBezTo>
                    <a:pt x="158605" y="17917"/>
                    <a:pt x="136380" y="21092"/>
                    <a:pt x="120505" y="26172"/>
                  </a:cubicBezTo>
                  <a:cubicBezTo>
                    <a:pt x="85580" y="45857"/>
                    <a:pt x="120505" y="101737"/>
                    <a:pt x="108440" y="134757"/>
                  </a:cubicBezTo>
                  <a:cubicBezTo>
                    <a:pt x="77325" y="141742"/>
                    <a:pt x="53195" y="136662"/>
                    <a:pt x="23350" y="153172"/>
                  </a:cubicBezTo>
                  <a:cubicBezTo>
                    <a:pt x="23350" y="172857"/>
                    <a:pt x="23350" y="182382"/>
                    <a:pt x="27795" y="20206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6" name="Google Shape;89;p2">
              <a:extLst>
                <a:ext uri="{FF2B5EF4-FFF2-40B4-BE49-F238E27FC236}">
                  <a16:creationId xmlns:a16="http://schemas.microsoft.com/office/drawing/2014/main" id="{CD802E64-9278-42FB-B79A-4AC869E37036}"/>
                </a:ext>
              </a:extLst>
            </p:cNvPr>
            <p:cNvSpPr/>
            <p:nvPr/>
          </p:nvSpPr>
          <p:spPr>
            <a:xfrm>
              <a:off x="1334256" y="207258"/>
              <a:ext cx="223503" cy="240600"/>
            </a:xfrm>
            <a:custGeom>
              <a:avLst/>
              <a:gdLst/>
              <a:ahLst/>
              <a:cxnLst/>
              <a:rect l="l" t="t" r="r" b="b"/>
              <a:pathLst>
                <a:path w="259887" h="279767" extrusionOk="0">
                  <a:moveTo>
                    <a:pt x="226736" y="166830"/>
                  </a:moveTo>
                  <a:cubicBezTo>
                    <a:pt x="228641" y="137620"/>
                    <a:pt x="231180" y="110950"/>
                    <a:pt x="233086" y="83010"/>
                  </a:cubicBezTo>
                  <a:cubicBezTo>
                    <a:pt x="187366" y="68405"/>
                    <a:pt x="153711" y="96345"/>
                    <a:pt x="111166" y="110315"/>
                  </a:cubicBezTo>
                  <a:cubicBezTo>
                    <a:pt x="97195" y="152860"/>
                    <a:pt x="133391" y="210010"/>
                    <a:pt x="90211" y="242395"/>
                  </a:cubicBezTo>
                  <a:cubicBezTo>
                    <a:pt x="-25359" y="349710"/>
                    <a:pt x="-34250" y="191595"/>
                    <a:pt x="88941" y="193500"/>
                  </a:cubicBezTo>
                  <a:cubicBezTo>
                    <a:pt x="97195" y="143970"/>
                    <a:pt x="63541" y="67135"/>
                    <a:pt x="101005" y="31575"/>
                  </a:cubicBezTo>
                  <a:cubicBezTo>
                    <a:pt x="208320" y="6175"/>
                    <a:pt x="274995" y="-51610"/>
                    <a:pt x="252770" y="105870"/>
                  </a:cubicBezTo>
                  <a:cubicBezTo>
                    <a:pt x="241975" y="140160"/>
                    <a:pt x="264200" y="170005"/>
                    <a:pt x="259120" y="201120"/>
                  </a:cubicBezTo>
                  <a:cubicBezTo>
                    <a:pt x="198161" y="328120"/>
                    <a:pt x="109261" y="242395"/>
                    <a:pt x="226736" y="166830"/>
                  </a:cubicBezTo>
                  <a:close/>
                  <a:moveTo>
                    <a:pt x="115611" y="79835"/>
                  </a:moveTo>
                  <a:cubicBezTo>
                    <a:pt x="146091" y="80470"/>
                    <a:pt x="172125" y="56975"/>
                    <a:pt x="203875" y="58245"/>
                  </a:cubicBezTo>
                  <a:cubicBezTo>
                    <a:pt x="229275" y="60150"/>
                    <a:pt x="238800" y="46180"/>
                    <a:pt x="229911" y="22050"/>
                  </a:cubicBezTo>
                  <a:cubicBezTo>
                    <a:pt x="198161" y="38560"/>
                    <a:pt x="97195" y="29035"/>
                    <a:pt x="115611" y="7983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7" name="Google Shape;90;p2">
              <a:extLst>
                <a:ext uri="{FF2B5EF4-FFF2-40B4-BE49-F238E27FC236}">
                  <a16:creationId xmlns:a16="http://schemas.microsoft.com/office/drawing/2014/main" id="{5F0111DC-8D76-4C1A-8432-67D8400F8F34}"/>
                </a:ext>
              </a:extLst>
            </p:cNvPr>
            <p:cNvSpPr/>
            <p:nvPr/>
          </p:nvSpPr>
          <p:spPr>
            <a:xfrm>
              <a:off x="7053257" y="3763614"/>
              <a:ext cx="204383" cy="278916"/>
            </a:xfrm>
            <a:custGeom>
              <a:avLst/>
              <a:gdLst/>
              <a:ahLst/>
              <a:cxnLst/>
              <a:rect l="l" t="t" r="r" b="b"/>
              <a:pathLst>
                <a:path w="237655" h="324321" extrusionOk="0">
                  <a:moveTo>
                    <a:pt x="103670" y="224422"/>
                  </a:moveTo>
                  <a:cubicBezTo>
                    <a:pt x="118910" y="164097"/>
                    <a:pt x="80810" y="37097"/>
                    <a:pt x="129070" y="1537"/>
                  </a:cubicBezTo>
                  <a:cubicBezTo>
                    <a:pt x="197650" y="-13703"/>
                    <a:pt x="200190" y="88532"/>
                    <a:pt x="237655" y="124092"/>
                  </a:cubicBezTo>
                  <a:cubicBezTo>
                    <a:pt x="219875" y="178702"/>
                    <a:pt x="165900" y="59957"/>
                    <a:pt x="132245" y="71387"/>
                  </a:cubicBezTo>
                  <a:cubicBezTo>
                    <a:pt x="115735" y="135522"/>
                    <a:pt x="151930" y="215532"/>
                    <a:pt x="110655" y="271412"/>
                  </a:cubicBezTo>
                  <a:cubicBezTo>
                    <a:pt x="-25235" y="413017"/>
                    <a:pt x="-45555" y="225692"/>
                    <a:pt x="103670" y="224422"/>
                  </a:cubicBezTo>
                  <a:close/>
                  <a:moveTo>
                    <a:pt x="176060" y="65672"/>
                  </a:moveTo>
                  <a:cubicBezTo>
                    <a:pt x="170980" y="47892"/>
                    <a:pt x="167170" y="29477"/>
                    <a:pt x="146850" y="25032"/>
                  </a:cubicBezTo>
                  <a:cubicBezTo>
                    <a:pt x="136690" y="33922"/>
                    <a:pt x="136690" y="33922"/>
                    <a:pt x="134785" y="44082"/>
                  </a:cubicBezTo>
                  <a:cubicBezTo>
                    <a:pt x="148755" y="51067"/>
                    <a:pt x="162090" y="58687"/>
                    <a:pt x="176060" y="6567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8" name="Google Shape;91;p2">
              <a:extLst>
                <a:ext uri="{FF2B5EF4-FFF2-40B4-BE49-F238E27FC236}">
                  <a16:creationId xmlns:a16="http://schemas.microsoft.com/office/drawing/2014/main" id="{04D85F76-A436-4F44-A271-5812B6E37004}"/>
                </a:ext>
              </a:extLst>
            </p:cNvPr>
            <p:cNvSpPr/>
            <p:nvPr/>
          </p:nvSpPr>
          <p:spPr>
            <a:xfrm>
              <a:off x="711508" y="3001159"/>
              <a:ext cx="154433" cy="272786"/>
            </a:xfrm>
            <a:custGeom>
              <a:avLst/>
              <a:gdLst/>
              <a:ahLst/>
              <a:cxnLst/>
              <a:rect l="l" t="t" r="r" b="b"/>
              <a:pathLst>
                <a:path w="179573" h="317193" extrusionOk="0">
                  <a:moveTo>
                    <a:pt x="48300" y="7056"/>
                  </a:moveTo>
                  <a:cubicBezTo>
                    <a:pt x="85130" y="8961"/>
                    <a:pt x="155616" y="-21519"/>
                    <a:pt x="159425" y="31186"/>
                  </a:cubicBezTo>
                  <a:cubicBezTo>
                    <a:pt x="167680" y="121356"/>
                    <a:pt x="186096" y="212796"/>
                    <a:pt x="177205" y="302966"/>
                  </a:cubicBezTo>
                  <a:cubicBezTo>
                    <a:pt x="142280" y="316301"/>
                    <a:pt x="114975" y="320111"/>
                    <a:pt x="85766" y="315031"/>
                  </a:cubicBezTo>
                  <a:cubicBezTo>
                    <a:pt x="69255" y="264231"/>
                    <a:pt x="90211" y="208351"/>
                    <a:pt x="78780" y="154376"/>
                  </a:cubicBezTo>
                  <a:cubicBezTo>
                    <a:pt x="-62189" y="192476"/>
                    <a:pt x="24171" y="74366"/>
                    <a:pt x="48300" y="7056"/>
                  </a:cubicBezTo>
                  <a:close/>
                  <a:moveTo>
                    <a:pt x="109261" y="290901"/>
                  </a:moveTo>
                  <a:cubicBezTo>
                    <a:pt x="134025" y="291536"/>
                    <a:pt x="134025" y="291536"/>
                    <a:pt x="154346" y="278836"/>
                  </a:cubicBezTo>
                  <a:cubicBezTo>
                    <a:pt x="153075" y="219781"/>
                    <a:pt x="167680" y="54046"/>
                    <a:pt x="118786" y="24201"/>
                  </a:cubicBezTo>
                  <a:cubicBezTo>
                    <a:pt x="53380" y="10231"/>
                    <a:pt x="40046" y="82621"/>
                    <a:pt x="20996" y="128976"/>
                  </a:cubicBezTo>
                  <a:cubicBezTo>
                    <a:pt x="48936" y="149931"/>
                    <a:pt x="55921" y="133421"/>
                    <a:pt x="69891" y="115641"/>
                  </a:cubicBezTo>
                  <a:cubicBezTo>
                    <a:pt x="135296" y="72461"/>
                    <a:pt x="83861" y="261691"/>
                    <a:pt x="109261" y="290901"/>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9" name="Google Shape;92;p2">
              <a:extLst>
                <a:ext uri="{FF2B5EF4-FFF2-40B4-BE49-F238E27FC236}">
                  <a16:creationId xmlns:a16="http://schemas.microsoft.com/office/drawing/2014/main" id="{1BD1C5A8-F98B-423D-96AC-88AEC1AE8FAD}"/>
                </a:ext>
              </a:extLst>
            </p:cNvPr>
            <p:cNvSpPr/>
            <p:nvPr/>
          </p:nvSpPr>
          <p:spPr>
            <a:xfrm>
              <a:off x="8576875" y="2558027"/>
              <a:ext cx="223822" cy="307981"/>
            </a:xfrm>
            <a:custGeom>
              <a:avLst/>
              <a:gdLst/>
              <a:ahLst/>
              <a:cxnLst/>
              <a:rect l="l" t="t" r="r" b="b"/>
              <a:pathLst>
                <a:path w="283319" h="389850" extrusionOk="0">
                  <a:moveTo>
                    <a:pt x="215764" y="169337"/>
                  </a:moveTo>
                  <a:cubicBezTo>
                    <a:pt x="302124" y="27097"/>
                    <a:pt x="90669" y="-68153"/>
                    <a:pt x="11294" y="60752"/>
                  </a:cubicBezTo>
                  <a:cubicBezTo>
                    <a:pt x="-7756" y="89962"/>
                    <a:pt x="-3946" y="100757"/>
                    <a:pt x="32249" y="114092"/>
                  </a:cubicBezTo>
                  <a:cubicBezTo>
                    <a:pt x="71619" y="115997"/>
                    <a:pt x="97019" y="51862"/>
                    <a:pt x="145279" y="76627"/>
                  </a:cubicBezTo>
                  <a:cubicBezTo>
                    <a:pt x="215764" y="123617"/>
                    <a:pt x="108449" y="154732"/>
                    <a:pt x="109719" y="185212"/>
                  </a:cubicBezTo>
                  <a:cubicBezTo>
                    <a:pt x="111624" y="209342"/>
                    <a:pt x="220844" y="209977"/>
                    <a:pt x="165599" y="293162"/>
                  </a:cubicBezTo>
                  <a:cubicBezTo>
                    <a:pt x="115434" y="342057"/>
                    <a:pt x="90669" y="265222"/>
                    <a:pt x="53204" y="286812"/>
                  </a:cubicBezTo>
                  <a:cubicBezTo>
                    <a:pt x="41774" y="293797"/>
                    <a:pt x="19549" y="293162"/>
                    <a:pt x="19549" y="310942"/>
                  </a:cubicBezTo>
                  <a:cubicBezTo>
                    <a:pt x="44949" y="470962"/>
                    <a:pt x="437379" y="369362"/>
                    <a:pt x="215764" y="169337"/>
                  </a:cubicBezTo>
                  <a:close/>
                  <a:moveTo>
                    <a:pt x="255769" y="311577"/>
                  </a:moveTo>
                  <a:cubicBezTo>
                    <a:pt x="230369" y="375712"/>
                    <a:pt x="58919" y="393492"/>
                    <a:pt x="43679" y="321102"/>
                  </a:cubicBezTo>
                  <a:cubicBezTo>
                    <a:pt x="53204" y="313482"/>
                    <a:pt x="60189" y="310942"/>
                    <a:pt x="70984" y="308402"/>
                  </a:cubicBezTo>
                  <a:cubicBezTo>
                    <a:pt x="145914" y="381427"/>
                    <a:pt x="251959" y="274112"/>
                    <a:pt x="178299" y="199817"/>
                  </a:cubicBezTo>
                  <a:cubicBezTo>
                    <a:pt x="157344" y="184577"/>
                    <a:pt x="144644" y="190927"/>
                    <a:pt x="171314" y="159812"/>
                  </a:cubicBezTo>
                  <a:cubicBezTo>
                    <a:pt x="239259" y="61387"/>
                    <a:pt x="99559" y="5507"/>
                    <a:pt x="35424" y="93772"/>
                  </a:cubicBezTo>
                  <a:cubicBezTo>
                    <a:pt x="-5851" y="29002"/>
                    <a:pt x="261484" y="-44023"/>
                    <a:pt x="204334" y="148382"/>
                  </a:cubicBezTo>
                  <a:cubicBezTo>
                    <a:pt x="201159" y="161082"/>
                    <a:pt x="201159" y="165527"/>
                    <a:pt x="188459" y="178227"/>
                  </a:cubicBezTo>
                  <a:cubicBezTo>
                    <a:pt x="227829" y="190292"/>
                    <a:pt x="275454" y="281097"/>
                    <a:pt x="255769" y="31157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0" name="Google Shape;93;p2">
              <a:extLst>
                <a:ext uri="{FF2B5EF4-FFF2-40B4-BE49-F238E27FC236}">
                  <a16:creationId xmlns:a16="http://schemas.microsoft.com/office/drawing/2014/main" id="{D358510C-7FE3-4EC0-A6FC-0C87AEC9D1BC}"/>
                </a:ext>
              </a:extLst>
            </p:cNvPr>
            <p:cNvSpPr/>
            <p:nvPr/>
          </p:nvSpPr>
          <p:spPr>
            <a:xfrm>
              <a:off x="140852" y="836409"/>
              <a:ext cx="224053" cy="290283"/>
            </a:xfrm>
            <a:custGeom>
              <a:avLst/>
              <a:gdLst/>
              <a:ahLst/>
              <a:cxnLst/>
              <a:rect l="l" t="t" r="r" b="b"/>
              <a:pathLst>
                <a:path w="260527" h="337538" extrusionOk="0">
                  <a:moveTo>
                    <a:pt x="70965" y="150214"/>
                  </a:moveTo>
                  <a:cubicBezTo>
                    <a:pt x="-31905" y="199744"/>
                    <a:pt x="-8410" y="53058"/>
                    <a:pt x="50010" y="19403"/>
                  </a:cubicBezTo>
                  <a:cubicBezTo>
                    <a:pt x="99540" y="-21237"/>
                    <a:pt x="175740" y="6703"/>
                    <a:pt x="204315" y="59408"/>
                  </a:cubicBezTo>
                  <a:cubicBezTo>
                    <a:pt x="234160" y="115923"/>
                    <a:pt x="183360" y="176248"/>
                    <a:pt x="162405" y="228953"/>
                  </a:cubicBezTo>
                  <a:cubicBezTo>
                    <a:pt x="222730" y="254353"/>
                    <a:pt x="280515" y="204189"/>
                    <a:pt x="253845" y="309598"/>
                  </a:cubicBezTo>
                  <a:cubicBezTo>
                    <a:pt x="202410" y="340078"/>
                    <a:pt x="118590" y="320394"/>
                    <a:pt x="56360" y="337539"/>
                  </a:cubicBezTo>
                  <a:cubicBezTo>
                    <a:pt x="-5235" y="325473"/>
                    <a:pt x="102715" y="185139"/>
                    <a:pt x="110970" y="145133"/>
                  </a:cubicBezTo>
                  <a:cubicBezTo>
                    <a:pt x="160500" y="75919"/>
                    <a:pt x="55725" y="82269"/>
                    <a:pt x="70965" y="150214"/>
                  </a:cubicBezTo>
                  <a:close/>
                  <a:moveTo>
                    <a:pt x="123670" y="254353"/>
                  </a:moveTo>
                  <a:cubicBezTo>
                    <a:pt x="140180" y="194664"/>
                    <a:pt x="211935" y="137514"/>
                    <a:pt x="182725" y="75283"/>
                  </a:cubicBezTo>
                  <a:cubicBezTo>
                    <a:pt x="171930" y="39088"/>
                    <a:pt x="127480" y="13053"/>
                    <a:pt x="92555" y="25119"/>
                  </a:cubicBezTo>
                  <a:cubicBezTo>
                    <a:pt x="36040" y="25119"/>
                    <a:pt x="-10315" y="170533"/>
                    <a:pt x="46200" y="130528"/>
                  </a:cubicBezTo>
                  <a:cubicBezTo>
                    <a:pt x="49375" y="47978"/>
                    <a:pt x="174470" y="60678"/>
                    <a:pt x="140180" y="141958"/>
                  </a:cubicBezTo>
                  <a:cubicBezTo>
                    <a:pt x="119225" y="196569"/>
                    <a:pt x="72870" y="253083"/>
                    <a:pt x="69060" y="309598"/>
                  </a:cubicBezTo>
                  <a:cubicBezTo>
                    <a:pt x="109065" y="316583"/>
                    <a:pt x="193520" y="307694"/>
                    <a:pt x="232890" y="291183"/>
                  </a:cubicBezTo>
                  <a:cubicBezTo>
                    <a:pt x="234795" y="282928"/>
                    <a:pt x="236700" y="274039"/>
                    <a:pt x="238605" y="264514"/>
                  </a:cubicBezTo>
                  <a:cubicBezTo>
                    <a:pt x="197330" y="251178"/>
                    <a:pt x="166215" y="267689"/>
                    <a:pt x="123670" y="25435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61" name="Google Shape;94;p2">
              <a:extLst>
                <a:ext uri="{FF2B5EF4-FFF2-40B4-BE49-F238E27FC236}">
                  <a16:creationId xmlns:a16="http://schemas.microsoft.com/office/drawing/2014/main" id="{9062A484-71B7-4182-B701-AF300989DB6F}"/>
                </a:ext>
              </a:extLst>
            </p:cNvPr>
            <p:cNvGrpSpPr/>
            <p:nvPr/>
          </p:nvGrpSpPr>
          <p:grpSpPr>
            <a:xfrm>
              <a:off x="6457245" y="4530131"/>
              <a:ext cx="216066" cy="276377"/>
              <a:chOff x="6422295" y="3351500"/>
              <a:chExt cx="252856" cy="323399"/>
            </a:xfrm>
          </p:grpSpPr>
          <p:sp>
            <p:nvSpPr>
              <p:cNvPr id="74" name="Google Shape;95;p2">
                <a:extLst>
                  <a:ext uri="{FF2B5EF4-FFF2-40B4-BE49-F238E27FC236}">
                    <a16:creationId xmlns:a16="http://schemas.microsoft.com/office/drawing/2014/main" id="{D5B2D0E3-2414-483A-A92C-B41C7C2F4383}"/>
                  </a:ext>
                </a:extLst>
              </p:cNvPr>
              <p:cNvSpPr/>
              <p:nvPr/>
            </p:nvSpPr>
            <p:spPr>
              <a:xfrm>
                <a:off x="6422295" y="3351500"/>
                <a:ext cx="252856" cy="323399"/>
              </a:xfrm>
              <a:custGeom>
                <a:avLst/>
                <a:gdLst/>
                <a:ahLst/>
                <a:cxnLst/>
                <a:rect l="l" t="t" r="r" b="b"/>
                <a:pathLst>
                  <a:path w="294019" h="376045" extrusionOk="0">
                    <a:moveTo>
                      <a:pt x="172720" y="274801"/>
                    </a:moveTo>
                    <a:cubicBezTo>
                      <a:pt x="154940" y="268451"/>
                      <a:pt x="140970" y="274801"/>
                      <a:pt x="126365" y="278611"/>
                    </a:cubicBezTo>
                    <a:cubicBezTo>
                      <a:pt x="109855" y="304011"/>
                      <a:pt x="109220" y="334491"/>
                      <a:pt x="99695" y="364336"/>
                    </a:cubicBezTo>
                    <a:cubicBezTo>
                      <a:pt x="71755" y="359256"/>
                      <a:pt x="0" y="392911"/>
                      <a:pt x="0" y="352906"/>
                    </a:cubicBezTo>
                    <a:cubicBezTo>
                      <a:pt x="38100" y="239241"/>
                      <a:pt x="70485" y="123671"/>
                      <a:pt x="102235" y="8101"/>
                    </a:cubicBezTo>
                    <a:cubicBezTo>
                      <a:pt x="248920" y="-26189"/>
                      <a:pt x="236855" y="52551"/>
                      <a:pt x="264160" y="165581"/>
                    </a:cubicBezTo>
                    <a:cubicBezTo>
                      <a:pt x="262255" y="201776"/>
                      <a:pt x="322580" y="359256"/>
                      <a:pt x="276860" y="358621"/>
                    </a:cubicBezTo>
                    <a:cubicBezTo>
                      <a:pt x="153670" y="357986"/>
                      <a:pt x="184150" y="433551"/>
                      <a:pt x="172720" y="274801"/>
                    </a:cubicBezTo>
                    <a:close/>
                    <a:moveTo>
                      <a:pt x="266700" y="331316"/>
                    </a:moveTo>
                    <a:cubicBezTo>
                      <a:pt x="262255" y="229081"/>
                      <a:pt x="236220" y="119861"/>
                      <a:pt x="201295" y="23341"/>
                    </a:cubicBezTo>
                    <a:cubicBezTo>
                      <a:pt x="175895" y="22071"/>
                      <a:pt x="129540" y="8736"/>
                      <a:pt x="120015" y="41121"/>
                    </a:cubicBezTo>
                    <a:cubicBezTo>
                      <a:pt x="86995" y="139546"/>
                      <a:pt x="53975" y="239876"/>
                      <a:pt x="33655" y="341476"/>
                    </a:cubicBezTo>
                    <a:cubicBezTo>
                      <a:pt x="90805" y="367511"/>
                      <a:pt x="90805" y="291946"/>
                      <a:pt x="106680" y="256386"/>
                    </a:cubicBezTo>
                    <a:cubicBezTo>
                      <a:pt x="290195" y="214476"/>
                      <a:pt x="113665" y="389736"/>
                      <a:pt x="266700" y="33131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5" name="Google Shape;96;p2">
                <a:extLst>
                  <a:ext uri="{FF2B5EF4-FFF2-40B4-BE49-F238E27FC236}">
                    <a16:creationId xmlns:a16="http://schemas.microsoft.com/office/drawing/2014/main" id="{4B02C55D-41F4-4253-8C65-32414270B842}"/>
                  </a:ext>
                </a:extLst>
              </p:cNvPr>
              <p:cNvSpPr/>
              <p:nvPr/>
            </p:nvSpPr>
            <p:spPr>
              <a:xfrm>
                <a:off x="6523827" y="3405472"/>
                <a:ext cx="67661" cy="140626"/>
              </a:xfrm>
              <a:custGeom>
                <a:avLst/>
                <a:gdLst/>
                <a:ahLst/>
                <a:cxnLst/>
                <a:rect l="l" t="t" r="r" b="b"/>
                <a:pathLst>
                  <a:path w="78676" h="163519" extrusionOk="0">
                    <a:moveTo>
                      <a:pt x="47759" y="0"/>
                    </a:moveTo>
                    <a:cubicBezTo>
                      <a:pt x="77604" y="36830"/>
                      <a:pt x="59824" y="93345"/>
                      <a:pt x="76969" y="137160"/>
                    </a:cubicBezTo>
                    <a:cubicBezTo>
                      <a:pt x="82049" y="150495"/>
                      <a:pt x="75699" y="170180"/>
                      <a:pt x="59189" y="161290"/>
                    </a:cubicBezTo>
                    <a:cubicBezTo>
                      <a:pt x="38869" y="149860"/>
                      <a:pt x="-8756" y="165735"/>
                      <a:pt x="1404" y="127635"/>
                    </a:cubicBezTo>
                    <a:cubicBezTo>
                      <a:pt x="15374" y="83820"/>
                      <a:pt x="14104" y="35560"/>
                      <a:pt x="47759" y="0"/>
                    </a:cubicBezTo>
                    <a:close/>
                    <a:moveTo>
                      <a:pt x="25534" y="130810"/>
                    </a:moveTo>
                    <a:cubicBezTo>
                      <a:pt x="68714" y="151130"/>
                      <a:pt x="47124" y="101600"/>
                      <a:pt x="44584" y="77470"/>
                    </a:cubicBezTo>
                    <a:cubicBezTo>
                      <a:pt x="31249" y="97155"/>
                      <a:pt x="26804" y="113665"/>
                      <a:pt x="25534" y="13081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62" name="Google Shape;97;p2">
              <a:extLst>
                <a:ext uri="{FF2B5EF4-FFF2-40B4-BE49-F238E27FC236}">
                  <a16:creationId xmlns:a16="http://schemas.microsoft.com/office/drawing/2014/main" id="{4B42BFA4-94A2-47FB-884C-087EEABE659B}"/>
                </a:ext>
              </a:extLst>
            </p:cNvPr>
            <p:cNvGrpSpPr/>
            <p:nvPr/>
          </p:nvGrpSpPr>
          <p:grpSpPr>
            <a:xfrm>
              <a:off x="2318449" y="604142"/>
              <a:ext cx="332332" cy="346582"/>
              <a:chOff x="2318449" y="604142"/>
              <a:chExt cx="332332" cy="346582"/>
            </a:xfrm>
          </p:grpSpPr>
          <p:sp>
            <p:nvSpPr>
              <p:cNvPr id="72" name="Google Shape;98;p2">
                <a:extLst>
                  <a:ext uri="{FF2B5EF4-FFF2-40B4-BE49-F238E27FC236}">
                    <a16:creationId xmlns:a16="http://schemas.microsoft.com/office/drawing/2014/main" id="{45BFEA4F-7187-48C0-BE71-F050BBD1D2AC}"/>
                  </a:ext>
                </a:extLst>
              </p:cNvPr>
              <p:cNvSpPr/>
              <p:nvPr/>
            </p:nvSpPr>
            <p:spPr>
              <a:xfrm>
                <a:off x="2361884" y="604142"/>
                <a:ext cx="288826" cy="292506"/>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73" name="Google Shape;99;p2">
                <a:extLst>
                  <a:ext uri="{FF2B5EF4-FFF2-40B4-BE49-F238E27FC236}">
                    <a16:creationId xmlns:a16="http://schemas.microsoft.com/office/drawing/2014/main" id="{5E5C0466-3ECB-4D2F-A47F-B12B99490945}"/>
                  </a:ext>
                </a:extLst>
              </p:cNvPr>
              <p:cNvSpPr/>
              <p:nvPr/>
            </p:nvSpPr>
            <p:spPr>
              <a:xfrm>
                <a:off x="2318449" y="613815"/>
                <a:ext cx="332332" cy="336908"/>
              </a:xfrm>
              <a:custGeom>
                <a:avLst/>
                <a:gdLst/>
                <a:ahLst/>
                <a:cxnLst/>
                <a:rect l="l" t="t" r="r" b="b"/>
                <a:pathLst>
                  <a:path w="386433" h="391754" extrusionOk="0">
                    <a:moveTo>
                      <a:pt x="22225" y="106004"/>
                    </a:moveTo>
                    <a:cubicBezTo>
                      <a:pt x="40640" y="82509"/>
                      <a:pt x="84455" y="92670"/>
                      <a:pt x="109855" y="76795"/>
                    </a:cubicBezTo>
                    <a:cubicBezTo>
                      <a:pt x="113030" y="58379"/>
                      <a:pt x="107315" y="43139"/>
                      <a:pt x="98425" y="27264"/>
                    </a:cubicBezTo>
                    <a:cubicBezTo>
                      <a:pt x="122555" y="8850"/>
                      <a:pt x="153035" y="-7661"/>
                      <a:pt x="182880" y="3770"/>
                    </a:cubicBezTo>
                    <a:cubicBezTo>
                      <a:pt x="186690" y="19645"/>
                      <a:pt x="190500" y="36789"/>
                      <a:pt x="194945" y="55839"/>
                    </a:cubicBezTo>
                    <a:cubicBezTo>
                      <a:pt x="226695" y="60284"/>
                      <a:pt x="256540" y="42504"/>
                      <a:pt x="287020" y="52664"/>
                    </a:cubicBezTo>
                    <a:cubicBezTo>
                      <a:pt x="300355" y="119339"/>
                      <a:pt x="327660" y="186014"/>
                      <a:pt x="373380" y="237450"/>
                    </a:cubicBezTo>
                    <a:cubicBezTo>
                      <a:pt x="386080" y="250150"/>
                      <a:pt x="388620" y="262850"/>
                      <a:pt x="384810" y="280629"/>
                    </a:cubicBezTo>
                    <a:cubicBezTo>
                      <a:pt x="356870" y="380325"/>
                      <a:pt x="198755" y="356195"/>
                      <a:pt x="115570" y="391754"/>
                    </a:cubicBezTo>
                    <a:cubicBezTo>
                      <a:pt x="31115" y="324445"/>
                      <a:pt x="4445" y="213320"/>
                      <a:pt x="0" y="108545"/>
                    </a:cubicBezTo>
                    <a:cubicBezTo>
                      <a:pt x="8890" y="107275"/>
                      <a:pt x="15875" y="106004"/>
                      <a:pt x="22860" y="105370"/>
                    </a:cubicBezTo>
                    <a:cubicBezTo>
                      <a:pt x="16510" y="199984"/>
                      <a:pt x="46990" y="300314"/>
                      <a:pt x="115570" y="368259"/>
                    </a:cubicBezTo>
                    <a:cubicBezTo>
                      <a:pt x="184150" y="354925"/>
                      <a:pt x="258445" y="348575"/>
                      <a:pt x="323215" y="320634"/>
                    </a:cubicBezTo>
                    <a:cubicBezTo>
                      <a:pt x="316865" y="290789"/>
                      <a:pt x="302895" y="271104"/>
                      <a:pt x="309245" y="243164"/>
                    </a:cubicBezTo>
                    <a:cubicBezTo>
                      <a:pt x="322580" y="243164"/>
                      <a:pt x="333375" y="243164"/>
                      <a:pt x="347980" y="243164"/>
                    </a:cubicBezTo>
                    <a:cubicBezTo>
                      <a:pt x="325755" y="189825"/>
                      <a:pt x="288290" y="147279"/>
                      <a:pt x="278765" y="88225"/>
                    </a:cubicBezTo>
                    <a:cubicBezTo>
                      <a:pt x="273685" y="48220"/>
                      <a:pt x="226695" y="69809"/>
                      <a:pt x="203835" y="81875"/>
                    </a:cubicBezTo>
                    <a:cubicBezTo>
                      <a:pt x="206375" y="93304"/>
                      <a:pt x="208280" y="102829"/>
                      <a:pt x="210185" y="112354"/>
                    </a:cubicBezTo>
                    <a:cubicBezTo>
                      <a:pt x="182245" y="123784"/>
                      <a:pt x="158115" y="145375"/>
                      <a:pt x="128270" y="132675"/>
                    </a:cubicBezTo>
                    <a:cubicBezTo>
                      <a:pt x="121285" y="63459"/>
                      <a:pt x="57150" y="126325"/>
                      <a:pt x="22225" y="106004"/>
                    </a:cubicBezTo>
                    <a:close/>
                    <a:moveTo>
                      <a:pt x="165100" y="21550"/>
                    </a:moveTo>
                    <a:cubicBezTo>
                      <a:pt x="107315" y="11389"/>
                      <a:pt x="133350" y="88225"/>
                      <a:pt x="145415" y="118070"/>
                    </a:cubicBezTo>
                    <a:cubicBezTo>
                      <a:pt x="163195" y="119975"/>
                      <a:pt x="173355" y="109814"/>
                      <a:pt x="185420" y="100289"/>
                    </a:cubicBezTo>
                    <a:cubicBezTo>
                      <a:pt x="179070" y="72984"/>
                      <a:pt x="172720" y="46314"/>
                      <a:pt x="165100" y="21550"/>
                    </a:cubicBezTo>
                    <a:close/>
                    <a:moveTo>
                      <a:pt x="327660" y="266025"/>
                    </a:moveTo>
                    <a:cubicBezTo>
                      <a:pt x="328930" y="337145"/>
                      <a:pt x="368300" y="313014"/>
                      <a:pt x="357505" y="266025"/>
                    </a:cubicBezTo>
                    <a:cubicBezTo>
                      <a:pt x="349885" y="266025"/>
                      <a:pt x="340360" y="266025"/>
                      <a:pt x="327660" y="26602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63" name="Google Shape;100;p2">
              <a:extLst>
                <a:ext uri="{FF2B5EF4-FFF2-40B4-BE49-F238E27FC236}">
                  <a16:creationId xmlns:a16="http://schemas.microsoft.com/office/drawing/2014/main" id="{FA513803-C6DB-4A96-B1CD-9E139ADB0FB6}"/>
                </a:ext>
              </a:extLst>
            </p:cNvPr>
            <p:cNvSpPr/>
            <p:nvPr/>
          </p:nvSpPr>
          <p:spPr>
            <a:xfrm>
              <a:off x="6021196" y="137179"/>
              <a:ext cx="265484" cy="205157"/>
            </a:xfrm>
            <a:custGeom>
              <a:avLst/>
              <a:gdLst/>
              <a:ahLst/>
              <a:cxnLst/>
              <a:rect l="l" t="t" r="r" b="b"/>
              <a:pathLst>
                <a:path w="308702" h="238555" extrusionOk="0">
                  <a:moveTo>
                    <a:pt x="275682" y="130540"/>
                  </a:moveTo>
                  <a:cubicBezTo>
                    <a:pt x="186782" y="134985"/>
                    <a:pt x="95977" y="143875"/>
                    <a:pt x="7712" y="150225"/>
                  </a:cubicBezTo>
                  <a:cubicBezTo>
                    <a:pt x="-8798" y="168640"/>
                    <a:pt x="1997" y="241030"/>
                    <a:pt x="32477" y="238490"/>
                  </a:cubicBezTo>
                  <a:cubicBezTo>
                    <a:pt x="126457" y="218805"/>
                    <a:pt x="214087" y="238490"/>
                    <a:pt x="308702" y="211820"/>
                  </a:cubicBezTo>
                  <a:cubicBezTo>
                    <a:pt x="278857" y="185150"/>
                    <a:pt x="322672" y="132445"/>
                    <a:pt x="275682" y="130540"/>
                  </a:cubicBezTo>
                  <a:close/>
                  <a:moveTo>
                    <a:pt x="271872" y="187690"/>
                  </a:moveTo>
                  <a:cubicBezTo>
                    <a:pt x="200752" y="219440"/>
                    <a:pt x="111217" y="202930"/>
                    <a:pt x="33112" y="211185"/>
                  </a:cubicBezTo>
                  <a:cubicBezTo>
                    <a:pt x="25492" y="195310"/>
                    <a:pt x="24857" y="195310"/>
                    <a:pt x="29302" y="175625"/>
                  </a:cubicBezTo>
                  <a:cubicBezTo>
                    <a:pt x="108677" y="166100"/>
                    <a:pt x="196307" y="146415"/>
                    <a:pt x="274412" y="159750"/>
                  </a:cubicBezTo>
                  <a:cubicBezTo>
                    <a:pt x="273777" y="169275"/>
                    <a:pt x="272507" y="179435"/>
                    <a:pt x="271872" y="187690"/>
                  </a:cubicBezTo>
                  <a:close/>
                  <a:moveTo>
                    <a:pt x="3902" y="80375"/>
                  </a:moveTo>
                  <a:cubicBezTo>
                    <a:pt x="10252" y="126095"/>
                    <a:pt x="181067" y="83550"/>
                    <a:pt x="218532" y="87995"/>
                  </a:cubicBezTo>
                  <a:cubicBezTo>
                    <a:pt x="295367" y="95615"/>
                    <a:pt x="307432" y="97520"/>
                    <a:pt x="293462" y="19415"/>
                  </a:cubicBezTo>
                  <a:cubicBezTo>
                    <a:pt x="285842" y="-17415"/>
                    <a:pt x="73117" y="11160"/>
                    <a:pt x="28032" y="2270"/>
                  </a:cubicBezTo>
                  <a:cubicBezTo>
                    <a:pt x="-10068" y="1635"/>
                    <a:pt x="6442" y="55610"/>
                    <a:pt x="3902" y="80375"/>
                  </a:cubicBezTo>
                  <a:close/>
                  <a:moveTo>
                    <a:pt x="40097" y="25130"/>
                  </a:moveTo>
                  <a:cubicBezTo>
                    <a:pt x="78197" y="25765"/>
                    <a:pt x="115027" y="14970"/>
                    <a:pt x="153762" y="23225"/>
                  </a:cubicBezTo>
                  <a:cubicBezTo>
                    <a:pt x="189957" y="39735"/>
                    <a:pt x="274412" y="-6620"/>
                    <a:pt x="276317" y="52435"/>
                  </a:cubicBezTo>
                  <a:cubicBezTo>
                    <a:pt x="287747" y="79105"/>
                    <a:pt x="54067" y="73390"/>
                    <a:pt x="26762" y="72120"/>
                  </a:cubicBezTo>
                  <a:cubicBezTo>
                    <a:pt x="27397" y="54975"/>
                    <a:pt x="15332" y="26400"/>
                    <a:pt x="40097" y="2513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64" name="Google Shape;101;p2">
              <a:extLst>
                <a:ext uri="{FF2B5EF4-FFF2-40B4-BE49-F238E27FC236}">
                  <a16:creationId xmlns:a16="http://schemas.microsoft.com/office/drawing/2014/main" id="{B80C4209-0690-4AAC-BF88-3AB881D5F86A}"/>
                </a:ext>
              </a:extLst>
            </p:cNvPr>
            <p:cNvGrpSpPr/>
            <p:nvPr/>
          </p:nvGrpSpPr>
          <p:grpSpPr>
            <a:xfrm>
              <a:off x="1184427" y="4630083"/>
              <a:ext cx="229693" cy="293080"/>
              <a:chOff x="6793660" y="3322411"/>
              <a:chExt cx="268804" cy="342944"/>
            </a:xfrm>
          </p:grpSpPr>
          <p:sp>
            <p:nvSpPr>
              <p:cNvPr id="69" name="Google Shape;102;p2">
                <a:extLst>
                  <a:ext uri="{FF2B5EF4-FFF2-40B4-BE49-F238E27FC236}">
                    <a16:creationId xmlns:a16="http://schemas.microsoft.com/office/drawing/2014/main" id="{B923C977-ADAA-4F71-9F28-0DB582894E5B}"/>
                  </a:ext>
                </a:extLst>
              </p:cNvPr>
              <p:cNvSpPr/>
              <p:nvPr/>
            </p:nvSpPr>
            <p:spPr>
              <a:xfrm>
                <a:off x="6793660" y="3322411"/>
                <a:ext cx="268804" cy="342944"/>
              </a:xfrm>
              <a:custGeom>
                <a:avLst/>
                <a:gdLst/>
                <a:ahLst/>
                <a:cxnLst/>
                <a:rect l="l" t="t" r="r" b="b"/>
                <a:pathLst>
                  <a:path w="312563" h="398772" extrusionOk="0">
                    <a:moveTo>
                      <a:pt x="216826" y="153028"/>
                    </a:moveTo>
                    <a:cubicBezTo>
                      <a:pt x="221271" y="163188"/>
                      <a:pt x="230796" y="165093"/>
                      <a:pt x="238416" y="166997"/>
                    </a:cubicBezTo>
                    <a:cubicBezTo>
                      <a:pt x="302551" y="185413"/>
                      <a:pt x="337476" y="278758"/>
                      <a:pt x="291756" y="323843"/>
                    </a:cubicBezTo>
                    <a:cubicBezTo>
                      <a:pt x="232701" y="397503"/>
                      <a:pt x="134911" y="398772"/>
                      <a:pt x="48551" y="398772"/>
                    </a:cubicBezTo>
                    <a:cubicBezTo>
                      <a:pt x="926" y="373372"/>
                      <a:pt x="31406" y="246372"/>
                      <a:pt x="16166" y="193668"/>
                    </a:cubicBezTo>
                    <a:cubicBezTo>
                      <a:pt x="21881" y="142868"/>
                      <a:pt x="-23839" y="59047"/>
                      <a:pt x="17436" y="23488"/>
                    </a:cubicBezTo>
                    <a:cubicBezTo>
                      <a:pt x="114591" y="-33028"/>
                      <a:pt x="340016" y="13328"/>
                      <a:pt x="216826" y="153028"/>
                    </a:cubicBezTo>
                    <a:close/>
                    <a:moveTo>
                      <a:pt x="54901" y="378453"/>
                    </a:moveTo>
                    <a:cubicBezTo>
                      <a:pt x="170471" y="401313"/>
                      <a:pt x="394626" y="293997"/>
                      <a:pt x="234606" y="185413"/>
                    </a:cubicBezTo>
                    <a:cubicBezTo>
                      <a:pt x="203491" y="168903"/>
                      <a:pt x="153326" y="198747"/>
                      <a:pt x="133006" y="175253"/>
                    </a:cubicBezTo>
                    <a:cubicBezTo>
                      <a:pt x="144436" y="149218"/>
                      <a:pt x="190791" y="149218"/>
                      <a:pt x="209206" y="125088"/>
                    </a:cubicBezTo>
                    <a:cubicBezTo>
                      <a:pt x="287946" y="16503"/>
                      <a:pt x="107606" y="-642"/>
                      <a:pt x="40296" y="38093"/>
                    </a:cubicBezTo>
                    <a:cubicBezTo>
                      <a:pt x="2831" y="52697"/>
                      <a:pt x="33311" y="106672"/>
                      <a:pt x="30136" y="137153"/>
                    </a:cubicBezTo>
                    <a:cubicBezTo>
                      <a:pt x="44741" y="218433"/>
                      <a:pt x="40931" y="297808"/>
                      <a:pt x="54901" y="37845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0" name="Google Shape;103;p2">
                <a:extLst>
                  <a:ext uri="{FF2B5EF4-FFF2-40B4-BE49-F238E27FC236}">
                    <a16:creationId xmlns:a16="http://schemas.microsoft.com/office/drawing/2014/main" id="{A15BC7F6-A2A2-4D19-AC66-B91FA8853697}"/>
                  </a:ext>
                </a:extLst>
              </p:cNvPr>
              <p:cNvSpPr/>
              <p:nvPr/>
            </p:nvSpPr>
            <p:spPr>
              <a:xfrm>
                <a:off x="6856211" y="3513113"/>
                <a:ext cx="129046" cy="89953"/>
              </a:xfrm>
              <a:custGeom>
                <a:avLst/>
                <a:gdLst/>
                <a:ahLst/>
                <a:cxnLst/>
                <a:rect l="l" t="t" r="r" b="b"/>
                <a:pathLst>
                  <a:path w="150053" h="104597" extrusionOk="0">
                    <a:moveTo>
                      <a:pt x="0" y="23515"/>
                    </a:moveTo>
                    <a:cubicBezTo>
                      <a:pt x="96520" y="-43160"/>
                      <a:pt x="239395" y="48280"/>
                      <a:pt x="74930" y="95905"/>
                    </a:cubicBezTo>
                    <a:cubicBezTo>
                      <a:pt x="-23495" y="118765"/>
                      <a:pt x="19685" y="97175"/>
                      <a:pt x="0" y="23515"/>
                    </a:cubicBezTo>
                    <a:close/>
                    <a:moveTo>
                      <a:pt x="92075" y="16530"/>
                    </a:moveTo>
                    <a:cubicBezTo>
                      <a:pt x="57150" y="22880"/>
                      <a:pt x="17780" y="24150"/>
                      <a:pt x="31750" y="69235"/>
                    </a:cubicBezTo>
                    <a:cubicBezTo>
                      <a:pt x="53340" y="109875"/>
                      <a:pt x="184150" y="29230"/>
                      <a:pt x="92075" y="1653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1" name="Google Shape;104;p2">
                <a:extLst>
                  <a:ext uri="{FF2B5EF4-FFF2-40B4-BE49-F238E27FC236}">
                    <a16:creationId xmlns:a16="http://schemas.microsoft.com/office/drawing/2014/main" id="{9FEC534F-B9AF-47D0-9970-81E5E96067BD}"/>
                  </a:ext>
                </a:extLst>
              </p:cNvPr>
              <p:cNvSpPr/>
              <p:nvPr/>
            </p:nvSpPr>
            <p:spPr>
              <a:xfrm>
                <a:off x="6843642" y="3359143"/>
                <a:ext cx="112645" cy="75760"/>
              </a:xfrm>
              <a:custGeom>
                <a:avLst/>
                <a:gdLst/>
                <a:ahLst/>
                <a:cxnLst/>
                <a:rect l="l" t="t" r="r" b="b"/>
                <a:pathLst>
                  <a:path w="130983" h="88093" extrusionOk="0">
                    <a:moveTo>
                      <a:pt x="0" y="22716"/>
                    </a:moveTo>
                    <a:cubicBezTo>
                      <a:pt x="33020" y="8111"/>
                      <a:pt x="162560" y="-29989"/>
                      <a:pt x="123825" y="44941"/>
                    </a:cubicBezTo>
                    <a:cubicBezTo>
                      <a:pt x="67945" y="81136"/>
                      <a:pt x="0" y="130031"/>
                      <a:pt x="0" y="22716"/>
                    </a:cubicBezTo>
                    <a:close/>
                    <a:moveTo>
                      <a:pt x="34289" y="67166"/>
                    </a:moveTo>
                    <a:cubicBezTo>
                      <a:pt x="60325" y="58911"/>
                      <a:pt x="96520" y="46846"/>
                      <a:pt x="102235" y="20176"/>
                    </a:cubicBezTo>
                    <a:cubicBezTo>
                      <a:pt x="74295" y="17636"/>
                      <a:pt x="50164" y="25256"/>
                      <a:pt x="27305" y="37321"/>
                    </a:cubicBezTo>
                    <a:cubicBezTo>
                      <a:pt x="24130" y="49386"/>
                      <a:pt x="24764" y="57641"/>
                      <a:pt x="34289" y="6716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65" name="Google Shape;105;p2">
              <a:extLst>
                <a:ext uri="{FF2B5EF4-FFF2-40B4-BE49-F238E27FC236}">
                  <a16:creationId xmlns:a16="http://schemas.microsoft.com/office/drawing/2014/main" id="{3C5A8E4E-2D95-42E0-BFF6-55CD715703A5}"/>
                </a:ext>
              </a:extLst>
            </p:cNvPr>
            <p:cNvSpPr/>
            <p:nvPr/>
          </p:nvSpPr>
          <p:spPr>
            <a:xfrm>
              <a:off x="4843337" y="836403"/>
              <a:ext cx="377232" cy="204888"/>
            </a:xfrm>
            <a:custGeom>
              <a:avLst/>
              <a:gdLst/>
              <a:ahLst/>
              <a:cxnLst/>
              <a:rect l="l" t="t" r="r" b="b"/>
              <a:pathLst>
                <a:path w="550703" h="299106" extrusionOk="0">
                  <a:moveTo>
                    <a:pt x="315400" y="163550"/>
                  </a:moveTo>
                  <a:cubicBezTo>
                    <a:pt x="376995" y="159105"/>
                    <a:pt x="479865" y="221335"/>
                    <a:pt x="505265" y="137515"/>
                  </a:cubicBezTo>
                  <a:cubicBezTo>
                    <a:pt x="521140" y="29565"/>
                    <a:pt x="410015" y="17500"/>
                    <a:pt x="347150" y="85445"/>
                  </a:cubicBezTo>
                  <a:cubicBezTo>
                    <a:pt x="271585" y="162915"/>
                    <a:pt x="215070" y="322300"/>
                    <a:pt x="82355" y="296265"/>
                  </a:cubicBezTo>
                  <a:cubicBezTo>
                    <a:pt x="-122750" y="216255"/>
                    <a:pt x="103945" y="13055"/>
                    <a:pt x="235390" y="104495"/>
                  </a:cubicBezTo>
                  <a:cubicBezTo>
                    <a:pt x="255075" y="120370"/>
                    <a:pt x="243645" y="141960"/>
                    <a:pt x="220150" y="127990"/>
                  </a:cubicBezTo>
                  <a:cubicBezTo>
                    <a:pt x="107120" y="72745"/>
                    <a:pt x="-35755" y="251180"/>
                    <a:pt x="118550" y="248640"/>
                  </a:cubicBezTo>
                  <a:cubicBezTo>
                    <a:pt x="248725" y="211810"/>
                    <a:pt x="274760" y="49885"/>
                    <a:pt x="402395" y="9245"/>
                  </a:cubicBezTo>
                  <a:cubicBezTo>
                    <a:pt x="433510" y="1625"/>
                    <a:pt x="474785" y="-10440"/>
                    <a:pt x="498280" y="17500"/>
                  </a:cubicBezTo>
                  <a:cubicBezTo>
                    <a:pt x="519235" y="48615"/>
                    <a:pt x="559240" y="75920"/>
                    <a:pt x="549080" y="117830"/>
                  </a:cubicBezTo>
                  <a:cubicBezTo>
                    <a:pt x="541460" y="223240"/>
                    <a:pt x="350325" y="257530"/>
                    <a:pt x="315400" y="163550"/>
                  </a:cubicBezTo>
                  <a:close/>
                  <a:moveTo>
                    <a:pt x="128710" y="265785"/>
                  </a:moveTo>
                  <a:cubicBezTo>
                    <a:pt x="119820" y="279120"/>
                    <a:pt x="105215" y="267055"/>
                    <a:pt x="94420" y="274040"/>
                  </a:cubicBezTo>
                  <a:cubicBezTo>
                    <a:pt x="113470" y="281660"/>
                    <a:pt x="117280" y="256260"/>
                    <a:pt x="133790" y="268960"/>
                  </a:cubicBezTo>
                  <a:cubicBezTo>
                    <a:pt x="135060" y="268960"/>
                    <a:pt x="136330" y="267690"/>
                    <a:pt x="137600" y="267055"/>
                  </a:cubicBezTo>
                  <a:cubicBezTo>
                    <a:pt x="134425" y="266420"/>
                    <a:pt x="131885" y="266420"/>
                    <a:pt x="128710" y="265785"/>
                  </a:cubicBezTo>
                  <a:close/>
                  <a:moveTo>
                    <a:pt x="39175" y="164820"/>
                  </a:moveTo>
                  <a:cubicBezTo>
                    <a:pt x="11870" y="209270"/>
                    <a:pt x="25205" y="257530"/>
                    <a:pt x="65210" y="265150"/>
                  </a:cubicBezTo>
                  <a:cubicBezTo>
                    <a:pt x="34730" y="237210"/>
                    <a:pt x="20125" y="205460"/>
                    <a:pt x="39175" y="16482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6" name="Google Shape;106;p2">
              <a:extLst>
                <a:ext uri="{FF2B5EF4-FFF2-40B4-BE49-F238E27FC236}">
                  <a16:creationId xmlns:a16="http://schemas.microsoft.com/office/drawing/2014/main" id="{7401099E-BCAB-4984-9156-073D0B5C8ADF}"/>
                </a:ext>
              </a:extLst>
            </p:cNvPr>
            <p:cNvSpPr/>
            <p:nvPr/>
          </p:nvSpPr>
          <p:spPr>
            <a:xfrm rot="-2218186">
              <a:off x="-38492" y="151543"/>
              <a:ext cx="236276" cy="230041"/>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7" name="Google Shape;107;p2">
              <a:extLst>
                <a:ext uri="{FF2B5EF4-FFF2-40B4-BE49-F238E27FC236}">
                  <a16:creationId xmlns:a16="http://schemas.microsoft.com/office/drawing/2014/main" id="{F99A971C-E4E0-4CA7-8E34-DA50FE569F9B}"/>
                </a:ext>
              </a:extLst>
            </p:cNvPr>
            <p:cNvSpPr/>
            <p:nvPr/>
          </p:nvSpPr>
          <p:spPr>
            <a:xfrm rot="1464154">
              <a:off x="4569091" y="-94554"/>
              <a:ext cx="235935" cy="229710"/>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8" name="Google Shape;108;p2">
              <a:extLst>
                <a:ext uri="{FF2B5EF4-FFF2-40B4-BE49-F238E27FC236}">
                  <a16:creationId xmlns:a16="http://schemas.microsoft.com/office/drawing/2014/main" id="{C5971175-E8D4-45D8-BFD0-4CA9D07EEE87}"/>
                </a:ext>
              </a:extLst>
            </p:cNvPr>
            <p:cNvSpPr/>
            <p:nvPr/>
          </p:nvSpPr>
          <p:spPr>
            <a:xfrm rot="-2221343">
              <a:off x="1866371" y="3538528"/>
              <a:ext cx="206347" cy="200902"/>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Tree>
    <p:extLst>
      <p:ext uri="{BB962C8B-B14F-4D97-AF65-F5344CB8AC3E}">
        <p14:creationId xmlns:p14="http://schemas.microsoft.com/office/powerpoint/2010/main" val="223604310"/>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BADF89E-7B46-457A-968E-2EC4E643C292}"/>
              </a:ext>
            </a:extLst>
          </p:cNvPr>
          <p:cNvGraphicFramePr>
            <a:graphicFrameLocks noChangeAspect="1"/>
          </p:cNvGraphicFramePr>
          <p:nvPr userDrawn="1">
            <p:custDataLst>
              <p:tags r:id="rId1"/>
            </p:custDataLst>
            <p:extLst>
              <p:ext uri="{D42A27DB-BD31-4B8C-83A1-F6EECF244321}">
                <p14:modId xmlns:p14="http://schemas.microsoft.com/office/powerpoint/2010/main" val="3537625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5BADF89E-7B46-457A-968E-2EC4E643C2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da-DK" noProof="0"/>
              <a:t>Click to add title</a:t>
            </a:r>
            <a:endParaRPr lang="da-DK"/>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lvl1pPr rtl="0">
              <a:defRPr/>
            </a:lvl1pPr>
          </a:lstStyle>
          <a:p>
            <a:fld id="{7494C8F4-6B6A-48C1-B023-792B6BA54AED}" type="datetime1">
              <a:rPr lang="da-DK" smtClean="0"/>
              <a:pPr/>
              <a:t>03-02-2023</a:t>
            </a:fld>
            <a:endParaRPr lang="da-DK"/>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9907839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3181633-8F80-4D7E-B046-3481FFAD6D62}"/>
              </a:ext>
            </a:extLst>
          </p:cNvPr>
          <p:cNvGraphicFramePr>
            <a:graphicFrameLocks noChangeAspect="1"/>
          </p:cNvGraphicFramePr>
          <p:nvPr userDrawn="1">
            <p:custDataLst>
              <p:tags r:id="rId1"/>
            </p:custDataLst>
            <p:extLst>
              <p:ext uri="{D42A27DB-BD31-4B8C-83A1-F6EECF244321}">
                <p14:modId xmlns:p14="http://schemas.microsoft.com/office/powerpoint/2010/main" val="1089424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A3181633-8F80-4D7E-B046-3481FFAD6D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lvl1pPr rtl="0">
              <a:defRPr/>
            </a:lvl1pPr>
          </a:lstStyle>
          <a:p>
            <a:fld id="{8C247F8E-8C20-40E4-A53C-3DA358D8C9A7}" type="datetime1">
              <a:rPr lang="da-DK" smtClean="0"/>
              <a:pPr/>
              <a:t>03-02-2023</a:t>
            </a:fld>
            <a:endParaRPr lang="da-DK"/>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9548526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FAAEEF4-43C5-4FEC-A7AB-DEFE097F5DBF}"/>
              </a:ext>
            </a:extLst>
          </p:cNvPr>
          <p:cNvGraphicFramePr>
            <a:graphicFrameLocks noChangeAspect="1"/>
          </p:cNvGraphicFramePr>
          <p:nvPr userDrawn="1">
            <p:custDataLst>
              <p:tags r:id="rId1"/>
            </p:custDataLst>
            <p:extLst>
              <p:ext uri="{D42A27DB-BD31-4B8C-83A1-F6EECF244321}">
                <p14:modId xmlns:p14="http://schemas.microsoft.com/office/powerpoint/2010/main" val="2892288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0FAAEEF4-43C5-4FEC-A7AB-DEFE097F5D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8E8C12B2-0AE5-428E-985F-E18D4DA17AC7}" type="datetime1">
              <a:rPr lang="da-DK" smtClean="0"/>
              <a:pPr/>
              <a:t>03-02-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360000" y="654050"/>
            <a:ext cx="11471638" cy="938213"/>
          </a:xfrm>
        </p:spPr>
        <p:txBody>
          <a:bodyPr vert="horz" anchor="t" anchorCtr="0"/>
          <a:lstStyle>
            <a:lvl1pPr algn="l" rtl="0">
              <a:defRPr sz="6000">
                <a:solidFill>
                  <a:schemeClr val="bg2"/>
                </a:solidFill>
              </a:defRPr>
            </a:lvl1pPr>
          </a:lstStyle>
          <a:p>
            <a:r>
              <a:rPr lang="da-DK" noProof="0"/>
              <a:t>Click to add </a:t>
            </a:r>
            <a:r>
              <a:rPr lang="da-DK"/>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3797425276"/>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6E477C6-0E0F-4923-9BE1-6EA202782F14}"/>
              </a:ext>
            </a:extLst>
          </p:cNvPr>
          <p:cNvGraphicFramePr>
            <a:graphicFrameLocks noChangeAspect="1"/>
          </p:cNvGraphicFramePr>
          <p:nvPr userDrawn="1">
            <p:custDataLst>
              <p:tags r:id="rId1"/>
            </p:custDataLst>
            <p:extLst>
              <p:ext uri="{D42A27DB-BD31-4B8C-83A1-F6EECF244321}">
                <p14:modId xmlns:p14="http://schemas.microsoft.com/office/powerpoint/2010/main" val="3723226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F6E477C6-0E0F-4923-9BE1-6EA202782F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65259D24-E6A6-4D69-90CB-83073E8387B2}" type="datetime1">
              <a:rPr lang="da-DK" smtClean="0"/>
              <a:pPr/>
              <a:t>03-02-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4285753852"/>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D6712D-8349-4452-83F4-F74B096DC8E1}"/>
              </a:ext>
            </a:extLst>
          </p:cNvPr>
          <p:cNvGraphicFramePr>
            <a:graphicFrameLocks noChangeAspect="1"/>
          </p:cNvGraphicFramePr>
          <p:nvPr userDrawn="1">
            <p:custDataLst>
              <p:tags r:id="rId1"/>
            </p:custDataLst>
            <p:extLst>
              <p:ext uri="{D42A27DB-BD31-4B8C-83A1-F6EECF244321}">
                <p14:modId xmlns:p14="http://schemas.microsoft.com/office/powerpoint/2010/main" val="4174081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F9D6712D-8349-4452-83F4-F74B096DC8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03-02-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1"/>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3980217615"/>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63C12A-5A0C-47F1-A66E-EB845B95A278}"/>
              </a:ext>
            </a:extLst>
          </p:cNvPr>
          <p:cNvGraphicFramePr>
            <a:graphicFrameLocks noChangeAspect="1"/>
          </p:cNvGraphicFramePr>
          <p:nvPr userDrawn="1">
            <p:custDataLst>
              <p:tags r:id="rId1"/>
            </p:custDataLst>
            <p:extLst>
              <p:ext uri="{D42A27DB-BD31-4B8C-83A1-F6EECF244321}">
                <p14:modId xmlns:p14="http://schemas.microsoft.com/office/powerpoint/2010/main" val="342257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063C12A-5A0C-47F1-A66E-EB845B95A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03-02-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2"/>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223647738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32FAD87-12DE-4F46-A7FF-9DA753895102}"/>
              </a:ext>
            </a:extLst>
          </p:cNvPr>
          <p:cNvGraphicFramePr>
            <a:graphicFrameLocks noChangeAspect="1"/>
          </p:cNvGraphicFramePr>
          <p:nvPr userDrawn="1">
            <p:custDataLst>
              <p:tags r:id="rId1"/>
            </p:custDataLst>
            <p:extLst>
              <p:ext uri="{D42A27DB-BD31-4B8C-83A1-F6EECF244321}">
                <p14:modId xmlns:p14="http://schemas.microsoft.com/office/powerpoint/2010/main" val="1963756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632FAD87-12DE-4F46-A7FF-9DA7538951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A6F26645-C2A2-4B76-9EB3-5D9CA57B224A}" type="datetime1">
              <a:rPr lang="da-DK" smtClean="0"/>
              <a:pPr/>
              <a:t>03-02-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4184137119"/>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A611428-C7C8-414E-980A-EBF482F7239B}"/>
              </a:ext>
            </a:extLst>
          </p:cNvPr>
          <p:cNvGraphicFramePr>
            <a:graphicFrameLocks noChangeAspect="1"/>
          </p:cNvGraphicFramePr>
          <p:nvPr userDrawn="1">
            <p:custDataLst>
              <p:tags r:id="rId1"/>
            </p:custDataLst>
            <p:extLst>
              <p:ext uri="{D42A27DB-BD31-4B8C-83A1-F6EECF244321}">
                <p14:modId xmlns:p14="http://schemas.microsoft.com/office/powerpoint/2010/main" val="2844534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3A611428-C7C8-414E-980A-EBF482F723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F25BA43C-8502-4266-A056-72866794E701}" type="datetime1">
              <a:rPr lang="da-DK" smtClean="0"/>
              <a:pPr/>
              <a:t>03-02-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952240583"/>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8377B1-4288-46FB-ADCE-D255A6EB9D3D}"/>
              </a:ext>
            </a:extLst>
          </p:cNvPr>
          <p:cNvGraphicFramePr>
            <a:graphicFrameLocks noChangeAspect="1"/>
          </p:cNvGraphicFramePr>
          <p:nvPr userDrawn="1">
            <p:custDataLst>
              <p:tags r:id="rId1"/>
            </p:custDataLst>
            <p:extLst>
              <p:ext uri="{D42A27DB-BD31-4B8C-83A1-F6EECF244321}">
                <p14:modId xmlns:p14="http://schemas.microsoft.com/office/powerpoint/2010/main" val="87699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0D8377B1-4288-46FB-ADCE-D255A6EB9D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5"/>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PICTURES</a:t>
            </a:r>
            <a:br>
              <a:rPr lang="da-DK" sz="900">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Insert corporate picture from Templafy</a:t>
            </a: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rgbClr val="333333"/>
                </a:solidFill>
                <a:latin typeface="+mn-lt"/>
                <a:cs typeface="Verdana" panose="020B0604030504040204" pitchFamily="34" charset="0"/>
              </a:rPr>
              <a:t>1.</a:t>
            </a:r>
            <a:r>
              <a:rPr lang="da-DK" altLang="da-DK" sz="900" b="0" noProof="1">
                <a:solidFill>
                  <a:srgbClr val="333333"/>
                </a:solidFill>
                <a:latin typeface="+mn-lt"/>
                <a:cs typeface="Verdana" panose="020B0604030504040204" pitchFamily="34" charset="0"/>
              </a:rPr>
              <a:t> Click the blue </a:t>
            </a:r>
            <a:r>
              <a:rPr lang="da-DK" altLang="da-DK" sz="900" b="1" baseline="0" noProof="1">
                <a:solidFill>
                  <a:srgbClr val="333333"/>
                </a:solidFill>
                <a:latin typeface="+mn-lt"/>
                <a:cs typeface="Verdana" panose="020B0604030504040204" pitchFamily="34" charset="0"/>
              </a:rPr>
              <a:t>Templafy </a:t>
            </a:r>
            <a:r>
              <a:rPr lang="da-DK"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2. </a:t>
            </a:r>
            <a:r>
              <a:rPr lang="da-DK" altLang="da-DK" sz="900" b="0" baseline="0" noProof="1">
                <a:solidFill>
                  <a:srgbClr val="333333"/>
                </a:solidFill>
                <a:latin typeface="+mn-lt"/>
                <a:cs typeface="Verdana" panose="020B0604030504040204" pitchFamily="34" charset="0"/>
              </a:rPr>
              <a:t>In the dropdown, click </a:t>
            </a:r>
            <a:r>
              <a:rPr lang="da-DK" altLang="da-DK" sz="900" b="1" baseline="0" noProof="1">
                <a:solidFill>
                  <a:srgbClr val="333333"/>
                </a:solidFill>
                <a:latin typeface="+mn-lt"/>
                <a:cs typeface="Verdana" panose="020B0604030504040204" pitchFamily="34" charset="0"/>
              </a:rPr>
              <a:t>Images</a:t>
            </a:r>
            <a:r>
              <a:rPr lang="da-DK" altLang="da-DK" sz="900" b="0" baseline="0" noProof="1">
                <a:solidFill>
                  <a:srgbClr val="333333"/>
                </a:solidFill>
                <a:latin typeface="+mn-lt"/>
                <a:cs typeface="Verdana" panose="020B0604030504040204" pitchFamily="34" charset="0"/>
              </a:rPr>
              <a:t>, or click the </a:t>
            </a:r>
            <a:r>
              <a:rPr lang="da-DK" altLang="da-DK" sz="900" b="1" baseline="0" noProof="1">
                <a:solidFill>
                  <a:srgbClr val="333333"/>
                </a:solidFill>
                <a:latin typeface="+mn-lt"/>
                <a:cs typeface="Verdana" panose="020B0604030504040204" pitchFamily="34" charset="0"/>
              </a:rPr>
              <a:t>Images </a:t>
            </a:r>
            <a:r>
              <a:rPr lang="da-DK" altLang="da-DK" sz="900" b="0" i="0" baseline="0" noProof="1">
                <a:solidFill>
                  <a:srgbClr val="333333"/>
                </a:solidFill>
                <a:latin typeface="+mn-lt"/>
                <a:cs typeface="Verdana" panose="020B0604030504040204" pitchFamily="34" charset="0"/>
              </a:rPr>
              <a:t>button</a:t>
            </a:r>
            <a:r>
              <a:rPr lang="da-DK" altLang="da-DK" sz="900" b="0" baseline="0" noProof="1">
                <a:solidFill>
                  <a:srgbClr val="333333"/>
                </a:solidFill>
                <a:latin typeface="+mn-lt"/>
                <a:cs typeface="Verdana" panose="020B0604030504040204" pitchFamily="34" charset="0"/>
              </a:rPr>
              <a:t> in the Templafy pane on the right side of the screen</a:t>
            </a:r>
            <a:endParaRPr lang="da-DK"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da-DK"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Insert picture</a:t>
            </a:r>
          </a:p>
          <a:p>
            <a:pPr rtl="0" eaLnBrk="1" hangingPunct="1">
              <a:spcAft>
                <a:spcPts val="600"/>
              </a:spcAft>
              <a:defRPr/>
            </a:pPr>
            <a:r>
              <a:rPr lang="da-DK" altLang="da-DK" sz="900" b="0" noProof="1">
                <a:solidFill>
                  <a:srgbClr val="333333"/>
                </a:solidFill>
                <a:latin typeface="+mn-lt"/>
                <a:cs typeface="Verdana" panose="020B0604030504040204" pitchFamily="34" charset="0"/>
              </a:rPr>
              <a:t>On slides with pictureplaceholder, click on the icon and choose </a:t>
            </a:r>
            <a:r>
              <a:rPr lang="da-DK" altLang="da-DK" sz="900" b="1" noProof="1">
                <a:solidFill>
                  <a:srgbClr val="333333"/>
                </a:solidFill>
                <a:latin typeface="+mn-lt"/>
                <a:cs typeface="Verdana" panose="020B0604030504040204" pitchFamily="34" charset="0"/>
              </a:rPr>
              <a:t>Insert</a:t>
            </a:r>
          </a:p>
          <a:p>
            <a:pPr rtl="0" eaLnBrk="1" hangingPunct="1">
              <a:spcBef>
                <a:spcPts val="1200"/>
              </a:spcBef>
              <a:spcAft>
                <a:spcPts val="600"/>
              </a:spcAft>
              <a:defRPr/>
            </a:pPr>
            <a:r>
              <a:rPr lang="da-DK" sz="900" b="1" noProof="1">
                <a:solidFill>
                  <a:srgbClr val="333333"/>
                </a:solidFill>
                <a:latin typeface="+mn-lt"/>
                <a:cs typeface="Verdana" panose="020B0604030504040204" pitchFamily="34" charset="0"/>
              </a:rPr>
              <a:t>Crop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1. </a:t>
            </a: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Crop</a:t>
            </a:r>
            <a:r>
              <a:rPr lang="da-DK" altLang="da-DK" sz="900" b="0" noProof="1">
                <a:solidFill>
                  <a:srgbClr val="333333"/>
                </a:solidFill>
                <a:latin typeface="+mn-lt"/>
                <a:cs typeface="Verdana" panose="020B0604030504040204" pitchFamily="34" charset="0"/>
              </a:rPr>
              <a:t> to change size or focus of the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If you want to scale the picture, hold </a:t>
            </a:r>
            <a:r>
              <a:rPr lang="da-DK" altLang="da-DK" sz="900" b="1" noProof="1">
                <a:solidFill>
                  <a:srgbClr val="333333"/>
                </a:solidFill>
                <a:latin typeface="+mn-lt"/>
                <a:cs typeface="Verdana" panose="020B0604030504040204" pitchFamily="34" charset="0"/>
              </a:rPr>
              <a:t>SHIFT</a:t>
            </a:r>
            <a:r>
              <a:rPr lang="da-DK" altLang="da-DK" sz="900" b="0" noProof="1">
                <a:solidFill>
                  <a:srgbClr val="333333"/>
                </a:solidFill>
                <a:latin typeface="+mn-lt"/>
                <a:cs typeface="Verdana" panose="020B0604030504040204" pitchFamily="34" charset="0"/>
              </a:rPr>
              <a:t>-key down while dragging the corners of the picture</a:t>
            </a:r>
            <a:br>
              <a:rPr lang="da-DK" altLang="da-DK" sz="900" b="0" noProof="1">
                <a:solidFill>
                  <a:srgbClr val="333333"/>
                </a:solidFill>
                <a:latin typeface="+mn-lt"/>
                <a:cs typeface="Verdana" panose="020B0604030504040204" pitchFamily="34" charset="0"/>
              </a:rPr>
            </a:b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t>
            </a:r>
            <a:r>
              <a:rPr lang="da-DK"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da-DK"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GUIDES</a:t>
            </a:r>
            <a:endParaRPr lang="da-DK" sz="1600" b="1"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Click the </a:t>
            </a:r>
            <a:r>
              <a:rPr lang="da-DK" altLang="da-DK" sz="900" b="1" noProof="1">
                <a:solidFill>
                  <a:srgbClr val="333333"/>
                </a:solidFill>
                <a:latin typeface="+mn-lt"/>
                <a:cs typeface="Verdana" panose="020B0604030504040204" pitchFamily="34" charset="0"/>
              </a:rPr>
              <a:t>View</a:t>
            </a:r>
            <a:r>
              <a:rPr lang="da-DK" altLang="da-DK" sz="900" b="0" noProof="1">
                <a:solidFill>
                  <a:srgbClr val="333333"/>
                </a:solidFill>
                <a:latin typeface="+mn-lt"/>
                <a:cs typeface="Verdana" panose="020B0604030504040204" pitchFamily="34" charset="0"/>
              </a:rPr>
              <a:t> tab and set tick mark next to </a:t>
            </a:r>
            <a:r>
              <a:rPr lang="da-DK" altLang="da-DK" sz="900" b="1" noProof="1">
                <a:solidFill>
                  <a:srgbClr val="333333"/>
                </a:solidFill>
                <a:latin typeface="+mn-lt"/>
                <a:cs typeface="Verdana" panose="020B0604030504040204" pitchFamily="34" charset="0"/>
              </a:rPr>
              <a:t>Guides</a:t>
            </a: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lt + F9 </a:t>
            </a:r>
            <a:r>
              <a:rPr lang="da-DK" altLang="da-DK" sz="900" b="0" noProof="1">
                <a:solidFill>
                  <a:srgbClr val="333333"/>
                </a:solidFill>
                <a:latin typeface="+mn-lt"/>
                <a:cs typeface="Verdana" panose="020B0604030504040204" pitchFamily="34" charset="0"/>
              </a:rPr>
              <a:t>for quick view of guides</a:t>
            </a: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Mac: </a:t>
            </a:r>
            <a:r>
              <a:rPr lang="da-DK" sz="900" b="0" i="0">
                <a:solidFill>
                  <a:srgbClr val="333333"/>
                </a:solidFill>
                <a:effectLst/>
                <a:latin typeface="Verdana"/>
              </a:rPr>
              <a:t>⌘ </a:t>
            </a:r>
            <a:r>
              <a:rPr lang="da-DK"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6"/>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7"/>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8"/>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HEADER &amp; FOOTER</a:t>
            </a:r>
          </a:p>
          <a:p>
            <a:pPr rtl="0" eaLnBrk="1" hangingPunct="1">
              <a:spcAft>
                <a:spcPts val="600"/>
              </a:spcAft>
              <a:defRPr/>
            </a:pPr>
            <a:r>
              <a:rPr lang="da-DK" altLang="da-DK" sz="900" b="0" noProof="1">
                <a:solidFill>
                  <a:srgbClr val="333333"/>
                </a:solidFill>
                <a:latin typeface="+mn-lt"/>
                <a:cs typeface="Verdana" panose="020B0604030504040204" pitchFamily="34" charset="0"/>
              </a:rPr>
              <a:t>Do this at the very end to apply the changes on all slides</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on </a:t>
            </a:r>
            <a:r>
              <a:rPr lang="da-DK" altLang="da-DK" sz="900" b="1" noProof="1">
                <a:solidFill>
                  <a:srgbClr val="333333"/>
                </a:solidFill>
                <a:latin typeface="+mn-lt"/>
                <a:cs typeface="Verdana" panose="020B0604030504040204" pitchFamily="34" charset="0"/>
              </a:rPr>
              <a:t>Header and Footer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Insert</a:t>
            </a:r>
            <a:r>
              <a:rPr lang="da-DK" altLang="da-DK" sz="900" b="0" noProof="1">
                <a:solidFill>
                  <a:srgbClr val="333333"/>
                </a:solidFill>
                <a:latin typeface="+mn-lt"/>
                <a:cs typeface="Verdana" panose="020B0604030504040204" pitchFamily="34" charset="0"/>
              </a:rPr>
              <a:t> tab (write the desired text, click date or page number from or to)</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Apply to All </a:t>
            </a:r>
            <a:r>
              <a:rPr lang="da-DK" altLang="da-DK" sz="900" b="0" noProof="1">
                <a:solidFill>
                  <a:srgbClr val="333333"/>
                </a:solidFill>
                <a:latin typeface="+mn-lt"/>
                <a:cs typeface="Verdana" panose="020B0604030504040204" pitchFamily="34" charset="0"/>
              </a:rPr>
              <a:t>or </a:t>
            </a:r>
            <a:r>
              <a:rPr lang="da-DK" altLang="da-DK" sz="900" b="1" noProof="1">
                <a:solidFill>
                  <a:srgbClr val="333333"/>
                </a:solidFill>
                <a:latin typeface="+mn-lt"/>
                <a:cs typeface="Verdana" panose="020B0604030504040204" pitchFamily="34" charset="0"/>
              </a:rPr>
              <a:t>Apply</a:t>
            </a:r>
            <a:r>
              <a:rPr lang="da-DK" altLang="da-DK" sz="900" b="0" noProof="1">
                <a:solidFill>
                  <a:srgbClr val="333333"/>
                </a:solidFill>
                <a:latin typeface="+mn-lt"/>
                <a:cs typeface="Verdana" panose="020B0604030504040204" pitchFamily="34" charset="0"/>
              </a:rPr>
              <a:t> if only used on one slide</a:t>
            </a: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1600" b="0" noProof="1">
                <a:solidFill>
                  <a:srgbClr val="333333"/>
                </a:solidFill>
                <a:latin typeface="+mn-lt"/>
                <a:cs typeface="Verdana" panose="020B0604030504040204" pitchFamily="34" charset="0"/>
              </a:rPr>
              <a:t>COPY/PASTE CONTENT</a:t>
            </a:r>
          </a:p>
          <a:p>
            <a:pPr rtl="0" eaLnBrk="1" hangingPunct="1">
              <a:spcAft>
                <a:spcPts val="600"/>
              </a:spcAft>
              <a:defRPr/>
            </a:pPr>
            <a:r>
              <a:rPr lang="da-DK" altLang="da-DK" sz="900" b="0" noProof="1">
                <a:solidFill>
                  <a:srgbClr val="333333"/>
                </a:solidFill>
                <a:latin typeface="+mn-lt"/>
                <a:cs typeface="Verdana" panose="020B0604030504040204" pitchFamily="34" charset="0"/>
              </a:rPr>
              <a:t>When copying old content to your new presentation, 2 options are available:</a:t>
            </a:r>
          </a:p>
          <a:p>
            <a:pPr rtl="0" eaLnBrk="1" hangingPunct="1">
              <a:spcAft>
                <a:spcPts val="600"/>
              </a:spcAft>
              <a:defRPr/>
            </a:pPr>
            <a:r>
              <a:rPr lang="da-DK" altLang="da-DK" sz="900" b="1" noProof="1">
                <a:solidFill>
                  <a:srgbClr val="333333"/>
                </a:solidFill>
                <a:latin typeface="+mn-lt"/>
                <a:cs typeface="Verdana" panose="020B0604030504040204" pitchFamily="34" charset="0"/>
              </a:rPr>
              <a:t>1. Best practice: </a:t>
            </a:r>
            <a:r>
              <a:rPr lang="da-DK" altLang="da-DK" sz="900" b="0" noProof="1">
                <a:solidFill>
                  <a:srgbClr val="333333"/>
                </a:solidFill>
                <a:latin typeface="+mn-lt"/>
                <a:cs typeface="Verdana" panose="020B0604030504040204" pitchFamily="34" charset="0"/>
              </a:rPr>
              <a:t>Create a slide in your new presentation and copy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piece of content at a time (e.g. copy all text from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textbox)</a:t>
            </a:r>
            <a:endParaRPr lang="da-DK" altLang="da-DK" sz="900" b="1" i="0" u="sng"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da-DK" altLang="da-DK" sz="900" b="1" noProof="1">
              <a:solidFill>
                <a:srgbClr val="333333"/>
              </a:solidFill>
              <a:latin typeface="+mn-lt"/>
              <a:cs typeface="Verdana" panose="020B0604030504040204" pitchFamily="34" charset="0"/>
            </a:endParaRP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Insert predefined slides and elements from the Templafy button. Choose </a:t>
            </a:r>
            <a:r>
              <a:rPr lang="da-DK" altLang="da-DK" sz="900" b="1" noProof="1">
                <a:solidFill>
                  <a:srgbClr val="333333"/>
                </a:solidFill>
                <a:latin typeface="+mn-lt"/>
                <a:cs typeface="Verdana" panose="020B0604030504040204" pitchFamily="34" charset="0"/>
              </a:rPr>
              <a:t>Slides</a:t>
            </a:r>
            <a:r>
              <a:rPr lang="da-DK" altLang="da-DK" sz="900" b="0" noProof="1">
                <a:solidFill>
                  <a:srgbClr val="333333"/>
                </a:solidFill>
                <a:latin typeface="+mn-lt"/>
                <a:cs typeface="Verdana" panose="020B0604030504040204" pitchFamily="34" charset="0"/>
              </a:rPr>
              <a:t> and </a:t>
            </a:r>
            <a:r>
              <a:rPr lang="da-DK" altLang="da-DK" sz="900" b="1" noProof="1">
                <a:solidFill>
                  <a:srgbClr val="333333"/>
                </a:solidFill>
                <a:latin typeface="+mn-lt"/>
                <a:cs typeface="Verdana" panose="020B0604030504040204" pitchFamily="34" charset="0"/>
              </a:rPr>
              <a:t>Slide elements </a:t>
            </a:r>
            <a:r>
              <a:rPr lang="da-DK"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da-DK"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pPr rtl="0"/>
            <a:r>
              <a:rPr lang="da-DK"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9"/>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rtl="0">
              <a:defRPr sz="100">
                <a:noFill/>
              </a:defRPr>
            </a:lvl1pPr>
          </a:lstStyle>
          <a:p>
            <a:fld id="{A5B220B3-5DAB-45AB-9B6A-9B7C36B5A57F}" type="datetime1">
              <a:rPr lang="da-DK" smtClean="0"/>
              <a:pPr/>
              <a:t>03-02-2023</a:t>
            </a:fld>
            <a:endParaRPr lang="da-DK"/>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10"/>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TEXT STYLES</a:t>
            </a:r>
            <a:endParaRPr lang="da-DK" altLang="da-DK" sz="1600" b="0"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Use the </a:t>
            </a:r>
            <a:r>
              <a:rPr lang="da-DK" altLang="da-DK" sz="900" b="1" noProof="1">
                <a:solidFill>
                  <a:srgbClr val="333333"/>
                </a:solidFill>
                <a:latin typeface="+mn-lt"/>
                <a:cs typeface="Verdana" panose="020B0604030504040204" pitchFamily="34" charset="0"/>
              </a:rPr>
              <a:t>TAB</a:t>
            </a:r>
            <a:r>
              <a:rPr lang="da-DK" altLang="da-DK" sz="900" b="0" noProof="1">
                <a:solidFill>
                  <a:srgbClr val="333333"/>
                </a:solidFill>
                <a:latin typeface="+mn-lt"/>
                <a:cs typeface="Verdana" panose="020B0604030504040204" pitchFamily="34" charset="0"/>
              </a:rPr>
              <a:t>-key</a:t>
            </a:r>
            <a:r>
              <a:rPr lang="da-DK" altLang="da-DK" sz="900" b="0" baseline="0" noProof="1">
                <a:solidFill>
                  <a:srgbClr val="333333"/>
                </a:solidFill>
                <a:latin typeface="+mn-lt"/>
                <a:cs typeface="Verdana" panose="020B0604030504040204" pitchFamily="34" charset="0"/>
              </a:rPr>
              <a:t> to jump through levels. Click </a:t>
            </a:r>
            <a:r>
              <a:rPr lang="da-DK" altLang="da-DK" sz="900" b="1" baseline="0" noProof="1">
                <a:solidFill>
                  <a:srgbClr val="333333"/>
                </a:solidFill>
                <a:latin typeface="+mn-lt"/>
                <a:cs typeface="Verdana" panose="020B0604030504040204" pitchFamily="34" charset="0"/>
              </a:rPr>
              <a:t>ENTER</a:t>
            </a:r>
            <a:r>
              <a:rPr lang="da-DK" altLang="da-DK" sz="900" b="0" baseline="0" noProof="1">
                <a:solidFill>
                  <a:srgbClr val="333333"/>
                </a:solidFill>
                <a:latin typeface="+mn-lt"/>
                <a:cs typeface="Verdana" panose="020B0604030504040204" pitchFamily="34" charset="0"/>
              </a:rPr>
              <a:t>, then </a:t>
            </a:r>
            <a:r>
              <a:rPr lang="da-DK" altLang="da-DK" sz="900" b="1" baseline="0" noProof="1">
                <a:solidFill>
                  <a:srgbClr val="333333"/>
                </a:solidFill>
                <a:latin typeface="+mn-lt"/>
                <a:cs typeface="Verdana" panose="020B0604030504040204" pitchFamily="34" charset="0"/>
              </a:rPr>
              <a:t>TAB</a:t>
            </a:r>
            <a:r>
              <a:rPr lang="da-DK" altLang="da-DK" sz="900" b="0" baseline="0" noProof="1">
                <a:solidFill>
                  <a:srgbClr val="333333"/>
                </a:solidFill>
                <a:latin typeface="+mn-lt"/>
                <a:cs typeface="Verdana" panose="020B0604030504040204" pitchFamily="34" charset="0"/>
              </a:rPr>
              <a:t> to switch from one level to the next level</a:t>
            </a:r>
          </a:p>
          <a:p>
            <a:pPr rtl="0" eaLnBrk="1" hangingPunct="1">
              <a:spcAft>
                <a:spcPts val="600"/>
              </a:spcAft>
              <a:defRPr/>
            </a:pPr>
            <a:r>
              <a:rPr lang="da-DK" altLang="da-DK" sz="900" b="0" baseline="0" noProof="1">
                <a:solidFill>
                  <a:srgbClr val="333333"/>
                </a:solidFill>
                <a:latin typeface="+mn-lt"/>
                <a:cs typeface="Verdana" panose="020B0604030504040204" pitchFamily="34" charset="0"/>
              </a:rPr>
              <a:t>To go back in levels use </a:t>
            </a:r>
            <a:r>
              <a:rPr lang="da-DK" altLang="da-DK" sz="900" b="1" baseline="0" noProof="1">
                <a:solidFill>
                  <a:srgbClr val="333333"/>
                </a:solidFill>
                <a:latin typeface="+mn-lt"/>
                <a:cs typeface="Verdana" panose="020B0604030504040204" pitchFamily="34" charset="0"/>
              </a:rPr>
              <a:t>SHIFT-TAB</a:t>
            </a:r>
            <a:endParaRPr lang="da-DK" sz="900" b="1" noProof="1">
              <a:solidFill>
                <a:srgbClr val="333333"/>
              </a:solidFill>
              <a:latin typeface="+mn-lt"/>
              <a:cs typeface="Verdana" panose="020B0604030504040204" pitchFamily="34" charset="0"/>
            </a:endParaRPr>
          </a:p>
          <a:p>
            <a:pPr rtl="0" eaLnBrk="1" hangingPunct="1">
              <a:spcAft>
                <a:spcPts val="600"/>
              </a:spcAft>
              <a:defRPr/>
            </a:pPr>
            <a:r>
              <a:rPr lang="da-DK" sz="900" noProof="1">
                <a:solidFill>
                  <a:srgbClr val="333333"/>
                </a:solidFill>
                <a:latin typeface="+mn-lt"/>
                <a:cs typeface="Verdana" panose="020B0604030504040204" pitchFamily="34" charset="0"/>
              </a:rPr>
              <a:t>Alternatively, </a:t>
            </a:r>
            <a:r>
              <a:rPr lang="da-DK" sz="900" b="1" noProof="1">
                <a:solidFill>
                  <a:srgbClr val="333333"/>
                </a:solidFill>
                <a:latin typeface="+mn-lt"/>
                <a:cs typeface="Verdana" panose="020B0604030504040204" pitchFamily="34" charset="0"/>
              </a:rPr>
              <a:t>Increase</a:t>
            </a:r>
            <a:r>
              <a:rPr lang="da-DK" sz="900" baseline="0" noProof="1">
                <a:solidFill>
                  <a:srgbClr val="333333"/>
                </a:solidFill>
                <a:latin typeface="+mn-lt"/>
                <a:cs typeface="Verdana" panose="020B0604030504040204" pitchFamily="34" charset="0"/>
              </a:rPr>
              <a:t> and </a:t>
            </a:r>
            <a:r>
              <a:rPr lang="da-DK" sz="900" b="1" baseline="0" noProof="1">
                <a:solidFill>
                  <a:srgbClr val="333333"/>
                </a:solidFill>
                <a:latin typeface="+mn-lt"/>
                <a:cs typeface="Verdana" panose="020B0604030504040204" pitchFamily="34" charset="0"/>
              </a:rPr>
              <a:t>Decrease </a:t>
            </a:r>
            <a:r>
              <a:rPr lang="da-DK" sz="900" baseline="0" noProof="1">
                <a:solidFill>
                  <a:srgbClr val="333333"/>
                </a:solidFill>
                <a:latin typeface="+mn-lt"/>
                <a:cs typeface="Verdana" panose="020B0604030504040204" pitchFamily="34" charset="0"/>
              </a:rPr>
              <a:t>list level can be used</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noProof="1">
                <a:solidFill>
                  <a:srgbClr val="333333"/>
                </a:solidFill>
                <a:latin typeface="+mn-lt"/>
                <a:cs typeface="Verdana" panose="020B0604030504040204" pitchFamily="34" charset="0"/>
              </a:rPr>
              <a:t>Click the </a:t>
            </a:r>
            <a:r>
              <a:rPr lang="da-DK" altLang="da-DK" sz="900" b="1" baseline="0" noProof="1">
                <a:solidFill>
                  <a:srgbClr val="333333"/>
                </a:solidFill>
                <a:latin typeface="+mn-lt"/>
                <a:cs typeface="Verdana" panose="020B0604030504040204" pitchFamily="34" charset="0"/>
              </a:rPr>
              <a:t>Reset </a:t>
            </a:r>
            <a:r>
              <a:rPr lang="da-DK" altLang="da-DK" sz="900" noProof="1">
                <a:solidFill>
                  <a:srgbClr val="333333"/>
                </a:solidFill>
                <a:latin typeface="+mn-lt"/>
                <a:cs typeface="Verdana" panose="020B0604030504040204" pitchFamily="34" charset="0"/>
              </a:rPr>
              <a:t>menu to reset position, size</a:t>
            </a:r>
            <a:r>
              <a:rPr lang="da-DK"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da-DK" altLang="da-DK" sz="900" b="0" noProof="1">
                <a:solidFill>
                  <a:srgbClr val="333333"/>
                </a:solidFill>
                <a:latin typeface="+mn-lt"/>
                <a:cs typeface="Verdana" panose="020B0604030504040204" pitchFamily="34" charset="0"/>
              </a:rPr>
            </a:br>
            <a:r>
              <a:rPr lang="da-DK"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Click on the menu </a:t>
            </a:r>
            <a:r>
              <a:rPr lang="da-DK" altLang="da-DK" sz="900" b="1" noProof="1">
                <a:solidFill>
                  <a:srgbClr val="333333"/>
                </a:solidFill>
                <a:latin typeface="+mn-lt"/>
                <a:cs typeface="Verdana" panose="020B0604030504040204" pitchFamily="34" charset="0"/>
              </a:rPr>
              <a:t>New Slide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Home</a:t>
            </a:r>
            <a:r>
              <a:rPr lang="da-DK" altLang="da-DK" sz="900" b="0" noProof="1">
                <a:solidFill>
                  <a:srgbClr val="333333"/>
                </a:solidFill>
                <a:latin typeface="+mn-lt"/>
                <a:cs typeface="Verdana" panose="020B0604030504040204" pitchFamily="34" charset="0"/>
              </a:rPr>
              <a:t> tab to insert a new slide</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Change layout</a:t>
            </a:r>
            <a:endParaRPr lang="da-DK" altLang="da-DK" sz="900" b="0" noProof="1">
              <a:solidFill>
                <a:srgbClr val="333333"/>
              </a:solidFill>
              <a:latin typeface="+mn-lt"/>
              <a:cs typeface="Verdana" panose="020B0604030504040204" pitchFamily="34" charset="0"/>
            </a:endParaRPr>
          </a:p>
          <a:p>
            <a:pPr marL="0" indent="0" rtl="0">
              <a:spcAft>
                <a:spcPts val="600"/>
              </a:spcAft>
              <a:buFont typeface="+mj-lt"/>
              <a:buNone/>
            </a:pPr>
            <a:r>
              <a:rPr lang="da-DK" sz="900" err="1">
                <a:solidFill>
                  <a:srgbClr val="333333"/>
                </a:solidFill>
                <a:latin typeface="+mn-lt"/>
                <a:ea typeface="Verdana" panose="020B0604030504040204" pitchFamily="34" charset="0"/>
              </a:rPr>
              <a:t>Click</a:t>
            </a:r>
            <a:r>
              <a:rPr lang="da-DK" sz="900">
                <a:solidFill>
                  <a:srgbClr val="333333"/>
                </a:solidFill>
                <a:latin typeface="+mn-lt"/>
                <a:ea typeface="Verdana" panose="020B0604030504040204" pitchFamily="34" charset="0"/>
              </a:rPr>
              <a:t> on the </a:t>
            </a:r>
            <a:r>
              <a:rPr lang="da-DK" sz="900" err="1">
                <a:solidFill>
                  <a:srgbClr val="333333"/>
                </a:solidFill>
                <a:latin typeface="+mn-lt"/>
                <a:ea typeface="Verdana" panose="020B0604030504040204" pitchFamily="34" charset="0"/>
              </a:rPr>
              <a:t>arrow</a:t>
            </a:r>
            <a:r>
              <a:rPr lang="da-DK" sz="900">
                <a:solidFill>
                  <a:srgbClr val="333333"/>
                </a:solidFill>
                <a:latin typeface="+mn-lt"/>
                <a:ea typeface="Verdana" panose="020B0604030504040204" pitchFamily="34" charset="0"/>
              </a:rPr>
              <a:t> </a:t>
            </a:r>
            <a:r>
              <a:rPr lang="da-DK" sz="900" err="1">
                <a:solidFill>
                  <a:srgbClr val="333333"/>
                </a:solidFill>
                <a:latin typeface="+mn-lt"/>
                <a:ea typeface="Verdana" panose="020B0604030504040204" pitchFamily="34" charset="0"/>
              </a:rPr>
              <a:t>next</a:t>
            </a:r>
            <a:r>
              <a:rPr lang="da-DK" sz="900">
                <a:solidFill>
                  <a:srgbClr val="333333"/>
                </a:solidFill>
                <a:latin typeface="+mn-lt"/>
                <a:ea typeface="Verdana" panose="020B0604030504040204" pitchFamily="34" charset="0"/>
              </a:rPr>
              <a:t> to </a:t>
            </a:r>
            <a:r>
              <a:rPr lang="da-DK" sz="900" b="1">
                <a:solidFill>
                  <a:srgbClr val="333333"/>
                </a:solidFill>
                <a:latin typeface="+mn-lt"/>
                <a:ea typeface="Verdana" panose="020B0604030504040204" pitchFamily="34" charset="0"/>
              </a:rPr>
              <a:t>Layout </a:t>
            </a:r>
            <a:r>
              <a:rPr lang="da-DK" sz="900">
                <a:solidFill>
                  <a:srgbClr val="333333"/>
                </a:solidFill>
                <a:latin typeface="+mn-lt"/>
                <a:ea typeface="Verdana" panose="020B0604030504040204" pitchFamily="34" charset="0"/>
              </a:rPr>
              <a:t>to view a </a:t>
            </a:r>
            <a:r>
              <a:rPr lang="da-DK" sz="900" err="1">
                <a:solidFill>
                  <a:srgbClr val="333333"/>
                </a:solidFill>
                <a:latin typeface="+mn-lt"/>
                <a:ea typeface="Verdana" panose="020B0604030504040204" pitchFamily="34" charset="0"/>
              </a:rPr>
              <a:t>dropdown</a:t>
            </a:r>
            <a:r>
              <a:rPr lang="da-DK" sz="900">
                <a:solidFill>
                  <a:srgbClr val="333333"/>
                </a:solidFill>
                <a:latin typeface="+mn-lt"/>
                <a:ea typeface="Verdana" panose="020B0604030504040204" pitchFamily="34" charset="0"/>
              </a:rPr>
              <a:t> menu of </a:t>
            </a:r>
            <a:r>
              <a:rPr lang="da-DK" sz="900" err="1">
                <a:solidFill>
                  <a:srgbClr val="333333"/>
                </a:solidFill>
                <a:latin typeface="+mn-lt"/>
                <a:ea typeface="Verdana" panose="020B0604030504040204" pitchFamily="34" charset="0"/>
              </a:rPr>
              <a:t>possible</a:t>
            </a:r>
            <a:r>
              <a:rPr lang="da-DK" sz="900">
                <a:solidFill>
                  <a:srgbClr val="333333"/>
                </a:solidFill>
                <a:latin typeface="+mn-lt"/>
                <a:ea typeface="Verdana" panose="020B0604030504040204" pitchFamily="34" charset="0"/>
              </a:rPr>
              <a:t> slide layouts</a:t>
            </a:r>
          </a:p>
          <a:p>
            <a:pPr marL="0" indent="0" rtl="0">
              <a:spcAft>
                <a:spcPts val="600"/>
              </a:spcAft>
              <a:buFont typeface="+mj-lt"/>
              <a:buNone/>
            </a:pPr>
            <a:endParaRPr lang="da-DK"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err="1">
                <a:solidFill>
                  <a:srgbClr val="333333"/>
                </a:solidFill>
                <a:latin typeface="+mn-lt"/>
                <a:cs typeface="Verdana" panose="020B0604030504040204" pitchFamily="34" charset="0"/>
              </a:rPr>
              <a:t>Color</a:t>
            </a:r>
            <a:endParaRPr lang="da-DK" sz="1600">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Use </a:t>
            </a:r>
            <a:r>
              <a:rPr lang="da-DK" altLang="da-DK" sz="900" b="1" noProof="1">
                <a:solidFill>
                  <a:srgbClr val="333333"/>
                </a:solidFill>
                <a:latin typeface="+mn-lt"/>
                <a:cs typeface="Verdana" panose="020B0604030504040204" pitchFamily="34" charset="0"/>
              </a:rPr>
              <a:t>Custom Colors </a:t>
            </a:r>
            <a:r>
              <a:rPr lang="da-DK" altLang="da-DK" sz="900" b="0" noProof="1">
                <a:solidFill>
                  <a:srgbClr val="333333"/>
                </a:solidFill>
                <a:latin typeface="+mn-lt"/>
                <a:cs typeface="Verdana" panose="020B0604030504040204" pitchFamily="34" charset="0"/>
              </a:rPr>
              <a:t>to change color.</a:t>
            </a:r>
            <a:br>
              <a:rPr lang="da-DK" altLang="da-DK" sz="900" b="0" noProof="1">
                <a:solidFill>
                  <a:srgbClr val="333333"/>
                </a:solidFill>
                <a:latin typeface="+mn-lt"/>
                <a:cs typeface="Verdana" panose="020B0604030504040204" pitchFamily="34" charset="0"/>
              </a:rPr>
            </a:br>
            <a:endParaRPr lang="da-DK"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12"/>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3"/>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4"/>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5"/>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4368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3E737EA-FF19-401F-A092-0F59822D928A}"/>
              </a:ext>
            </a:extLst>
          </p:cNvPr>
          <p:cNvGraphicFramePr>
            <a:graphicFrameLocks noChangeAspect="1"/>
          </p:cNvGraphicFramePr>
          <p:nvPr userDrawn="1">
            <p:custDataLst>
              <p:tags r:id="rId1"/>
            </p:custDataLst>
            <p:extLst>
              <p:ext uri="{D42A27DB-BD31-4B8C-83A1-F6EECF244321}">
                <p14:modId xmlns:p14="http://schemas.microsoft.com/office/powerpoint/2010/main" val="185704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D3E737EA-FF19-401F-A092-0F59822D92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4000" b="0" noProof="0">
                <a:solidFill>
                  <a:schemeClr val="tx1"/>
                </a:solidFill>
              </a:rPr>
              <a:t>If you see any </a:t>
            </a:r>
            <a:r>
              <a:rPr lang="da-DK" sz="4000" b="1" i="1" noProof="0">
                <a:solidFill>
                  <a:schemeClr val="tx1"/>
                </a:solidFill>
              </a:rPr>
              <a:t>layouts after this </a:t>
            </a:r>
            <a:r>
              <a:rPr lang="da-DK" sz="4000" b="0" i="0" noProof="0">
                <a:solidFill>
                  <a:schemeClr val="tx1"/>
                </a:solidFill>
              </a:rPr>
              <a:t>one</a:t>
            </a:r>
            <a:r>
              <a:rPr lang="da-DK" sz="4000" b="1" i="1" noProof="0">
                <a:solidFill>
                  <a:schemeClr val="tx1"/>
                </a:solidFill>
              </a:rPr>
              <a:t>,</a:t>
            </a:r>
            <a:br>
              <a:rPr lang="da-DK" sz="4000" b="0" i="0" noProof="0">
                <a:solidFill>
                  <a:schemeClr val="tx1"/>
                </a:solidFill>
              </a:rPr>
            </a:br>
            <a:r>
              <a:rPr lang="da-DK" sz="4000" b="0" noProof="0">
                <a:solidFill>
                  <a:schemeClr val="tx1"/>
                </a:solidFill>
              </a:rPr>
              <a:t>do not use them. These layouts </a:t>
            </a:r>
            <a:r>
              <a:rPr lang="da-DK" sz="4000" b="1" i="1" u="none" noProof="0">
                <a:solidFill>
                  <a:schemeClr val="tx1"/>
                </a:solidFill>
              </a:rPr>
              <a:t>are not </a:t>
            </a:r>
            <a:r>
              <a:rPr lang="da-DK" sz="4000" b="0" noProof="0">
                <a:solidFill>
                  <a:schemeClr val="tx1"/>
                </a:solidFill>
              </a:rPr>
              <a:t>part of our corporate template.</a:t>
            </a:r>
            <a:endParaRPr lang="da-DK"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rtl="0"/>
            <a:r>
              <a:rPr lang="da-DK" sz="11500" b="1" i="1" noProof="0">
                <a:solidFill>
                  <a:schemeClr val="tx1"/>
                </a:solidFill>
              </a:rPr>
              <a:t>Do not use </a:t>
            </a:r>
            <a:endParaRPr lang="da-DK"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Due to PowerPoint’s standard Copy/Paste functionality extra undesirable layouts can appear.</a:t>
            </a:r>
          </a:p>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rtl="0">
              <a:defRPr sz="100">
                <a:noFill/>
              </a:defRPr>
            </a:lvl1pPr>
          </a:lstStyle>
          <a:p>
            <a:fld id="{06357EC7-0D53-4A60-9E41-D75A47B48389}" type="datetime1">
              <a:rPr lang="da-DK" smtClean="0"/>
              <a:pPr/>
              <a:t>03-02-2023</a:t>
            </a:fld>
            <a:endParaRPr lang="da-DK"/>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129834854"/>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989A8E-FDC6-4CFE-9DCA-F8A156018290}"/>
              </a:ext>
            </a:extLst>
          </p:cNvPr>
          <p:cNvGraphicFramePr>
            <a:graphicFrameLocks noChangeAspect="1"/>
          </p:cNvGraphicFramePr>
          <p:nvPr userDrawn="1">
            <p:custDataLst>
              <p:tags r:id="rId1"/>
            </p:custDataLst>
            <p:extLst>
              <p:ext uri="{D42A27DB-BD31-4B8C-83A1-F6EECF244321}">
                <p14:modId xmlns:p14="http://schemas.microsoft.com/office/powerpoint/2010/main" val="3680965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9F989A8E-FDC6-4CFE-9DCA-F8A1560182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D1903C8B-6A03-40C4-AD50-AACDEC5FDA0C}" type="datetime1">
              <a:rPr lang="da-DK" smtClean="0"/>
              <a:pPr/>
              <a:t>03-02-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vert="horz" anchor="t" anchorCtr="0"/>
          <a:lstStyle>
            <a:lvl1pPr algn="l" rtl="0">
              <a:lnSpc>
                <a:spcPct val="91000"/>
              </a:lnSpc>
              <a:defRPr sz="3600">
                <a:solidFill>
                  <a:schemeClr val="bg1"/>
                </a:solidFill>
              </a:defRPr>
            </a:lvl1pPr>
          </a:lstStyle>
          <a:p>
            <a:r>
              <a:rPr lang="da-DK"/>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362266794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54B3C9-F00B-4DA0-A35A-016D662582F0}"/>
              </a:ext>
            </a:extLst>
          </p:cNvPr>
          <p:cNvGraphicFramePr>
            <a:graphicFrameLocks noChangeAspect="1"/>
          </p:cNvGraphicFramePr>
          <p:nvPr userDrawn="1">
            <p:custDataLst>
              <p:tags r:id="rId1"/>
            </p:custDataLst>
            <p:extLst>
              <p:ext uri="{D42A27DB-BD31-4B8C-83A1-F6EECF244321}">
                <p14:modId xmlns:p14="http://schemas.microsoft.com/office/powerpoint/2010/main" val="3258962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954B3C9-F00B-4DA0-A35A-016D662582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1B42BF88-9EAB-4FF1-8C7D-3D1A57D94546}" type="datetime1">
              <a:rPr lang="da-DK" smtClean="0"/>
              <a:pPr/>
              <a:t>03-02-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58049231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1BF513-A764-4213-B6C8-45BD92F0582C}"/>
              </a:ext>
            </a:extLst>
          </p:cNvPr>
          <p:cNvGraphicFramePr>
            <a:graphicFrameLocks noChangeAspect="1"/>
          </p:cNvGraphicFramePr>
          <p:nvPr userDrawn="1">
            <p:custDataLst>
              <p:tags r:id="rId1"/>
            </p:custDataLst>
            <p:extLst>
              <p:ext uri="{D42A27DB-BD31-4B8C-83A1-F6EECF244321}">
                <p14:modId xmlns:p14="http://schemas.microsoft.com/office/powerpoint/2010/main" val="3382865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A11BF513-A764-4213-B6C8-45BD92F058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ED06D66A-00D9-479B-9856-27577BF36107}" type="datetime1">
              <a:rPr lang="da-DK" smtClean="0"/>
              <a:pPr/>
              <a:t>03-02-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vert="horz" anchor="t" anchorCtr="0"/>
          <a:lstStyle>
            <a:lvl1pPr algn="l" rtl="0">
              <a:lnSpc>
                <a:spcPct val="91000"/>
              </a:lnSpc>
              <a:defRPr sz="4100">
                <a:solidFill>
                  <a:schemeClr val="bg1"/>
                </a:solidFill>
              </a:defRPr>
            </a:lvl1pPr>
          </a:lstStyle>
          <a:p>
            <a:r>
              <a:rPr lang="da-DK"/>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56481107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615D26-BD1B-485E-81BA-C5A949306F15}"/>
              </a:ext>
            </a:extLst>
          </p:cNvPr>
          <p:cNvGraphicFramePr>
            <a:graphicFrameLocks noChangeAspect="1"/>
          </p:cNvGraphicFramePr>
          <p:nvPr userDrawn="1">
            <p:custDataLst>
              <p:tags r:id="rId1"/>
            </p:custDataLst>
            <p:extLst>
              <p:ext uri="{D42A27DB-BD31-4B8C-83A1-F6EECF244321}">
                <p14:modId xmlns:p14="http://schemas.microsoft.com/office/powerpoint/2010/main" val="1005215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2615D26-BD1B-485E-81BA-C5A949306F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2D3E1E10-4E6B-4C9C-B68B-DC96BC56ABFC}" type="datetime1">
              <a:rPr lang="da-DK" smtClean="0"/>
              <a:pPr/>
              <a:t>03-02-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42731686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BC63DC-A6D8-4792-9CE7-E2B23129BCEA}"/>
              </a:ext>
            </a:extLst>
          </p:cNvPr>
          <p:cNvGraphicFramePr>
            <a:graphicFrameLocks noChangeAspect="1"/>
          </p:cNvGraphicFramePr>
          <p:nvPr userDrawn="1">
            <p:custDataLst>
              <p:tags r:id="rId1"/>
            </p:custDataLst>
            <p:extLst>
              <p:ext uri="{D42A27DB-BD31-4B8C-83A1-F6EECF244321}">
                <p14:modId xmlns:p14="http://schemas.microsoft.com/office/powerpoint/2010/main" val="411728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4EBC63DC-A6D8-4792-9CE7-E2B23129BC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9BED15FA-6EE8-4B82-A537-F53ACAF84CA4}" type="datetime1">
              <a:rPr lang="da-DK" smtClean="0"/>
              <a:pPr/>
              <a:t>03-02-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4023518708"/>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31A58-417A-4039-81B5-5CA2D8C6DE57}"/>
              </a:ext>
            </a:extLst>
          </p:cNvPr>
          <p:cNvGraphicFramePr>
            <a:graphicFrameLocks noChangeAspect="1"/>
          </p:cNvGraphicFramePr>
          <p:nvPr userDrawn="1">
            <p:custDataLst>
              <p:tags r:id="rId1"/>
            </p:custDataLst>
            <p:extLst>
              <p:ext uri="{D42A27DB-BD31-4B8C-83A1-F6EECF244321}">
                <p14:modId xmlns:p14="http://schemas.microsoft.com/office/powerpoint/2010/main" val="3309084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BFF31A58-417A-4039-81B5-5CA2D8C6DE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65259D24-E6A6-4D69-90CB-83073E8387B2}" type="datetime1">
              <a:rPr lang="da-DK" smtClean="0"/>
              <a:pPr/>
              <a:t>03-02-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779156396"/>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A0870D-5A09-40C3-AAD2-3D3CB85D2C6E}"/>
              </a:ext>
            </a:extLst>
          </p:cNvPr>
          <p:cNvGraphicFramePr>
            <a:graphicFrameLocks noChangeAspect="1"/>
          </p:cNvGraphicFramePr>
          <p:nvPr userDrawn="1">
            <p:custDataLst>
              <p:tags r:id="rId1"/>
            </p:custDataLst>
            <p:extLst>
              <p:ext uri="{D42A27DB-BD31-4B8C-83A1-F6EECF244321}">
                <p14:modId xmlns:p14="http://schemas.microsoft.com/office/powerpoint/2010/main" val="1569275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37A0870D-5A09-40C3-AAD2-3D3CB85D2C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9BED15FA-6EE8-4B82-A537-F53ACAF84CA4}" type="datetime1">
              <a:rPr lang="da-DK" smtClean="0"/>
              <a:pPr/>
              <a:t>03-02-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3147338264"/>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03D91C-9A9E-4990-9C51-5CD1A2754652}"/>
              </a:ext>
            </a:extLst>
          </p:cNvPr>
          <p:cNvGraphicFramePr>
            <a:graphicFrameLocks noChangeAspect="1"/>
          </p:cNvGraphicFramePr>
          <p:nvPr userDrawn="1">
            <p:custDataLst>
              <p:tags r:id="rId1"/>
            </p:custDataLst>
            <p:extLst>
              <p:ext uri="{D42A27DB-BD31-4B8C-83A1-F6EECF244321}">
                <p14:modId xmlns:p14="http://schemas.microsoft.com/office/powerpoint/2010/main" val="1993942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B03D91C-9A9E-4990-9C51-5CD1A27546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4C6B010D-12BA-4529-B692-206652452F2C}" type="datetime1">
              <a:rPr lang="da-DK" smtClean="0"/>
              <a:pPr/>
              <a:t>03-02-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ctrTitle" hasCustomPrompt="1"/>
          </p:nvPr>
        </p:nvSpPr>
        <p:spPr>
          <a:xfrm>
            <a:off x="360000" y="654049"/>
            <a:ext cx="10485800" cy="804214"/>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4095149692"/>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F60166C-2A4A-473E-AEFC-94CF443D054F}"/>
              </a:ext>
            </a:extLst>
          </p:cNvPr>
          <p:cNvGraphicFramePr>
            <a:graphicFrameLocks noChangeAspect="1"/>
          </p:cNvGraphicFramePr>
          <p:nvPr userDrawn="1">
            <p:custDataLst>
              <p:tags r:id="rId1"/>
            </p:custDataLst>
            <p:extLst>
              <p:ext uri="{D42A27DB-BD31-4B8C-83A1-F6EECF244321}">
                <p14:modId xmlns:p14="http://schemas.microsoft.com/office/powerpoint/2010/main" val="160935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8F60166C-2A4A-473E-AEFC-94CF443D05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59998" y="654050"/>
            <a:ext cx="3583351" cy="1175446"/>
          </a:xfrm>
        </p:spPr>
        <p:txBody>
          <a:bodyPr vert="horz"/>
          <a:lstStyle>
            <a:lvl1pPr rtl="0">
              <a:defRPr sz="4100"/>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rtl="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rtl="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rtl="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rtl="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lvl1pPr>
          </a:lstStyle>
          <a:p>
            <a:fld id="{527E5059-8FC8-469D-AF5C-AED221334502}" type="datetime1">
              <a:rPr lang="da-DK" smtClean="0"/>
              <a:pPr/>
              <a:t>03-02-2023</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3130024426"/>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46F85BC-C716-4553-BD5C-090299A90C86}"/>
              </a:ext>
            </a:extLst>
          </p:cNvPr>
          <p:cNvGraphicFramePr>
            <a:graphicFrameLocks noChangeAspect="1"/>
          </p:cNvGraphicFramePr>
          <p:nvPr userDrawn="1">
            <p:custDataLst>
              <p:tags r:id="rId1"/>
            </p:custDataLst>
            <p:extLst>
              <p:ext uri="{D42A27DB-BD31-4B8C-83A1-F6EECF244321}">
                <p14:modId xmlns:p14="http://schemas.microsoft.com/office/powerpoint/2010/main" val="1407088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0" name="Object 9" hidden="1">
                        <a:extLst>
                          <a:ext uri="{FF2B5EF4-FFF2-40B4-BE49-F238E27FC236}">
                            <a16:creationId xmlns:a16="http://schemas.microsoft.com/office/drawing/2014/main" id="{F46F85BC-C716-4553-BD5C-090299A90C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title" hasCustomPrompt="1"/>
          </p:nvPr>
        </p:nvSpPr>
        <p:spPr>
          <a:xfrm>
            <a:off x="359998" y="654050"/>
            <a:ext cx="3583351" cy="1175446"/>
          </a:xfrm>
        </p:spPr>
        <p:txBody>
          <a:bodyPr vert="horz"/>
          <a:lstStyle>
            <a:lvl1pPr rtl="0">
              <a:defRPr sz="4100">
                <a:solidFill>
                  <a:schemeClr val="tx1"/>
                </a:solidFill>
              </a:defRPr>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rtl="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rtl="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rtl="0">
              <a:lnSpc>
                <a:spcPct val="100000"/>
              </a:lnSpc>
              <a:spcBef>
                <a:spcPts val="0"/>
              </a:spcBef>
              <a:spcAft>
                <a:spcPts val="3000"/>
              </a:spcAft>
              <a:buClrTx/>
              <a:buFont typeface="+mj-lt"/>
              <a:buAutoNum type="arabicPeriod"/>
              <a:defRPr sz="1600" b="0">
                <a:solidFill>
                  <a:schemeClr val="tx1"/>
                </a:solidFill>
              </a:defRPr>
            </a:lvl4pPr>
            <a:lvl5pPr marL="342900" indent="-342900" rtl="0">
              <a:lnSpc>
                <a:spcPct val="100000"/>
              </a:lnSpc>
              <a:spcBef>
                <a:spcPts val="0"/>
              </a:spcBef>
              <a:spcAft>
                <a:spcPts val="3000"/>
              </a:spcAft>
              <a:buClrTx/>
              <a:buFont typeface="+mj-lt"/>
              <a:buAutoNum type="arabicPeriod"/>
              <a:defRPr sz="1600" b="0">
                <a:solidFill>
                  <a:schemeClr val="tx1"/>
                </a:solidFill>
              </a:defRPr>
            </a:lvl5pPr>
            <a:lvl6pPr marL="342900" indent="-342900" rtl="0">
              <a:lnSpc>
                <a:spcPct val="100000"/>
              </a:lnSpc>
              <a:spcBef>
                <a:spcPts val="0"/>
              </a:spcBef>
              <a:spcAft>
                <a:spcPts val="3000"/>
              </a:spcAft>
              <a:buClrTx/>
              <a:buFont typeface="+mj-lt"/>
              <a:buAutoNum type="arabicPeriod"/>
              <a:defRPr sz="1600" b="0">
                <a:solidFill>
                  <a:schemeClr val="tx1"/>
                </a:solidFill>
              </a:defRPr>
            </a:lvl6pPr>
            <a:lvl7pPr marL="342900" indent="-342900" rtl="0">
              <a:lnSpc>
                <a:spcPct val="100000"/>
              </a:lnSpc>
              <a:spcBef>
                <a:spcPts val="0"/>
              </a:spcBef>
              <a:spcAft>
                <a:spcPts val="3000"/>
              </a:spcAft>
              <a:buClrTx/>
              <a:buFont typeface="+mj-lt"/>
              <a:buAutoNum type="arabicPeriod"/>
              <a:defRPr sz="1600" b="0">
                <a:solidFill>
                  <a:schemeClr val="tx1"/>
                </a:solidFill>
              </a:defRPr>
            </a:lvl7pPr>
            <a:lvl8pPr marL="342900" indent="-342900" rtl="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rtl="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solidFill>
                  <a:schemeClr val="tx1"/>
                </a:solidFill>
              </a:defRPr>
            </a:lvl1pPr>
          </a:lstStyle>
          <a:p>
            <a:fld id="{B0A79E5A-EC3D-4F9C-8449-9968B8A873CD}" type="datetime1">
              <a:rPr lang="da-DK" smtClean="0"/>
              <a:pPr/>
              <a:t>03-02-2023</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solidFill>
                  <a:schemeClr val="tx1"/>
                </a:solidFill>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solidFill>
                  <a:schemeClr val="tx1"/>
                </a:solidFill>
              </a:defRPr>
            </a:lvl1pPr>
          </a:lstStyle>
          <a:p>
            <a:fld id="{23AA811B-2EBD-4900-905E-5BE206449611}" type="slidenum">
              <a:rPr lang="da-DK" smtClean="0"/>
              <a:pPr/>
              <a:t>‹#›</a:t>
            </a:fld>
            <a:endParaRPr lang="da-DK"/>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1"/>
                </a:solidFill>
              </a:rPr>
              <a:t>Ramboll</a:t>
            </a:r>
          </a:p>
        </p:txBody>
      </p:sp>
    </p:spTree>
    <p:extLst>
      <p:ext uri="{BB962C8B-B14F-4D97-AF65-F5344CB8AC3E}">
        <p14:creationId xmlns:p14="http://schemas.microsoft.com/office/powerpoint/2010/main" val="76237302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8F084EF-E6C0-49F9-A75B-12C06FBE4633}"/>
              </a:ext>
            </a:extLst>
          </p:cNvPr>
          <p:cNvGraphicFramePr>
            <a:graphicFrameLocks noChangeAspect="1"/>
          </p:cNvGraphicFramePr>
          <p:nvPr userDrawn="1">
            <p:custDataLst>
              <p:tags r:id="rId1"/>
            </p:custDataLst>
            <p:extLst>
              <p:ext uri="{D42A27DB-BD31-4B8C-83A1-F6EECF244321}">
                <p14:modId xmlns:p14="http://schemas.microsoft.com/office/powerpoint/2010/main" val="1508846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18F084EF-E6C0-49F9-A75B-12C06FBE46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lvl1pPr rtl="0">
              <a:defRPr/>
            </a:lvl1pPr>
          </a:lstStyle>
          <a:p>
            <a:fld id="{4DE8F052-B495-40BE-9682-094846479C8E}" type="datetime1">
              <a:rPr lang="da-DK" smtClean="0"/>
              <a:pPr/>
              <a:t>03-02-2023</a:t>
            </a:fld>
            <a:endParaRPr lang="da-DK"/>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lvl1pPr rtl="0">
              <a:defRPr/>
            </a:lvl1pPr>
          </a:lstStyle>
          <a:p>
            <a:endParaRPr lang="da-DK"/>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40918565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3C26FF-5B65-4D3E-A76B-DEB2248706A7}"/>
              </a:ext>
            </a:extLst>
          </p:cNvPr>
          <p:cNvGraphicFramePr>
            <a:graphicFrameLocks noChangeAspect="1"/>
          </p:cNvGraphicFramePr>
          <p:nvPr userDrawn="1">
            <p:custDataLst>
              <p:tags r:id="rId1"/>
            </p:custDataLst>
            <p:extLst>
              <p:ext uri="{D42A27DB-BD31-4B8C-83A1-F6EECF244321}">
                <p14:modId xmlns:p14="http://schemas.microsoft.com/office/powerpoint/2010/main" val="503016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793C26FF-5B65-4D3E-A76B-DEB2248706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1B4C9864-BFD0-4574-B370-8DFD1BF6363B}" type="datetime1">
              <a:rPr lang="da-DK" smtClean="0"/>
              <a:pPr/>
              <a:t>03-02-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451726319"/>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4EBE56-DC86-44DA-9707-F66B26C382B3}"/>
              </a:ext>
            </a:extLst>
          </p:cNvPr>
          <p:cNvGraphicFramePr>
            <a:graphicFrameLocks noChangeAspect="1"/>
          </p:cNvGraphicFramePr>
          <p:nvPr userDrawn="1">
            <p:custDataLst>
              <p:tags r:id="rId1"/>
            </p:custDataLst>
            <p:extLst>
              <p:ext uri="{D42A27DB-BD31-4B8C-83A1-F6EECF244321}">
                <p14:modId xmlns:p14="http://schemas.microsoft.com/office/powerpoint/2010/main" val="169012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424EBE56-DC86-44DA-9707-F66B26C382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B9941A0D-1A7D-4418-872D-0A573109AE3D}" type="datetime1">
              <a:rPr lang="da-DK" smtClean="0"/>
              <a:pPr/>
              <a:t>03-02-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64673440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4A4F71C-9CE1-44CF-B35F-7CF6E5D864E4}"/>
              </a:ext>
            </a:extLst>
          </p:cNvPr>
          <p:cNvGraphicFramePr>
            <a:graphicFrameLocks noChangeAspect="1"/>
          </p:cNvGraphicFramePr>
          <p:nvPr userDrawn="1">
            <p:custDataLst>
              <p:tags r:id="rId1"/>
            </p:custDataLst>
            <p:extLst>
              <p:ext uri="{D42A27DB-BD31-4B8C-83A1-F6EECF244321}">
                <p14:modId xmlns:p14="http://schemas.microsoft.com/office/powerpoint/2010/main" val="3329353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14A4F71C-9CE1-44CF-B35F-7CF6E5D864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CE630481-804D-4542-835F-93D05E69FE5F}" type="datetime1">
              <a:rPr lang="da-DK" smtClean="0"/>
              <a:pPr/>
              <a:t>03-02-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4016322553"/>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9EF37A4-B44F-4C89-A073-242167466BED}"/>
              </a:ext>
            </a:extLst>
          </p:cNvPr>
          <p:cNvGraphicFramePr>
            <a:graphicFrameLocks noChangeAspect="1"/>
          </p:cNvGraphicFramePr>
          <p:nvPr userDrawn="1">
            <p:custDataLst>
              <p:tags r:id="rId1"/>
            </p:custDataLst>
            <p:extLst>
              <p:ext uri="{D42A27DB-BD31-4B8C-83A1-F6EECF244321}">
                <p14:modId xmlns:p14="http://schemas.microsoft.com/office/powerpoint/2010/main" val="4199143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B9EF37A4-B44F-4C89-A073-242167466B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lvl1pPr rtl="0">
              <a:defRPr/>
            </a:lvl1pPr>
          </a:lstStyle>
          <a:p>
            <a:fld id="{7BF43399-B145-4BBC-AF2A-C9EC8B4305A6}" type="datetime1">
              <a:rPr lang="da-DK" smtClean="0"/>
              <a:pPr/>
              <a:t>03-02-2023</a:t>
            </a:fld>
            <a:endParaRPr lang="da-DK"/>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lvl1pPr rtl="0">
              <a:defRPr/>
            </a:lvl1pPr>
          </a:lstStyle>
          <a:p>
            <a:endParaRPr lang="da-DK"/>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54835265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E83CFD-9F74-4EF8-975F-FD81488A8E17}"/>
              </a:ext>
            </a:extLst>
          </p:cNvPr>
          <p:cNvGraphicFramePr>
            <a:graphicFrameLocks noChangeAspect="1"/>
          </p:cNvGraphicFramePr>
          <p:nvPr userDrawn="1">
            <p:custDataLst>
              <p:tags r:id="rId1"/>
            </p:custDataLst>
            <p:extLst>
              <p:ext uri="{D42A27DB-BD31-4B8C-83A1-F6EECF244321}">
                <p14:modId xmlns:p14="http://schemas.microsoft.com/office/powerpoint/2010/main" val="384047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0E83CFD-9F74-4EF8-975F-FD81488A8E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4C6B010D-12BA-4529-B692-206652452F2C}" type="datetime1">
              <a:rPr lang="da-DK" smtClean="0"/>
              <a:pPr/>
              <a:t>03-02-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ctrTitle" hasCustomPrompt="1"/>
          </p:nvPr>
        </p:nvSpPr>
        <p:spPr>
          <a:xfrm>
            <a:off x="360000" y="654049"/>
            <a:ext cx="10485800" cy="804214"/>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3098817132"/>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28212BF-18A5-4D9F-9F2F-E8FBAAE91B57}"/>
              </a:ext>
            </a:extLst>
          </p:cNvPr>
          <p:cNvGraphicFramePr>
            <a:graphicFrameLocks noChangeAspect="1"/>
          </p:cNvGraphicFramePr>
          <p:nvPr userDrawn="1">
            <p:custDataLst>
              <p:tags r:id="rId1"/>
            </p:custDataLst>
            <p:extLst>
              <p:ext uri="{D42A27DB-BD31-4B8C-83A1-F6EECF244321}">
                <p14:modId xmlns:p14="http://schemas.microsoft.com/office/powerpoint/2010/main" val="1916633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628212BF-18A5-4D9F-9F2F-E8FBAAE91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D74F0F3-9842-478D-99B7-277D0E19CEC9}" type="datetime1">
              <a:rPr lang="da-DK" smtClean="0"/>
              <a:pPr/>
              <a:t>03-02-2023</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192639167"/>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5434468-572D-4FA6-B8CB-CCC382820344}"/>
              </a:ext>
            </a:extLst>
          </p:cNvPr>
          <p:cNvGraphicFramePr>
            <a:graphicFrameLocks noChangeAspect="1"/>
          </p:cNvGraphicFramePr>
          <p:nvPr userDrawn="1">
            <p:custDataLst>
              <p:tags r:id="rId1"/>
            </p:custDataLst>
            <p:extLst>
              <p:ext uri="{D42A27DB-BD31-4B8C-83A1-F6EECF244321}">
                <p14:modId xmlns:p14="http://schemas.microsoft.com/office/powerpoint/2010/main" val="1415735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B5434468-572D-4FA6-B8CB-CCC382820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33B4BAF-2B92-4850-839C-D15349852EB5}" type="datetime1">
              <a:rPr lang="da-DK" smtClean="0"/>
              <a:pPr/>
              <a:t>03-02-2023</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1957436452"/>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18C53D-E677-40EE-86B6-983CF3FD7F9D}"/>
              </a:ext>
            </a:extLst>
          </p:cNvPr>
          <p:cNvGraphicFramePr>
            <a:graphicFrameLocks noChangeAspect="1"/>
          </p:cNvGraphicFramePr>
          <p:nvPr userDrawn="1">
            <p:custDataLst>
              <p:tags r:id="rId1"/>
            </p:custDataLst>
            <p:extLst>
              <p:ext uri="{D42A27DB-BD31-4B8C-83A1-F6EECF244321}">
                <p14:modId xmlns:p14="http://schemas.microsoft.com/office/powerpoint/2010/main" val="2659025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EF18C53D-E677-40EE-86B6-983CF3FD7F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7B5352C5-81EC-4100-8EF4-0409291AC406}" type="datetime1">
              <a:rPr lang="da-DK" smtClean="0"/>
              <a:pPr/>
              <a:t>03-02-2023</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745717859"/>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6B16CCA-52A6-4838-8AB3-3C27A8B4A198}"/>
              </a:ext>
            </a:extLst>
          </p:cNvPr>
          <p:cNvGraphicFramePr>
            <a:graphicFrameLocks noChangeAspect="1"/>
          </p:cNvGraphicFramePr>
          <p:nvPr userDrawn="1">
            <p:custDataLst>
              <p:tags r:id="rId1"/>
            </p:custDataLst>
            <p:extLst>
              <p:ext uri="{D42A27DB-BD31-4B8C-83A1-F6EECF244321}">
                <p14:modId xmlns:p14="http://schemas.microsoft.com/office/powerpoint/2010/main" val="2988153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06B16CCA-52A6-4838-8AB3-3C27A8B4A1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8A4F6F59-6CB3-4166-9CD8-0F5BCD967261}" type="datetime1">
              <a:rPr lang="da-DK" smtClean="0"/>
              <a:pPr/>
              <a:t>03-02-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682504136"/>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FA7D48-E59B-4B43-ABFB-2EB79E90E58B}"/>
              </a:ext>
            </a:extLst>
          </p:cNvPr>
          <p:cNvGraphicFramePr>
            <a:graphicFrameLocks noChangeAspect="1"/>
          </p:cNvGraphicFramePr>
          <p:nvPr userDrawn="1">
            <p:custDataLst>
              <p:tags r:id="rId1"/>
            </p:custDataLst>
            <p:extLst>
              <p:ext uri="{D42A27DB-BD31-4B8C-83A1-F6EECF244321}">
                <p14:modId xmlns:p14="http://schemas.microsoft.com/office/powerpoint/2010/main" val="1853528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D2FA7D48-E59B-4B43-ABFB-2EB79E90E5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lvl1pPr rtl="0">
              <a:defRPr/>
            </a:lvl1pPr>
          </a:lstStyle>
          <a:p>
            <a:fld id="{6ACCEA19-5171-4127-A28C-C6D875C2D7D4}" type="datetime1">
              <a:rPr lang="da-DK" smtClean="0"/>
              <a:pPr/>
              <a:t>03-02-2023</a:t>
            </a:fld>
            <a:endParaRPr lang="da-DK"/>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1549390637"/>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5E9166-697A-4756-9084-4D43AA6266AC}"/>
              </a:ext>
            </a:extLst>
          </p:cNvPr>
          <p:cNvGraphicFramePr>
            <a:graphicFrameLocks noChangeAspect="1"/>
          </p:cNvGraphicFramePr>
          <p:nvPr userDrawn="1">
            <p:custDataLst>
              <p:tags r:id="rId1"/>
            </p:custDataLst>
            <p:extLst>
              <p:ext uri="{D42A27DB-BD31-4B8C-83A1-F6EECF244321}">
                <p14:modId xmlns:p14="http://schemas.microsoft.com/office/powerpoint/2010/main" val="2037424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225E9166-697A-4756-9084-4D43AA6266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8"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9AA3F283-0871-412B-8A65-5C27135FA311}" type="datetime1">
              <a:rPr lang="da-DK" smtClean="0"/>
              <a:pPr/>
              <a:t>03-02-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580882032"/>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6A4339A-E44E-4EA2-8821-B9FBBFDDE819}"/>
              </a:ext>
            </a:extLst>
          </p:cNvPr>
          <p:cNvGraphicFramePr>
            <a:graphicFrameLocks noChangeAspect="1"/>
          </p:cNvGraphicFramePr>
          <p:nvPr userDrawn="1">
            <p:custDataLst>
              <p:tags r:id="rId1"/>
            </p:custDataLst>
            <p:extLst>
              <p:ext uri="{D42A27DB-BD31-4B8C-83A1-F6EECF244321}">
                <p14:modId xmlns:p14="http://schemas.microsoft.com/office/powerpoint/2010/main" val="983239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A6A4339A-E44E-4EA2-8821-B9FBBFDDE8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302000"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lvl1pPr rtl="0">
              <a:defRPr/>
            </a:lvl1pPr>
          </a:lstStyle>
          <a:p>
            <a:fld id="{A67BCEC0-92C2-4FF9-A782-344903368E13}" type="datetime1">
              <a:rPr lang="da-DK" smtClean="0"/>
              <a:pPr/>
              <a:t>03-02-2023</a:t>
            </a:fld>
            <a:endParaRPr lang="da-DK"/>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lvl1pPr rtl="0">
              <a:defRPr/>
            </a:lvl1pPr>
          </a:lstStyle>
          <a:p>
            <a:endParaRPr lang="da-DK"/>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171416610"/>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9F33474-6E8E-4C5B-A4E6-42EC87473E96}"/>
              </a:ext>
            </a:extLst>
          </p:cNvPr>
          <p:cNvGraphicFramePr>
            <a:graphicFrameLocks noChangeAspect="1"/>
          </p:cNvGraphicFramePr>
          <p:nvPr userDrawn="1">
            <p:custDataLst>
              <p:tags r:id="rId1"/>
            </p:custDataLst>
            <p:extLst>
              <p:ext uri="{D42A27DB-BD31-4B8C-83A1-F6EECF244321}">
                <p14:modId xmlns:p14="http://schemas.microsoft.com/office/powerpoint/2010/main" val="2604533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39F33474-6E8E-4C5B-A4E6-42EC87473E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lvl1pPr>
          </a:lstStyle>
          <a:p>
            <a:fld id="{314D1594-E68D-46B5-98E0-BADEBF2D8E2F}" type="datetime1">
              <a:rPr lang="da-DK" smtClean="0"/>
              <a:pPr/>
              <a:t>03-02-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867015399"/>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557DDF1-B341-4A50-9F0A-CE72A4EDBC28}"/>
              </a:ext>
            </a:extLst>
          </p:cNvPr>
          <p:cNvGraphicFramePr>
            <a:graphicFrameLocks noChangeAspect="1"/>
          </p:cNvGraphicFramePr>
          <p:nvPr userDrawn="1">
            <p:custDataLst>
              <p:tags r:id="rId1"/>
            </p:custDataLst>
            <p:extLst>
              <p:ext uri="{D42A27DB-BD31-4B8C-83A1-F6EECF244321}">
                <p14:modId xmlns:p14="http://schemas.microsoft.com/office/powerpoint/2010/main" val="2352957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4557DDF1-B341-4A50-9F0A-CE72A4EDBC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lvl1pPr rtl="0">
              <a:defRPr/>
            </a:lvl1pPr>
          </a:lstStyle>
          <a:p>
            <a:fld id="{265A58E6-12DB-4BF0-8165-AE5E60E9367A}" type="datetime1">
              <a:rPr lang="da-DK" smtClean="0"/>
              <a:pPr/>
              <a:t>03-02-2023</a:t>
            </a:fld>
            <a:endParaRPr lang="da-DK"/>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3492367252"/>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F51A2E8-EAA6-46ED-9053-DD5D6AD76EF7}"/>
              </a:ext>
            </a:extLst>
          </p:cNvPr>
          <p:cNvGraphicFramePr>
            <a:graphicFrameLocks noChangeAspect="1"/>
          </p:cNvGraphicFramePr>
          <p:nvPr userDrawn="1">
            <p:custDataLst>
              <p:tags r:id="rId1"/>
            </p:custDataLst>
            <p:extLst>
              <p:ext uri="{D42A27DB-BD31-4B8C-83A1-F6EECF244321}">
                <p14:modId xmlns:p14="http://schemas.microsoft.com/office/powerpoint/2010/main" val="191480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6F51A2E8-EAA6-46ED-9053-DD5D6AD76E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904988D6-6DD0-4C39-8AE1-A7E25B5D1BF4}" type="datetime1">
              <a:rPr lang="da-DK" smtClean="0"/>
              <a:pPr/>
              <a:t>03-02-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371200853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B3AC83-153D-43B4-BBB3-9DC474C78DBD}"/>
              </a:ext>
            </a:extLst>
          </p:cNvPr>
          <p:cNvGraphicFramePr>
            <a:graphicFrameLocks noChangeAspect="1"/>
          </p:cNvGraphicFramePr>
          <p:nvPr userDrawn="1">
            <p:custDataLst>
              <p:tags r:id="rId1"/>
            </p:custDataLst>
            <p:extLst>
              <p:ext uri="{D42A27DB-BD31-4B8C-83A1-F6EECF244321}">
                <p14:modId xmlns:p14="http://schemas.microsoft.com/office/powerpoint/2010/main" val="2779528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9EB3AC83-153D-43B4-BBB3-9DC474C78D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59998" y="654050"/>
            <a:ext cx="3583351" cy="1175446"/>
          </a:xfrm>
        </p:spPr>
        <p:txBody>
          <a:bodyPr vert="horz"/>
          <a:lstStyle>
            <a:lvl1pPr rtl="0">
              <a:defRPr sz="4100"/>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rtl="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rtl="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rtl="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rtl="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lvl1pPr>
          </a:lstStyle>
          <a:p>
            <a:fld id="{527E5059-8FC8-469D-AF5C-AED221334502}" type="datetime1">
              <a:rPr lang="da-DK" smtClean="0"/>
              <a:pPr/>
              <a:t>03-02-2023</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947025494"/>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AE60287-0DD4-4D01-A53A-5899BF340758}"/>
              </a:ext>
            </a:extLst>
          </p:cNvPr>
          <p:cNvGraphicFramePr>
            <a:graphicFrameLocks noChangeAspect="1"/>
          </p:cNvGraphicFramePr>
          <p:nvPr userDrawn="1">
            <p:custDataLst>
              <p:tags r:id="rId1"/>
            </p:custDataLst>
            <p:extLst>
              <p:ext uri="{D42A27DB-BD31-4B8C-83A1-F6EECF244321}">
                <p14:modId xmlns:p14="http://schemas.microsoft.com/office/powerpoint/2010/main" val="1320407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BAE60287-0DD4-4D01-A53A-5899BF3407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tx2"/>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DC7F6929-E9B5-46A3-B5E9-6150C85426CE}" type="datetime1">
              <a:rPr lang="da-DK" smtClean="0"/>
              <a:pPr/>
              <a:t>03-02-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0904305"/>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1FDAE5E-5EB6-4945-AF41-2EC218E4C572}"/>
              </a:ext>
            </a:extLst>
          </p:cNvPr>
          <p:cNvGraphicFramePr>
            <a:graphicFrameLocks noChangeAspect="1"/>
          </p:cNvGraphicFramePr>
          <p:nvPr userDrawn="1">
            <p:custDataLst>
              <p:tags r:id="rId1"/>
            </p:custDataLst>
            <p:extLst>
              <p:ext uri="{D42A27DB-BD31-4B8C-83A1-F6EECF244321}">
                <p14:modId xmlns:p14="http://schemas.microsoft.com/office/powerpoint/2010/main" val="627160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21FDAE5E-5EB6-4945-AF41-2EC218E4C5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59FA29BE-106E-4609-97DE-EDE0B0C087F7}" type="datetime1">
              <a:rPr lang="da-DK" smtClean="0"/>
              <a:pPr/>
              <a:t>03-02-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Tree>
    <p:extLst>
      <p:ext uri="{BB962C8B-B14F-4D97-AF65-F5344CB8AC3E}">
        <p14:creationId xmlns:p14="http://schemas.microsoft.com/office/powerpoint/2010/main" val="877688799"/>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DC1A67D-15B4-4A31-BCD6-E4373097286D}"/>
              </a:ext>
            </a:extLst>
          </p:cNvPr>
          <p:cNvGraphicFramePr>
            <a:graphicFrameLocks noChangeAspect="1"/>
          </p:cNvGraphicFramePr>
          <p:nvPr userDrawn="1">
            <p:custDataLst>
              <p:tags r:id="rId1"/>
            </p:custDataLst>
            <p:extLst>
              <p:ext uri="{D42A27DB-BD31-4B8C-83A1-F6EECF244321}">
                <p14:modId xmlns:p14="http://schemas.microsoft.com/office/powerpoint/2010/main" val="3053914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FDC1A67D-15B4-4A31-BCD6-E437309728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3EFAF684-C611-4113-B7D5-C3E527F22C4F}" type="datetime1">
              <a:rPr lang="da-DK" smtClean="0"/>
              <a:pPr/>
              <a:t>03-02-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4486080"/>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BF09C2E-31C1-4F9B-9740-71B6014FE194}"/>
              </a:ext>
            </a:extLst>
          </p:cNvPr>
          <p:cNvGraphicFramePr>
            <a:graphicFrameLocks noChangeAspect="1"/>
          </p:cNvGraphicFramePr>
          <p:nvPr userDrawn="1">
            <p:custDataLst>
              <p:tags r:id="rId1"/>
            </p:custDataLst>
            <p:extLst>
              <p:ext uri="{D42A27DB-BD31-4B8C-83A1-F6EECF244321}">
                <p14:modId xmlns:p14="http://schemas.microsoft.com/office/powerpoint/2010/main" val="2595208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4BF09C2E-31C1-4F9B-9740-71B6014FE1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rtl="0">
              <a:defRPr sz="100">
                <a:noFill/>
              </a:defRPr>
            </a:lvl1pPr>
          </a:lstStyle>
          <a:p>
            <a:fld id="{C4B04AE4-03BB-4174-AD21-7567A4C959F4}" type="datetime1">
              <a:rPr lang="da-DK" smtClean="0"/>
              <a:pPr/>
              <a:t>03-02-2023</a:t>
            </a:fld>
            <a:endParaRPr lang="da-DK"/>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lvl1pPr rtl="0">
              <a:defRPr/>
            </a:lvl1pPr>
          </a:lstStyle>
          <a:p>
            <a:endParaRPr lang="da-DK"/>
          </a:p>
        </p:txBody>
      </p:sp>
    </p:spTree>
    <p:extLst>
      <p:ext uri="{BB962C8B-B14F-4D97-AF65-F5344CB8AC3E}">
        <p14:creationId xmlns:p14="http://schemas.microsoft.com/office/powerpoint/2010/main" val="2247901837"/>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18FEC5D-208A-45E5-B6AE-C5854E801034}"/>
              </a:ext>
            </a:extLst>
          </p:cNvPr>
          <p:cNvGraphicFramePr>
            <a:graphicFrameLocks noChangeAspect="1"/>
          </p:cNvGraphicFramePr>
          <p:nvPr userDrawn="1">
            <p:custDataLst>
              <p:tags r:id="rId1"/>
            </p:custDataLst>
            <p:extLst>
              <p:ext uri="{D42A27DB-BD31-4B8C-83A1-F6EECF244321}">
                <p14:modId xmlns:p14="http://schemas.microsoft.com/office/powerpoint/2010/main" val="189040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218FEC5D-208A-45E5-B6AE-C5854E8010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lvl1pPr rtl="0">
              <a:defRPr/>
            </a:lvl1pPr>
          </a:lstStyle>
          <a:p>
            <a:fld id="{3A46E679-721E-4A44-A034-B3833441D488}" type="datetime1">
              <a:rPr lang="da-DK" smtClean="0"/>
              <a:pPr/>
              <a:t>03-02-2023</a:t>
            </a:fld>
            <a:endParaRPr lang="da-DK"/>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630868409"/>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42EF20-83FC-47CD-9A6B-22CA8EBF2AB1}"/>
              </a:ext>
            </a:extLst>
          </p:cNvPr>
          <p:cNvGraphicFramePr>
            <a:graphicFrameLocks noChangeAspect="1"/>
          </p:cNvGraphicFramePr>
          <p:nvPr userDrawn="1">
            <p:custDataLst>
              <p:tags r:id="rId1"/>
            </p:custDataLst>
            <p:extLst>
              <p:ext uri="{D42A27DB-BD31-4B8C-83A1-F6EECF244321}">
                <p14:modId xmlns:p14="http://schemas.microsoft.com/office/powerpoint/2010/main" val="2746990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242EF20-83FC-47CD-9A6B-22CA8EBF2A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rtl="0">
              <a:defRPr sz="100">
                <a:noFill/>
              </a:defRPr>
            </a:lvl1pPr>
          </a:lstStyle>
          <a:p>
            <a:fld id="{F6C1ADEE-7B52-423A-9878-0398FEFAF71F}" type="datetime1">
              <a:rPr lang="da-DK" smtClean="0"/>
              <a:pPr/>
              <a:t>03-02-2023</a:t>
            </a:fld>
            <a:endParaRPr lang="da-DK"/>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lvl1pPr rtl="0">
              <a:defRPr/>
            </a:lvl1pPr>
          </a:lstStyle>
          <a:p>
            <a:endParaRPr lang="da-DK"/>
          </a:p>
        </p:txBody>
      </p:sp>
    </p:spTree>
    <p:extLst>
      <p:ext uri="{BB962C8B-B14F-4D97-AF65-F5344CB8AC3E}">
        <p14:creationId xmlns:p14="http://schemas.microsoft.com/office/powerpoint/2010/main" val="4138849815"/>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8740DD9-43CE-4C3E-97A1-ADF13214434B}"/>
              </a:ext>
            </a:extLst>
          </p:cNvPr>
          <p:cNvGraphicFramePr>
            <a:graphicFrameLocks noChangeAspect="1"/>
          </p:cNvGraphicFramePr>
          <p:nvPr userDrawn="1">
            <p:custDataLst>
              <p:tags r:id="rId1"/>
            </p:custDataLst>
            <p:extLst>
              <p:ext uri="{D42A27DB-BD31-4B8C-83A1-F6EECF244321}">
                <p14:modId xmlns:p14="http://schemas.microsoft.com/office/powerpoint/2010/main" val="1333985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48740DD9-43CE-4C3E-97A1-ADF1321443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lvl1pPr rtl="0">
              <a:defRPr/>
            </a:lvl1pPr>
          </a:lstStyle>
          <a:p>
            <a:fld id="{3FD627AC-F023-4E38-BBE2-8CC6A4B15F9B}" type="datetime1">
              <a:rPr lang="da-DK" smtClean="0"/>
              <a:pPr/>
              <a:t>03-02-2023</a:t>
            </a:fld>
            <a:endParaRPr lang="da-DK"/>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683894057"/>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2F2636-3EAA-407B-9D55-00604C9AAD76}"/>
              </a:ext>
            </a:extLst>
          </p:cNvPr>
          <p:cNvGraphicFramePr>
            <a:graphicFrameLocks noChangeAspect="1"/>
          </p:cNvGraphicFramePr>
          <p:nvPr userDrawn="1">
            <p:custDataLst>
              <p:tags r:id="rId1"/>
            </p:custDataLst>
            <p:extLst>
              <p:ext uri="{D42A27DB-BD31-4B8C-83A1-F6EECF244321}">
                <p14:modId xmlns:p14="http://schemas.microsoft.com/office/powerpoint/2010/main" val="3252173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A92F2636-3EAA-407B-9D55-00604C9AAD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rtl="0">
              <a:defRPr sz="100">
                <a:noFill/>
              </a:defRPr>
            </a:lvl1pPr>
          </a:lstStyle>
          <a:p>
            <a:fld id="{791AE312-9C38-4B88-A1BD-03872F0FCB4A}" type="datetime1">
              <a:rPr lang="da-DK" smtClean="0"/>
              <a:pPr/>
              <a:t>03-02-2023</a:t>
            </a:fld>
            <a:endParaRPr lang="da-DK"/>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rtl="0">
              <a:defRPr>
                <a:solidFill>
                  <a:schemeClr val="bg1"/>
                </a:solidFill>
              </a:defRPr>
            </a:lvl1pPr>
          </a:lstStyle>
          <a:p>
            <a:endParaRPr lang="da-DK"/>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1272824847"/>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A56E38-FDDE-433A-BAF6-AC8D12AFC6FC}"/>
              </a:ext>
            </a:extLst>
          </p:cNvPr>
          <p:cNvGraphicFramePr>
            <a:graphicFrameLocks noChangeAspect="1"/>
          </p:cNvGraphicFramePr>
          <p:nvPr userDrawn="1">
            <p:custDataLst>
              <p:tags r:id="rId1"/>
            </p:custDataLst>
            <p:extLst>
              <p:ext uri="{D42A27DB-BD31-4B8C-83A1-F6EECF244321}">
                <p14:modId xmlns:p14="http://schemas.microsoft.com/office/powerpoint/2010/main" val="377707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A1A56E38-FDDE-433A-BAF6-AC8D12AFC6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50802"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bg1"/>
                </a:solidFill>
              </a:defRPr>
            </a:lvl1pPr>
          </a:lstStyle>
          <a:p>
            <a:fld id="{B28D1D58-AB37-4343-ADE9-EEBE954DF792}" type="datetime1">
              <a:rPr lang="da-DK" smtClean="0"/>
              <a:pPr/>
              <a:t>03-02-2023</a:t>
            </a:fld>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bg1"/>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706099923"/>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A58D2D-009C-477A-A7E8-6CBFB3E4C3BD}"/>
              </a:ext>
            </a:extLst>
          </p:cNvPr>
          <p:cNvGraphicFramePr>
            <a:graphicFrameLocks noChangeAspect="1"/>
          </p:cNvGraphicFramePr>
          <p:nvPr userDrawn="1">
            <p:custDataLst>
              <p:tags r:id="rId1"/>
            </p:custDataLst>
            <p:extLst>
              <p:ext uri="{D42A27DB-BD31-4B8C-83A1-F6EECF244321}">
                <p14:modId xmlns:p14="http://schemas.microsoft.com/office/powerpoint/2010/main" val="791056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D2A58D2D-009C-477A-A7E8-6CBFB3E4C3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58225" y="654051"/>
            <a:ext cx="4563272"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lvl1pPr rtl="0">
              <a:defRPr/>
            </a:lvl1pPr>
          </a:lstStyle>
          <a:p>
            <a:fld id="{06093368-26E3-4532-8FD8-7B783022E688}" type="datetime1">
              <a:rPr lang="da-DK" smtClean="0"/>
              <a:pPr/>
              <a:t>03-02-2023</a:t>
            </a:fld>
            <a:endParaRPr lang="da-DK"/>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rtl="0">
              <a:defRPr>
                <a:solidFill>
                  <a:schemeClr val="bg1"/>
                </a:solidFill>
              </a:defRPr>
            </a:lvl1pPr>
          </a:lstStyle>
          <a:p>
            <a:endParaRPr lang="da-DK"/>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287586255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EFBBF1-C009-481F-880D-B72DF8BA5B5C}"/>
              </a:ext>
            </a:extLst>
          </p:cNvPr>
          <p:cNvGraphicFramePr>
            <a:graphicFrameLocks noChangeAspect="1"/>
          </p:cNvGraphicFramePr>
          <p:nvPr userDrawn="1">
            <p:custDataLst>
              <p:tags r:id="rId1"/>
            </p:custDataLst>
            <p:extLst>
              <p:ext uri="{D42A27DB-BD31-4B8C-83A1-F6EECF244321}">
                <p14:modId xmlns:p14="http://schemas.microsoft.com/office/powerpoint/2010/main" val="3622667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0" name="Object 9" hidden="1">
                        <a:extLst>
                          <a:ext uri="{FF2B5EF4-FFF2-40B4-BE49-F238E27FC236}">
                            <a16:creationId xmlns:a16="http://schemas.microsoft.com/office/drawing/2014/main" id="{E1EFBBF1-C009-481F-880D-B72DF8BA5B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title" hasCustomPrompt="1"/>
          </p:nvPr>
        </p:nvSpPr>
        <p:spPr>
          <a:xfrm>
            <a:off x="359998" y="654050"/>
            <a:ext cx="3583351" cy="1175446"/>
          </a:xfrm>
        </p:spPr>
        <p:txBody>
          <a:bodyPr vert="horz"/>
          <a:lstStyle>
            <a:lvl1pPr rtl="0">
              <a:defRPr sz="4100">
                <a:solidFill>
                  <a:schemeClr val="tx1"/>
                </a:solidFill>
              </a:defRPr>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rtl="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rtl="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rtl="0">
              <a:lnSpc>
                <a:spcPct val="100000"/>
              </a:lnSpc>
              <a:spcBef>
                <a:spcPts val="0"/>
              </a:spcBef>
              <a:spcAft>
                <a:spcPts val="3000"/>
              </a:spcAft>
              <a:buClrTx/>
              <a:buFont typeface="+mj-lt"/>
              <a:buAutoNum type="arabicPeriod"/>
              <a:defRPr sz="1600" b="0">
                <a:solidFill>
                  <a:schemeClr val="tx1"/>
                </a:solidFill>
              </a:defRPr>
            </a:lvl4pPr>
            <a:lvl5pPr marL="342900" indent="-342900" rtl="0">
              <a:lnSpc>
                <a:spcPct val="100000"/>
              </a:lnSpc>
              <a:spcBef>
                <a:spcPts val="0"/>
              </a:spcBef>
              <a:spcAft>
                <a:spcPts val="3000"/>
              </a:spcAft>
              <a:buClrTx/>
              <a:buFont typeface="+mj-lt"/>
              <a:buAutoNum type="arabicPeriod"/>
              <a:defRPr sz="1600" b="0">
                <a:solidFill>
                  <a:schemeClr val="tx1"/>
                </a:solidFill>
              </a:defRPr>
            </a:lvl5pPr>
            <a:lvl6pPr marL="342900" indent="-342900" rtl="0">
              <a:lnSpc>
                <a:spcPct val="100000"/>
              </a:lnSpc>
              <a:spcBef>
                <a:spcPts val="0"/>
              </a:spcBef>
              <a:spcAft>
                <a:spcPts val="3000"/>
              </a:spcAft>
              <a:buClrTx/>
              <a:buFont typeface="+mj-lt"/>
              <a:buAutoNum type="arabicPeriod"/>
              <a:defRPr sz="1600" b="0">
                <a:solidFill>
                  <a:schemeClr val="tx1"/>
                </a:solidFill>
              </a:defRPr>
            </a:lvl6pPr>
            <a:lvl7pPr marL="342900" indent="-342900" rtl="0">
              <a:lnSpc>
                <a:spcPct val="100000"/>
              </a:lnSpc>
              <a:spcBef>
                <a:spcPts val="0"/>
              </a:spcBef>
              <a:spcAft>
                <a:spcPts val="3000"/>
              </a:spcAft>
              <a:buClrTx/>
              <a:buFont typeface="+mj-lt"/>
              <a:buAutoNum type="arabicPeriod"/>
              <a:defRPr sz="1600" b="0">
                <a:solidFill>
                  <a:schemeClr val="tx1"/>
                </a:solidFill>
              </a:defRPr>
            </a:lvl7pPr>
            <a:lvl8pPr marL="342900" indent="-342900" rtl="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rtl="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solidFill>
                  <a:schemeClr val="tx1"/>
                </a:solidFill>
              </a:defRPr>
            </a:lvl1pPr>
          </a:lstStyle>
          <a:p>
            <a:fld id="{B0A79E5A-EC3D-4F9C-8449-9968B8A873CD}" type="datetime1">
              <a:rPr lang="da-DK" smtClean="0"/>
              <a:pPr/>
              <a:t>03-02-2023</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solidFill>
                  <a:schemeClr val="tx1"/>
                </a:solidFill>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solidFill>
                  <a:schemeClr val="tx1"/>
                </a:solidFill>
              </a:defRPr>
            </a:lvl1pPr>
          </a:lstStyle>
          <a:p>
            <a:fld id="{23AA811B-2EBD-4900-905E-5BE206449611}" type="slidenum">
              <a:rPr lang="da-DK" smtClean="0"/>
              <a:pPr/>
              <a:t>‹#›</a:t>
            </a:fld>
            <a:endParaRPr lang="da-DK"/>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1"/>
                </a:solidFill>
              </a:rPr>
              <a:t>Ramboll</a:t>
            </a:r>
          </a:p>
        </p:txBody>
      </p:sp>
    </p:spTree>
    <p:extLst>
      <p:ext uri="{BB962C8B-B14F-4D97-AF65-F5344CB8AC3E}">
        <p14:creationId xmlns:p14="http://schemas.microsoft.com/office/powerpoint/2010/main" val="18112712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BFD55A-4F3D-4A85-8475-178D9DF5C530}"/>
              </a:ext>
            </a:extLst>
          </p:cNvPr>
          <p:cNvGraphicFramePr>
            <a:graphicFrameLocks noChangeAspect="1"/>
          </p:cNvGraphicFramePr>
          <p:nvPr userDrawn="1">
            <p:custDataLst>
              <p:tags r:id="rId1"/>
            </p:custDataLst>
            <p:extLst>
              <p:ext uri="{D42A27DB-BD31-4B8C-83A1-F6EECF244321}">
                <p14:modId xmlns:p14="http://schemas.microsoft.com/office/powerpoint/2010/main" val="3362432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EDBFD55A-4F3D-4A85-8475-178D9DF5C5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lvl1pPr rtl="0">
              <a:defRPr/>
            </a:lvl1pPr>
          </a:lstStyle>
          <a:p>
            <a:fld id="{851E3A26-CACC-472F-999E-6CEDC51DAFFB}" type="datetime1">
              <a:rPr lang="da-DK" smtClean="0"/>
              <a:pPr/>
              <a:t>03-02-2023</a:t>
            </a:fld>
            <a:endParaRPr lang="da-DK"/>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68513201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E670840-F4BC-4F38-8592-0661A8253093}"/>
              </a:ext>
            </a:extLst>
          </p:cNvPr>
          <p:cNvGraphicFramePr>
            <a:graphicFrameLocks noChangeAspect="1"/>
          </p:cNvGraphicFramePr>
          <p:nvPr userDrawn="1">
            <p:custDataLst>
              <p:tags r:id="rId1"/>
            </p:custDataLst>
            <p:extLst>
              <p:ext uri="{D42A27DB-BD31-4B8C-83A1-F6EECF244321}">
                <p14:modId xmlns:p14="http://schemas.microsoft.com/office/powerpoint/2010/main" val="2594851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FE670840-F4BC-4F38-8592-0661A82530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48399" y="654050"/>
            <a:ext cx="6184800" cy="2349449"/>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lvl1pPr rtl="0">
              <a:defRPr/>
            </a:lvl1pPr>
          </a:lstStyle>
          <a:p>
            <a:fld id="{923212C7-A548-4370-9C24-272889F12011}" type="datetime1">
              <a:rPr lang="da-DK" smtClean="0"/>
              <a:pPr/>
              <a:t>03-02-2023</a:t>
            </a:fld>
            <a:endParaRPr lang="da-DK"/>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lvl1pPr rtl="0">
              <a:defRPr/>
            </a:lvl1pPr>
          </a:lstStyle>
          <a:p>
            <a:endParaRPr lang="da-DK"/>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343135904"/>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D0B381F-A21F-43A5-AF52-1A2745AC1B2D}"/>
              </a:ext>
            </a:extLst>
          </p:cNvPr>
          <p:cNvGraphicFramePr>
            <a:graphicFrameLocks noChangeAspect="1"/>
          </p:cNvGraphicFramePr>
          <p:nvPr userDrawn="1">
            <p:custDataLst>
              <p:tags r:id="rId1"/>
            </p:custDataLst>
            <p:extLst>
              <p:ext uri="{D42A27DB-BD31-4B8C-83A1-F6EECF244321}">
                <p14:modId xmlns:p14="http://schemas.microsoft.com/office/powerpoint/2010/main" val="236967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BD0B381F-A21F-43A5-AF52-1A2745AC1B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lvl1pPr rtl="0">
              <a:defRPr/>
            </a:lvl1pPr>
          </a:lstStyle>
          <a:p>
            <a:fld id="{3393CB94-5BA6-4B5C-8025-21D6F4E52D5E}" type="datetime1">
              <a:rPr lang="da-DK" smtClean="0"/>
              <a:pPr/>
              <a:t>03-02-2023</a:t>
            </a:fld>
            <a:endParaRPr lang="da-DK"/>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4246638903"/>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E53B51C-6617-44DF-A9BD-BD3480363F5B}"/>
              </a:ext>
            </a:extLst>
          </p:cNvPr>
          <p:cNvGraphicFramePr>
            <a:graphicFrameLocks noChangeAspect="1"/>
          </p:cNvGraphicFramePr>
          <p:nvPr userDrawn="1">
            <p:custDataLst>
              <p:tags r:id="rId1"/>
            </p:custDataLst>
            <p:extLst>
              <p:ext uri="{D42A27DB-BD31-4B8C-83A1-F6EECF244321}">
                <p14:modId xmlns:p14="http://schemas.microsoft.com/office/powerpoint/2010/main" val="284394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FE53B51C-6617-44DF-A9BD-BD3480363F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7260312" y="654051"/>
            <a:ext cx="4575290" cy="2349448"/>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rtl="0">
              <a:defRPr>
                <a:solidFill>
                  <a:schemeClr val="tx2"/>
                </a:solidFill>
              </a:defRPr>
            </a:lvl1pPr>
          </a:lstStyle>
          <a:p>
            <a:fld id="{29D73515-F0A6-4B30-A688-5D4CF44B9186}" type="datetime1">
              <a:rPr lang="da-DK" smtClean="0"/>
              <a:pPr/>
              <a:t>03-02-2023</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7888237"/>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DCC80B-CA1B-42C1-925B-B49AB5DE3F9F}"/>
              </a:ext>
            </a:extLst>
          </p:cNvPr>
          <p:cNvGraphicFramePr>
            <a:graphicFrameLocks noChangeAspect="1"/>
          </p:cNvGraphicFramePr>
          <p:nvPr userDrawn="1">
            <p:custDataLst>
              <p:tags r:id="rId1"/>
            </p:custDataLst>
            <p:extLst>
              <p:ext uri="{D42A27DB-BD31-4B8C-83A1-F6EECF244321}">
                <p14:modId xmlns:p14="http://schemas.microsoft.com/office/powerpoint/2010/main" val="1439938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D4DCC80B-CA1B-42C1-925B-B49AB5DE3F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360000" y="654051"/>
            <a:ext cx="3584974" cy="2136774"/>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lvl1pPr rtl="0">
              <a:defRPr/>
            </a:lvl1pPr>
          </a:lstStyle>
          <a:p>
            <a:fld id="{B6F065B1-CCC8-4072-99B6-C71232109F4F}" type="datetime1">
              <a:rPr lang="da-DK" smtClean="0"/>
              <a:pPr/>
              <a:t>03-02-2023</a:t>
            </a:fld>
            <a:endParaRPr lang="da-DK"/>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2638929647"/>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3FE8520-24A3-48D5-A339-BF98E17D9B81}"/>
              </a:ext>
            </a:extLst>
          </p:cNvPr>
          <p:cNvGraphicFramePr>
            <a:graphicFrameLocks noChangeAspect="1"/>
          </p:cNvGraphicFramePr>
          <p:nvPr userDrawn="1">
            <p:custDataLst>
              <p:tags r:id="rId1"/>
            </p:custDataLst>
            <p:extLst>
              <p:ext uri="{D42A27DB-BD31-4B8C-83A1-F6EECF244321}">
                <p14:modId xmlns:p14="http://schemas.microsoft.com/office/powerpoint/2010/main" val="2319248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E3FE8520-24A3-48D5-A339-BF98E17D9B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60312" y="654051"/>
            <a:ext cx="4575290" cy="2349448"/>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accent2"/>
                </a:solidFill>
              </a:defRPr>
            </a:lvl1pPr>
          </a:lstStyle>
          <a:p>
            <a:fld id="{4C0216E3-463B-4CB8-BE43-497F498BEEEE}" type="datetime1">
              <a:rPr lang="da-DK" smtClean="0"/>
              <a:pPr/>
              <a:t>03-02-2023</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rtl="0">
              <a:defRPr>
                <a:solidFill>
                  <a:schemeClr val="accent2"/>
                </a:solidFill>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accent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259937643"/>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F232F3-17CC-4766-B05D-DCD55CD707FA}"/>
              </a:ext>
            </a:extLst>
          </p:cNvPr>
          <p:cNvGraphicFramePr>
            <a:graphicFrameLocks noChangeAspect="1"/>
          </p:cNvGraphicFramePr>
          <p:nvPr userDrawn="1">
            <p:custDataLst>
              <p:tags r:id="rId1"/>
            </p:custDataLst>
            <p:extLst>
              <p:ext uri="{D42A27DB-BD31-4B8C-83A1-F6EECF244321}">
                <p14:modId xmlns:p14="http://schemas.microsoft.com/office/powerpoint/2010/main" val="1196212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8F232F3-17CC-4766-B05D-DCD55CD707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1"/>
            <a:ext cx="3584974" cy="2136774"/>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lvl1pPr rtl="0">
              <a:defRPr/>
            </a:lvl1pPr>
          </a:lstStyle>
          <a:p>
            <a:fld id="{49EE3078-35F5-4450-8DDB-1711F663AF0B}" type="datetime1">
              <a:rPr lang="da-DK" smtClean="0"/>
              <a:pPr/>
              <a:t>03-02-2023</a:t>
            </a:fld>
            <a:endParaRPr lang="da-DK"/>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2993582613"/>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0CD2189-9650-477A-85BC-7A51E3A993E7}"/>
              </a:ext>
            </a:extLst>
          </p:cNvPr>
          <p:cNvGraphicFramePr>
            <a:graphicFrameLocks noChangeAspect="1"/>
          </p:cNvGraphicFramePr>
          <p:nvPr userDrawn="1">
            <p:custDataLst>
              <p:tags r:id="rId1"/>
            </p:custDataLst>
            <p:extLst>
              <p:ext uri="{D42A27DB-BD31-4B8C-83A1-F6EECF244321}">
                <p14:modId xmlns:p14="http://schemas.microsoft.com/office/powerpoint/2010/main" val="183900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A0CD2189-9650-477A-85BC-7A51E3A993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rtl="0">
              <a:defRPr sz="100">
                <a:noFill/>
              </a:defRPr>
            </a:lvl1pPr>
          </a:lstStyle>
          <a:p>
            <a:fld id="{87CEE0B2-D606-4C87-BD16-18AC95AF549F}" type="datetime1">
              <a:rPr lang="da-DK" smtClean="0"/>
              <a:pPr/>
              <a:t>03-02-2023</a:t>
            </a:fld>
            <a:endParaRPr lang="da-DK"/>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p:txBody>
          <a:bodyPr vert="horz"/>
          <a:lstStyle>
            <a:lvl1pPr rtl="0">
              <a:defRPr/>
            </a:lvl1pPr>
          </a:lstStyle>
          <a:p>
            <a:r>
              <a:rPr lang="da-DK" noProof="0"/>
              <a:t>Click to add title</a:t>
            </a:r>
          </a:p>
        </p:txBody>
      </p:sp>
    </p:spTree>
    <p:extLst>
      <p:ext uri="{BB962C8B-B14F-4D97-AF65-F5344CB8AC3E}">
        <p14:creationId xmlns:p14="http://schemas.microsoft.com/office/powerpoint/2010/main" val="252741095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F2A449F-63F0-4261-AFD8-ACCA8BD05C33}"/>
              </a:ext>
            </a:extLst>
          </p:cNvPr>
          <p:cNvGraphicFramePr>
            <a:graphicFrameLocks noChangeAspect="1"/>
          </p:cNvGraphicFramePr>
          <p:nvPr userDrawn="1">
            <p:custDataLst>
              <p:tags r:id="rId1"/>
            </p:custDataLst>
            <p:extLst>
              <p:ext uri="{D42A27DB-BD31-4B8C-83A1-F6EECF244321}">
                <p14:modId xmlns:p14="http://schemas.microsoft.com/office/powerpoint/2010/main" val="643237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CF2A449F-63F0-4261-AFD8-ACCA8BD05C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1350000" y="1122363"/>
            <a:ext cx="8509963" cy="1984631"/>
          </a:xfrm>
        </p:spPr>
        <p:txBody>
          <a:bodyPr vert="horz" anchor="b"/>
          <a:lstStyle>
            <a:lvl1pPr algn="l" rtl="0">
              <a:defRPr sz="6000">
                <a:solidFill>
                  <a:schemeClr val="bg2"/>
                </a:solidFill>
              </a:defRPr>
            </a:lvl1pPr>
          </a:lstStyle>
          <a:p>
            <a:r>
              <a:rPr lang="da-DK" noProof="0"/>
              <a:t>Click to add </a:t>
            </a:r>
            <a:r>
              <a:rPr lang="da-DK"/>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rtl="0">
              <a:defRPr>
                <a:solidFill>
                  <a:schemeClr val="bg2"/>
                </a:solidFill>
              </a:defRPr>
            </a:lvl1pPr>
          </a:lstStyle>
          <a:p>
            <a:fld id="{075B1503-1805-4DC5-AF6E-FDE48DB177B4}" type="datetime1">
              <a:rPr lang="da-DK" smtClean="0"/>
              <a:pPr/>
              <a:t>03-02-2023</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rtl="0">
              <a:defRPr>
                <a:solidFill>
                  <a:schemeClr val="bg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rtl="0">
              <a:defRPr>
                <a:solidFill>
                  <a:schemeClr val="bg2"/>
                </a:solidFill>
              </a:defRPr>
            </a:lvl1pPr>
          </a:lstStyle>
          <a:p>
            <a:fld id="{23AA811B-2EBD-4900-905E-5BE206449611}" type="slidenum">
              <a:rPr lang="da-DK" smtClean="0"/>
              <a:pPr/>
              <a:t>‹#›</a:t>
            </a:fld>
            <a:endParaRPr lang="da-DK"/>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2"/>
                </a:solidFill>
              </a:rPr>
              <a:t>Ramboll</a:t>
            </a:r>
          </a:p>
        </p:txBody>
      </p:sp>
    </p:spTree>
    <p:extLst>
      <p:ext uri="{BB962C8B-B14F-4D97-AF65-F5344CB8AC3E}">
        <p14:creationId xmlns:p14="http://schemas.microsoft.com/office/powerpoint/2010/main" val="969793231"/>
      </p:ext>
    </p:extLst>
  </p:cSld>
  <p:clrMapOvr>
    <a:overrideClrMapping bg1="dk1" tx1="lt1" bg2="dk2" tx2="lt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9AF7C25-4370-4339-B323-813EDFF5383A}"/>
              </a:ext>
            </a:extLst>
          </p:cNvPr>
          <p:cNvGraphicFramePr>
            <a:graphicFrameLocks noChangeAspect="1"/>
          </p:cNvGraphicFramePr>
          <p:nvPr userDrawn="1">
            <p:custDataLst>
              <p:tags r:id="rId1"/>
            </p:custDataLst>
            <p:extLst>
              <p:ext uri="{D42A27DB-BD31-4B8C-83A1-F6EECF244321}">
                <p14:modId xmlns:p14="http://schemas.microsoft.com/office/powerpoint/2010/main" val="184906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49AF7C25-4370-4339-B323-813EDFF538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1350000" y="1122363"/>
            <a:ext cx="8509963" cy="1984631"/>
          </a:xfrm>
        </p:spPr>
        <p:txBody>
          <a:bodyPr vert="horz" anchor="b"/>
          <a:lstStyle>
            <a:lvl1pPr algn="l" rtl="0">
              <a:defRPr sz="6000">
                <a:solidFill>
                  <a:schemeClr val="tx1"/>
                </a:solidFill>
              </a:defRPr>
            </a:lvl1pPr>
          </a:lstStyle>
          <a:p>
            <a:r>
              <a:rPr lang="da-DK" noProof="0"/>
              <a:t>Click to add </a:t>
            </a:r>
            <a:r>
              <a:rPr lang="da-DK"/>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rtl="0">
              <a:defRPr>
                <a:solidFill>
                  <a:schemeClr val="tx1"/>
                </a:solidFill>
              </a:defRPr>
            </a:lvl1pPr>
          </a:lstStyle>
          <a:p>
            <a:fld id="{F24941B2-5F7F-4165-B2DE-D010B7A4A5F5}" type="datetime1">
              <a:rPr lang="da-DK" smtClean="0"/>
              <a:pPr/>
              <a:t>03-02-2023</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rtl="0">
              <a:defRPr>
                <a:solidFill>
                  <a:schemeClr val="tx1"/>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rtl="0">
              <a:defRPr>
                <a:solidFill>
                  <a:schemeClr val="tx1"/>
                </a:solidFill>
              </a:defRPr>
            </a:lvl1pPr>
          </a:lstStyle>
          <a:p>
            <a:fld id="{23AA811B-2EBD-4900-905E-5BE206449611}" type="slidenum">
              <a:rPr lang="da-DK" smtClean="0"/>
              <a:pPr/>
              <a:t>‹#›</a:t>
            </a:fld>
            <a:endParaRPr lang="da-DK"/>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1"/>
                </a:solidFill>
              </a:rPr>
              <a:t>Ramboll</a:t>
            </a:r>
          </a:p>
        </p:txBody>
      </p:sp>
    </p:spTree>
    <p:extLst>
      <p:ext uri="{BB962C8B-B14F-4D97-AF65-F5344CB8AC3E}">
        <p14:creationId xmlns:p14="http://schemas.microsoft.com/office/powerpoint/2010/main" val="4030931373"/>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9" Type="http://schemas.openxmlformats.org/officeDocument/2006/relationships/slideLayout" Target="../slideLayouts/slideLayout94.xml"/><Relationship Id="rId21" Type="http://schemas.openxmlformats.org/officeDocument/2006/relationships/slideLayout" Target="../slideLayouts/slideLayout76.xml"/><Relationship Id="rId34" Type="http://schemas.openxmlformats.org/officeDocument/2006/relationships/slideLayout" Target="../slideLayouts/slideLayout89.xml"/><Relationship Id="rId42" Type="http://schemas.openxmlformats.org/officeDocument/2006/relationships/slideLayout" Target="../slideLayouts/slideLayout97.xml"/><Relationship Id="rId47" Type="http://schemas.openxmlformats.org/officeDocument/2006/relationships/slideLayout" Target="../slideLayouts/slideLayout102.xml"/><Relationship Id="rId50" Type="http://schemas.openxmlformats.org/officeDocument/2006/relationships/slideLayout" Target="../slideLayouts/slideLayout105.xml"/><Relationship Id="rId55" Type="http://schemas.openxmlformats.org/officeDocument/2006/relationships/slideLayout" Target="../slideLayouts/slideLayout110.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38" Type="http://schemas.openxmlformats.org/officeDocument/2006/relationships/slideLayout" Target="../slideLayouts/slideLayout93.xml"/><Relationship Id="rId46" Type="http://schemas.openxmlformats.org/officeDocument/2006/relationships/slideLayout" Target="../slideLayouts/slideLayout101.xml"/><Relationship Id="rId59" Type="http://schemas.openxmlformats.org/officeDocument/2006/relationships/image" Target="../media/image1.emf"/><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slideLayout" Target="../slideLayouts/slideLayout84.xml"/><Relationship Id="rId41" Type="http://schemas.openxmlformats.org/officeDocument/2006/relationships/slideLayout" Target="../slideLayouts/slideLayout96.xml"/><Relationship Id="rId54" Type="http://schemas.openxmlformats.org/officeDocument/2006/relationships/slideLayout" Target="../slideLayouts/slideLayout109.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37" Type="http://schemas.openxmlformats.org/officeDocument/2006/relationships/slideLayout" Target="../slideLayouts/slideLayout92.xml"/><Relationship Id="rId40" Type="http://schemas.openxmlformats.org/officeDocument/2006/relationships/slideLayout" Target="../slideLayouts/slideLayout95.xml"/><Relationship Id="rId45" Type="http://schemas.openxmlformats.org/officeDocument/2006/relationships/slideLayout" Target="../slideLayouts/slideLayout100.xml"/><Relationship Id="rId53" Type="http://schemas.openxmlformats.org/officeDocument/2006/relationships/slideLayout" Target="../slideLayouts/slideLayout108.xml"/><Relationship Id="rId58" Type="http://schemas.openxmlformats.org/officeDocument/2006/relationships/oleObject" Target="../embeddings/oleObject57.bin"/><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slideLayout" Target="../slideLayouts/slideLayout91.xml"/><Relationship Id="rId49" Type="http://schemas.openxmlformats.org/officeDocument/2006/relationships/slideLayout" Target="../slideLayouts/slideLayout104.xml"/><Relationship Id="rId57" Type="http://schemas.openxmlformats.org/officeDocument/2006/relationships/tags" Target="../tags/tag58.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slideLayout" Target="../slideLayouts/slideLayout86.xml"/><Relationship Id="rId44" Type="http://schemas.openxmlformats.org/officeDocument/2006/relationships/slideLayout" Target="../slideLayouts/slideLayout99.xml"/><Relationship Id="rId52" Type="http://schemas.openxmlformats.org/officeDocument/2006/relationships/slideLayout" Target="../slideLayouts/slideLayout107.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slideLayout" Target="../slideLayouts/slideLayout90.xml"/><Relationship Id="rId43" Type="http://schemas.openxmlformats.org/officeDocument/2006/relationships/slideLayout" Target="../slideLayouts/slideLayout98.xml"/><Relationship Id="rId48" Type="http://schemas.openxmlformats.org/officeDocument/2006/relationships/slideLayout" Target="../slideLayouts/slideLayout103.xml"/><Relationship Id="rId56" Type="http://schemas.openxmlformats.org/officeDocument/2006/relationships/theme" Target="../theme/theme2.xml"/><Relationship Id="rId8" Type="http://schemas.openxmlformats.org/officeDocument/2006/relationships/slideLayout" Target="../slideLayouts/slideLayout63.xml"/><Relationship Id="rId51" Type="http://schemas.openxmlformats.org/officeDocument/2006/relationships/slideLayout" Target="../slideLayouts/slideLayout106.xml"/><Relationship Id="rId3"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5A3CF6-4343-4A8B-9C19-D343D6B48BAA}"/>
              </a:ext>
            </a:extLst>
          </p:cNvPr>
          <p:cNvGraphicFramePr>
            <a:graphicFrameLocks noChangeAspect="1"/>
          </p:cNvGraphicFramePr>
          <p:nvPr userDrawn="1">
            <p:custDataLst>
              <p:tags r:id="rId57"/>
            </p:custDataLst>
            <p:extLst>
              <p:ext uri="{D42A27DB-BD31-4B8C-83A1-F6EECF244321}">
                <p14:modId xmlns:p14="http://schemas.microsoft.com/office/powerpoint/2010/main" val="2721697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08" imgH="408" progId="TCLayout.ActiveDocument.1">
                  <p:embed/>
                </p:oleObj>
              </mc:Choice>
              <mc:Fallback>
                <p:oleObj name="think-cell Slide" r:id="rId58" imgW="408" imgH="408" progId="TCLayout.ActiveDocument.1">
                  <p:embed/>
                  <p:pic>
                    <p:nvPicPr>
                      <p:cNvPr id="6" name="Object 5" hidden="1">
                        <a:extLst>
                          <a:ext uri="{FF2B5EF4-FFF2-40B4-BE49-F238E27FC236}">
                            <a16:creationId xmlns:a16="http://schemas.microsoft.com/office/drawing/2014/main" id="{445A3CF6-4343-4A8B-9C19-D343D6B48BAA}"/>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pPr rtl="0"/>
            <a:r>
              <a:rPr lang="da-DK"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da-DK"/>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da-DK" noProof="0"/>
              <a:t>Level 1 (Enter+TAB for next text level, SHIFT+TAB to go back in levels)</a:t>
            </a:r>
          </a:p>
          <a:p>
            <a:pPr lvl="1"/>
            <a:r>
              <a:rPr lang="da-DK" noProof="0"/>
              <a:t>Level 2</a:t>
            </a:r>
          </a:p>
          <a:p>
            <a:pPr lvl="2"/>
            <a:r>
              <a:rPr lang="da-DK" noProof="0"/>
              <a:t>Level 3</a:t>
            </a:r>
          </a:p>
          <a:p>
            <a:pPr lvl="3"/>
            <a:r>
              <a:rPr lang="da-DK" noProof="0"/>
              <a:t>Level 4</a:t>
            </a:r>
          </a:p>
          <a:p>
            <a:pPr lvl="4"/>
            <a:r>
              <a:rPr lang="da-DK" noProof="0"/>
              <a:t>Level 5</a:t>
            </a:r>
          </a:p>
          <a:p>
            <a:pPr lvl="5"/>
            <a:r>
              <a:rPr lang="da-DK" noProof="0"/>
              <a:t>Level 6</a:t>
            </a:r>
          </a:p>
          <a:p>
            <a:pPr lvl="6"/>
            <a:r>
              <a:rPr lang="da-DK" noProof="0"/>
              <a:t>Level 7</a:t>
            </a:r>
          </a:p>
          <a:p>
            <a:pPr lvl="7"/>
            <a:r>
              <a:rPr lang="da-DK" noProof="0"/>
              <a:t>Level 8</a:t>
            </a:r>
          </a:p>
          <a:p>
            <a:pPr lvl="8"/>
            <a:r>
              <a:rPr lang="da-DK"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rtl="0">
              <a:defRPr sz="700">
                <a:solidFill>
                  <a:schemeClr val="tx2"/>
                </a:solidFill>
              </a:defRPr>
            </a:lvl1pPr>
          </a:lstStyle>
          <a:p>
            <a:fld id="{D7C7A626-396F-47CE-9599-33B16A849820}" type="datetime1">
              <a:rPr lang="da-DK" smtClean="0"/>
              <a:pPr/>
              <a:t>03-02-2023</a:t>
            </a:fld>
            <a:endParaRPr lang="da-DK"/>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rtl="0">
              <a:defRPr sz="700">
                <a:solidFill>
                  <a:schemeClr val="tx2"/>
                </a:solidFill>
              </a:defRPr>
            </a:lvl1pPr>
          </a:lstStyle>
          <a:p>
            <a:endParaRPr lang="da-DK"/>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rtl="0">
              <a:defRPr sz="700">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userDrawn="1">
          <p15:clr>
            <a:srgbClr val="A4A3A4"/>
          </p15:clr>
        </p15:guide>
        <p15:guide id="2" pos="847" userDrawn="1">
          <p15:clr>
            <a:srgbClr val="A4A3A4"/>
          </p15:clr>
        </p15:guide>
        <p15:guide id="3" orient="horz" pos="410" userDrawn="1">
          <p15:clr>
            <a:srgbClr val="F26B43"/>
          </p15:clr>
        </p15:guide>
        <p15:guide id="4" orient="horz" pos="4135" userDrawn="1">
          <p15:clr>
            <a:srgbClr val="A4A3A4"/>
          </p15:clr>
        </p15:guide>
        <p15:guide id="5" pos="226" userDrawn="1">
          <p15:clr>
            <a:srgbClr val="F26B43"/>
          </p15:clr>
        </p15:guide>
        <p15:guide id="6" pos="7453" userDrawn="1">
          <p15:clr>
            <a:srgbClr val="F26B43"/>
          </p15:clr>
        </p15:guide>
        <p15:guide id="7" orient="horz" pos="1152" userDrawn="1">
          <p15:clr>
            <a:srgbClr val="F26B43"/>
          </p15:clr>
        </p15:guide>
        <p15:guide id="8" pos="1242" userDrawn="1">
          <p15:clr>
            <a:srgbClr val="A4A3A4"/>
          </p15:clr>
        </p15:guide>
        <p15:guide id="9" pos="1468" userDrawn="1">
          <p15:clr>
            <a:srgbClr val="A4A3A4"/>
          </p15:clr>
        </p15:guide>
        <p15:guide id="10" pos="1863" userDrawn="1">
          <p15:clr>
            <a:srgbClr val="A4A3A4"/>
          </p15:clr>
        </p15:guide>
        <p15:guide id="11" pos="2090" userDrawn="1">
          <p15:clr>
            <a:srgbClr val="A4A3A4"/>
          </p15:clr>
        </p15:guide>
        <p15:guide id="12" pos="2484" userDrawn="1">
          <p15:clr>
            <a:srgbClr val="A4A3A4"/>
          </p15:clr>
        </p15:guide>
        <p15:guide id="13" pos="2711" userDrawn="1">
          <p15:clr>
            <a:srgbClr val="A4A3A4"/>
          </p15:clr>
        </p15:guide>
        <p15:guide id="14" pos="3105" userDrawn="1">
          <p15:clr>
            <a:srgbClr val="A4A3A4"/>
          </p15:clr>
        </p15:guide>
        <p15:guide id="15" pos="3332" userDrawn="1">
          <p15:clr>
            <a:srgbClr val="A4A3A4"/>
          </p15:clr>
        </p15:guide>
        <p15:guide id="16" pos="3726" userDrawn="1">
          <p15:clr>
            <a:srgbClr val="A4A3A4"/>
          </p15:clr>
        </p15:guide>
        <p15:guide id="17" pos="3953" userDrawn="1">
          <p15:clr>
            <a:srgbClr val="A4A3A4"/>
          </p15:clr>
        </p15:guide>
        <p15:guide id="18" pos="4347" userDrawn="1">
          <p15:clr>
            <a:srgbClr val="A4A3A4"/>
          </p15:clr>
        </p15:guide>
        <p15:guide id="19" pos="4574" userDrawn="1">
          <p15:clr>
            <a:srgbClr val="A4A3A4"/>
          </p15:clr>
        </p15:guide>
        <p15:guide id="20" pos="4968" userDrawn="1">
          <p15:clr>
            <a:srgbClr val="A4A3A4"/>
          </p15:clr>
        </p15:guide>
        <p15:guide id="21" pos="5195" userDrawn="1">
          <p15:clr>
            <a:srgbClr val="A4A3A4"/>
          </p15:clr>
        </p15:guide>
        <p15:guide id="22" pos="5589" userDrawn="1">
          <p15:clr>
            <a:srgbClr val="A4A3A4"/>
          </p15:clr>
        </p15:guide>
        <p15:guide id="23" pos="5816" userDrawn="1">
          <p15:clr>
            <a:srgbClr val="A4A3A4"/>
          </p15:clr>
        </p15:guide>
        <p15:guide id="24" pos="6211" userDrawn="1">
          <p15:clr>
            <a:srgbClr val="A4A3A4"/>
          </p15:clr>
        </p15:guide>
        <p15:guide id="25" pos="6437" userDrawn="1">
          <p15:clr>
            <a:srgbClr val="A4A3A4"/>
          </p15:clr>
        </p15:guide>
        <p15:guide id="26" pos="6832" userDrawn="1">
          <p15:clr>
            <a:srgbClr val="A4A3A4"/>
          </p15:clr>
        </p15:guide>
        <p15:guide id="27" pos="7058" userDrawn="1">
          <p15:clr>
            <a:srgbClr val="A4A3A4"/>
          </p15:clr>
        </p15:guide>
        <p15:guide id="28" orient="horz" pos="385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9AE5F9C-F329-47C6-8F94-5BCE2A7C40CE}"/>
              </a:ext>
            </a:extLst>
          </p:cNvPr>
          <p:cNvGraphicFramePr>
            <a:graphicFrameLocks noChangeAspect="1"/>
          </p:cNvGraphicFramePr>
          <p:nvPr userDrawn="1">
            <p:custDataLst>
              <p:tags r:id="rId57"/>
            </p:custDataLst>
            <p:extLst>
              <p:ext uri="{D42A27DB-BD31-4B8C-83A1-F6EECF244321}">
                <p14:modId xmlns:p14="http://schemas.microsoft.com/office/powerpoint/2010/main" val="1952553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08" imgH="408" progId="TCLayout.ActiveDocument.1">
                  <p:embed/>
                </p:oleObj>
              </mc:Choice>
              <mc:Fallback>
                <p:oleObj name="think-cell Slide" r:id="rId58" imgW="408" imgH="408" progId="TCLayout.ActiveDocument.1">
                  <p:embed/>
                  <p:pic>
                    <p:nvPicPr>
                      <p:cNvPr id="6" name="Object 5" hidden="1">
                        <a:extLst>
                          <a:ext uri="{FF2B5EF4-FFF2-40B4-BE49-F238E27FC236}">
                            <a16:creationId xmlns:a16="http://schemas.microsoft.com/office/drawing/2014/main" id="{F9AE5F9C-F329-47C6-8F94-5BCE2A7C40CE}"/>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pPr rtl="0"/>
            <a:r>
              <a:rPr lang="da-DK"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da-DK"/>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da-DK" noProof="0"/>
              <a:t>Level 1 (Enter+TAB for next text level, SHIFT+TAB to go back in levels)</a:t>
            </a:r>
          </a:p>
          <a:p>
            <a:pPr lvl="1"/>
            <a:r>
              <a:rPr lang="da-DK" noProof="0"/>
              <a:t>Level 2</a:t>
            </a:r>
          </a:p>
          <a:p>
            <a:pPr lvl="2"/>
            <a:r>
              <a:rPr lang="da-DK" noProof="0"/>
              <a:t>Level 3</a:t>
            </a:r>
          </a:p>
          <a:p>
            <a:pPr lvl="3"/>
            <a:r>
              <a:rPr lang="da-DK" noProof="0"/>
              <a:t>Level 4</a:t>
            </a:r>
          </a:p>
          <a:p>
            <a:pPr lvl="4"/>
            <a:r>
              <a:rPr lang="da-DK" noProof="0"/>
              <a:t>Level 5</a:t>
            </a:r>
          </a:p>
          <a:p>
            <a:pPr lvl="5"/>
            <a:r>
              <a:rPr lang="da-DK" noProof="0"/>
              <a:t>Level 6</a:t>
            </a:r>
          </a:p>
          <a:p>
            <a:pPr lvl="6"/>
            <a:r>
              <a:rPr lang="da-DK" noProof="0"/>
              <a:t>Level 7</a:t>
            </a:r>
          </a:p>
          <a:p>
            <a:pPr lvl="7"/>
            <a:r>
              <a:rPr lang="da-DK" noProof="0"/>
              <a:t>Level 8</a:t>
            </a:r>
          </a:p>
          <a:p>
            <a:pPr lvl="8"/>
            <a:r>
              <a:rPr lang="da-DK"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rtl="0">
              <a:defRPr sz="700">
                <a:solidFill>
                  <a:schemeClr val="tx2"/>
                </a:solidFill>
              </a:defRPr>
            </a:lvl1pPr>
          </a:lstStyle>
          <a:p>
            <a:fld id="{D7C7A626-396F-47CE-9599-33B16A849820}" type="datetime1">
              <a:rPr lang="da-DK" smtClean="0"/>
              <a:pPr/>
              <a:t>03-02-2023</a:t>
            </a:fld>
            <a:endParaRPr lang="da-DK"/>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rtl="0">
              <a:defRPr sz="700">
                <a:solidFill>
                  <a:schemeClr val="tx2"/>
                </a:solidFill>
              </a:defRPr>
            </a:lvl1pPr>
          </a:lstStyle>
          <a:p>
            <a:endParaRPr lang="da-DK"/>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rtl="0">
              <a:defRPr sz="700">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43885082"/>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 id="2147483748" r:id="rId44"/>
    <p:sldLayoutId id="2147483749" r:id="rId45"/>
    <p:sldLayoutId id="2147483750" r:id="rId46"/>
    <p:sldLayoutId id="2147483751" r:id="rId47"/>
    <p:sldLayoutId id="2147483752" r:id="rId48"/>
    <p:sldLayoutId id="2147483753" r:id="rId49"/>
    <p:sldLayoutId id="2147483754" r:id="rId50"/>
    <p:sldLayoutId id="2147483755" r:id="rId51"/>
    <p:sldLayoutId id="2147483756" r:id="rId52"/>
    <p:sldLayoutId id="2147483757" r:id="rId53"/>
    <p:sldLayoutId id="2147483758" r:id="rId54"/>
    <p:sldLayoutId id="2147483759"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Layout" Target="../slideLayouts/slideLayout10.xml"/><Relationship Id="rId1" Type="http://schemas.openxmlformats.org/officeDocument/2006/relationships/tags" Target="../tags/tag114.xml"/><Relationship Id="rId6" Type="http://schemas.openxmlformats.org/officeDocument/2006/relationships/image" Target="../media/image3.emf"/><Relationship Id="rId5" Type="http://schemas.openxmlformats.org/officeDocument/2006/relationships/image" Target="../media/image19.jpe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oleObject" Target="../embeddings/oleObject121.bin"/><Relationship Id="rId7" Type="http://schemas.openxmlformats.org/officeDocument/2006/relationships/image" Target="../media/image37.png"/><Relationship Id="rId2" Type="http://schemas.openxmlformats.org/officeDocument/2006/relationships/slideLayout" Target="../slideLayouts/slideLayout10.xml"/><Relationship Id="rId1" Type="http://schemas.openxmlformats.org/officeDocument/2006/relationships/tags" Target="../tags/tag123.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Layout" Target="../slideLayouts/slideLayout10.xml"/><Relationship Id="rId1" Type="http://schemas.openxmlformats.org/officeDocument/2006/relationships/tags" Target="../tags/tag124.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notesSlide" Target="../notesSlides/notesSlide3.xml"/><Relationship Id="rId7" Type="http://schemas.openxmlformats.org/officeDocument/2006/relationships/image" Target="../media/image39.png"/><Relationship Id="rId2" Type="http://schemas.openxmlformats.org/officeDocument/2006/relationships/slideLayout" Target="../slideLayouts/slideLayout43.xml"/><Relationship Id="rId1" Type="http://schemas.openxmlformats.org/officeDocument/2006/relationships/tags" Target="../tags/tag125.xml"/><Relationship Id="rId6" Type="http://schemas.openxmlformats.org/officeDocument/2006/relationships/hyperlink" Target="mailto:mvd-skole@aalborg.dk" TargetMode="External"/><Relationship Id="rId5" Type="http://schemas.openxmlformats.org/officeDocument/2006/relationships/image" Target="../media/image1.emf"/><Relationship Id="rId4" Type="http://schemas.openxmlformats.org/officeDocument/2006/relationships/oleObject" Target="../embeddings/oleObject123.bin"/></Relationships>
</file>

<file path=ppt/slides/_rels/slide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3" Type="http://schemas.openxmlformats.org/officeDocument/2006/relationships/notesSlide" Target="../notesSlides/notesSlide1.xml"/><Relationship Id="rId7" Type="http://schemas.openxmlformats.org/officeDocument/2006/relationships/image" Target="../media/image21.svg"/><Relationship Id="rId12" Type="http://schemas.openxmlformats.org/officeDocument/2006/relationships/image" Target="../media/image26.png"/><Relationship Id="rId2" Type="http://schemas.openxmlformats.org/officeDocument/2006/relationships/slideLayout" Target="../slideLayouts/slideLayout10.xml"/><Relationship Id="rId1" Type="http://schemas.openxmlformats.org/officeDocument/2006/relationships/tags" Target="../tags/tag115.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emf"/><Relationship Id="rId10" Type="http://schemas.openxmlformats.org/officeDocument/2006/relationships/image" Target="../media/image24.png"/><Relationship Id="rId4" Type="http://schemas.openxmlformats.org/officeDocument/2006/relationships/oleObject" Target="../embeddings/oleObject114.bin"/><Relationship Id="rId9" Type="http://schemas.openxmlformats.org/officeDocument/2006/relationships/image" Target="../media/image23.svg"/></Relationships>
</file>

<file path=ppt/slides/_rels/slide3.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oleObject" Target="../embeddings/oleObject115.bin"/><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slideLayout" Target="../slideLayouts/slideLayout10.xml"/><Relationship Id="rId1" Type="http://schemas.openxmlformats.org/officeDocument/2006/relationships/tags" Target="../tags/tag116.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1.emf"/><Relationship Id="rId9" Type="http://schemas.openxmlformats.org/officeDocument/2006/relationships/image" Target="../media/image32.pn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Layout" Target="../slideLayouts/slideLayout10.xml"/><Relationship Id="rId1" Type="http://schemas.openxmlformats.org/officeDocument/2006/relationships/tags" Target="../tags/tag11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Layout" Target="../slideLayouts/slideLayout10.xml"/><Relationship Id="rId1" Type="http://schemas.openxmlformats.org/officeDocument/2006/relationships/tags" Target="../tags/tag11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Layout" Target="../slideLayouts/slideLayout10.xml"/><Relationship Id="rId1" Type="http://schemas.openxmlformats.org/officeDocument/2006/relationships/tags" Target="../tags/tag11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120.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118.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Layout" Target="../slideLayouts/slideLayout10.xml"/><Relationship Id="rId1" Type="http://schemas.openxmlformats.org/officeDocument/2006/relationships/tags" Target="../tags/tag121.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Layout" Target="../slideLayouts/slideLayout10.xml"/><Relationship Id="rId1" Type="http://schemas.openxmlformats.org/officeDocument/2006/relationships/tags" Target="../tags/tag122.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F73888-6420-44B3-8CC8-CF3156B09B14}"/>
              </a:ext>
            </a:extLst>
          </p:cNvPr>
          <p:cNvGraphicFramePr>
            <a:graphicFrameLocks noChangeAspect="1"/>
          </p:cNvGraphicFramePr>
          <p:nvPr>
            <p:custDataLst>
              <p:tags r:id="rId1"/>
            </p:custDataLst>
            <p:extLst>
              <p:ext uri="{D42A27DB-BD31-4B8C-83A1-F6EECF244321}">
                <p14:modId xmlns:p14="http://schemas.microsoft.com/office/powerpoint/2010/main" val="3727562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Object 3" hidden="1">
                        <a:extLst>
                          <a:ext uri="{FF2B5EF4-FFF2-40B4-BE49-F238E27FC236}">
                            <a16:creationId xmlns:a16="http://schemas.microsoft.com/office/drawing/2014/main" id="{55F73888-6420-44B3-8CC8-CF3156B09B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0F48D4C5-1072-4C2B-B28F-27F7928A6DA6}"/>
              </a:ext>
            </a:extLst>
          </p:cNvPr>
          <p:cNvPicPr>
            <a:picLocks noChangeAspect="1"/>
          </p:cNvPicPr>
          <p:nvPr/>
        </p:nvPicPr>
        <p:blipFill>
          <a:blip r:embed="rId5"/>
          <a:srcRect t="7804" b="7804"/>
          <a:stretch/>
        </p:blipFill>
        <p:spPr>
          <a:xfrm>
            <a:off x="2205" y="0"/>
            <a:ext cx="12187592" cy="6858000"/>
          </a:xfrm>
          <a:prstGeom prst="rect">
            <a:avLst/>
          </a:prstGeom>
        </p:spPr>
      </p:pic>
      <p:pic>
        <p:nvPicPr>
          <p:cNvPr id="7" name="Logo">
            <a:extLst>
              <a:ext uri="{FF2B5EF4-FFF2-40B4-BE49-F238E27FC236}">
                <a16:creationId xmlns:a16="http://schemas.microsoft.com/office/drawing/2014/main" id="{C5C276D7-28C6-4B24-A698-2835D220F3C0}"/>
              </a:ext>
            </a:extLst>
          </p:cNvPr>
          <p:cNvPicPr>
            <a:picLocks noChangeAspect="1"/>
          </p:cNvPicPr>
          <p:nvPr/>
        </p:nvPicPr>
        <p:blipFill rotWithShape="1">
          <a:blip r:embed="rId6">
            <a:extLst>
              <a:ext uri="{28A0092B-C50C-407E-A947-70E740481C1C}">
                <a14:useLocalDpi xmlns:a14="http://schemas.microsoft.com/office/drawing/2010/main" val="0"/>
              </a:ext>
            </a:extLst>
          </a:blip>
          <a:srcRect r="40318"/>
          <a:stretch/>
        </p:blipFill>
        <p:spPr>
          <a:xfrm>
            <a:off x="779107" y="6009015"/>
            <a:ext cx="1221842" cy="256209"/>
          </a:xfrm>
          <a:prstGeom prst="rect">
            <a:avLst/>
          </a:prstGeom>
        </p:spPr>
      </p:pic>
      <p:sp>
        <p:nvSpPr>
          <p:cNvPr id="9" name="TextBox 8">
            <a:extLst>
              <a:ext uri="{FF2B5EF4-FFF2-40B4-BE49-F238E27FC236}">
                <a16:creationId xmlns:a16="http://schemas.microsoft.com/office/drawing/2014/main" id="{53EEA5E1-87DC-4386-846F-97C024B4B09C}"/>
              </a:ext>
            </a:extLst>
          </p:cNvPr>
          <p:cNvSpPr txBox="1"/>
          <p:nvPr/>
        </p:nvSpPr>
        <p:spPr>
          <a:xfrm>
            <a:off x="857717" y="4308863"/>
            <a:ext cx="10476565" cy="1335419"/>
          </a:xfrm>
          <a:prstGeom prst="rect">
            <a:avLst/>
          </a:prstGeom>
          <a:solidFill>
            <a:schemeClr val="accent2"/>
          </a:solidFill>
          <a:ln w="28575">
            <a:solidFill>
              <a:schemeClr val="accent2"/>
            </a:solidFill>
          </a:ln>
        </p:spPr>
        <p:txBody>
          <a:bodyPr wrap="square" lIns="0" tIns="0" rIns="0" bIns="0" rtlCol="0" anchor="ctr">
            <a:noAutofit/>
          </a:bodyPr>
          <a:lstStyle/>
          <a:p>
            <a:pPr algn="ctr"/>
            <a:r>
              <a:rPr lang="da-DK" sz="4000" b="1">
                <a:solidFill>
                  <a:schemeClr val="bg1"/>
                </a:solidFill>
                <a:latin typeface="Amatic SC" panose="00000500000000000000" pitchFamily="2" charset="-79"/>
                <a:cs typeface="Amatic SC" panose="00000500000000000000" pitchFamily="2" charset="-79"/>
              </a:rPr>
              <a:t>Evaluering af Den Mangfoldige Folkeskole i Nordjylland</a:t>
            </a:r>
          </a:p>
          <a:p>
            <a:pPr algn="ctr"/>
            <a:endParaRPr lang="da-DK" sz="1400" b="1">
              <a:solidFill>
                <a:schemeClr val="bg1"/>
              </a:solidFill>
              <a:latin typeface="Amatic SC" panose="00000500000000000000" pitchFamily="2" charset="-79"/>
              <a:cs typeface="Amatic SC" panose="00000500000000000000" pitchFamily="2" charset="-79"/>
            </a:endParaRPr>
          </a:p>
          <a:p>
            <a:pPr algn="ctr"/>
            <a:r>
              <a:rPr lang="da-DK" sz="2800" b="1">
                <a:solidFill>
                  <a:schemeClr val="bg1"/>
                </a:solidFill>
                <a:latin typeface="Amatic SC" panose="00000500000000000000" pitchFamily="2" charset="-79"/>
                <a:cs typeface="Amatic SC" panose="00000500000000000000" pitchFamily="2" charset="-79"/>
              </a:rPr>
              <a:t>Information til skoler om kommende evalueringsaktiviteter v. Rambøll</a:t>
            </a:r>
          </a:p>
        </p:txBody>
      </p:sp>
    </p:spTree>
    <p:extLst>
      <p:ext uri="{BB962C8B-B14F-4D97-AF65-F5344CB8AC3E}">
        <p14:creationId xmlns:p14="http://schemas.microsoft.com/office/powerpoint/2010/main" val="23971718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17B5F2-F4F7-44E7-9DD7-8E58C4E9F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4217B5F2-F4F7-44E7-9DD7-8E58C4E9F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Google Shape;843;p29">
            <a:extLst>
              <a:ext uri="{FF2B5EF4-FFF2-40B4-BE49-F238E27FC236}">
                <a16:creationId xmlns:a16="http://schemas.microsoft.com/office/drawing/2014/main" id="{DFBE1B6A-EDED-46E9-8CE2-85A83E81BB0F}"/>
              </a:ext>
            </a:extLst>
          </p:cNvPr>
          <p:cNvSpPr/>
          <p:nvPr/>
        </p:nvSpPr>
        <p:spPr>
          <a:xfrm>
            <a:off x="11591637" y="-1"/>
            <a:ext cx="600363" cy="1019120"/>
          </a:xfrm>
          <a:prstGeom prst="rect">
            <a:avLst/>
          </a:prstGeom>
          <a:solidFill>
            <a:schemeClr val="accent4"/>
          </a:solidFill>
          <a:ln>
            <a:noFill/>
          </a:ln>
        </p:spPr>
        <p:txBody>
          <a:bodyPr spcFirstLastPara="1" wrap="square" lIns="91425" tIns="91425" rIns="91425" bIns="91425" anchor="ctr" anchorCtr="0">
            <a:noAutofit/>
          </a:bodyPr>
          <a:lstStyle/>
          <a:p>
            <a:pPr marL="0" lvl="0" indent="0" algn="ctr">
              <a:spcBef>
                <a:spcPts val="0"/>
              </a:spcBef>
              <a:spcAft>
                <a:spcPts val="0"/>
              </a:spcAft>
              <a:buNone/>
            </a:pPr>
            <a:endParaRPr lang="da-DK" sz="2400">
              <a:latin typeface="Amatic SC"/>
              <a:ea typeface="Amatic SC"/>
              <a:cs typeface="Amatic SC"/>
              <a:sym typeface="Amatic SC"/>
            </a:endParaRPr>
          </a:p>
        </p:txBody>
      </p:sp>
      <p:sp>
        <p:nvSpPr>
          <p:cNvPr id="7" name="Google Shape;846;p29">
            <a:extLst>
              <a:ext uri="{FF2B5EF4-FFF2-40B4-BE49-F238E27FC236}">
                <a16:creationId xmlns:a16="http://schemas.microsoft.com/office/drawing/2014/main" id="{6EB98430-6FE2-4C8E-870C-A26F11572EAE}"/>
              </a:ext>
            </a:extLst>
          </p:cNvPr>
          <p:cNvSpPr/>
          <p:nvPr/>
        </p:nvSpPr>
        <p:spPr>
          <a:xfrm>
            <a:off x="0" y="370"/>
            <a:ext cx="12125304" cy="1019120"/>
          </a:xfrm>
          <a:prstGeom prst="homePlate">
            <a:avLst>
              <a:gd name="adj" fmla="val 50000"/>
            </a:avLst>
          </a:prstGeom>
          <a:solidFill>
            <a:schemeClr val="accent4"/>
          </a:solidFill>
          <a:ln>
            <a:noFill/>
          </a:ln>
        </p:spPr>
        <p:txBody>
          <a:bodyPr spcFirstLastPara="1" wrap="square" lIns="396000" tIns="91425" rIns="91425" bIns="91425" anchor="ctr" anchorCtr="0">
            <a:noAutofit/>
          </a:bodyPr>
          <a:lstStyle/>
          <a:p>
            <a:pPr marL="0" lvl="0" indent="0">
              <a:spcBef>
                <a:spcPts val="0"/>
              </a:spcBef>
              <a:spcAft>
                <a:spcPts val="0"/>
              </a:spcAft>
              <a:buNone/>
            </a:pPr>
            <a:endParaRPr lang="da-DK" sz="3600">
              <a:latin typeface="Amatic SC"/>
              <a:ea typeface="Amatic SC"/>
              <a:cs typeface="Amatic SC"/>
              <a:sym typeface="Amatic SC"/>
            </a:endParaRPr>
          </a:p>
        </p:txBody>
      </p:sp>
      <p:sp>
        <p:nvSpPr>
          <p:cNvPr id="8" name="Title 1">
            <a:extLst>
              <a:ext uri="{FF2B5EF4-FFF2-40B4-BE49-F238E27FC236}">
                <a16:creationId xmlns:a16="http://schemas.microsoft.com/office/drawing/2014/main" id="{DE1F2D89-3E72-4838-B639-221ABCFE0485}"/>
              </a:ext>
            </a:extLst>
          </p:cNvPr>
          <p:cNvSpPr txBox="1">
            <a:spLocks/>
          </p:cNvSpPr>
          <p:nvPr/>
        </p:nvSpPr>
        <p:spPr>
          <a:xfrm>
            <a:off x="182237" y="119575"/>
            <a:ext cx="11227162" cy="779969"/>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algn="ctr"/>
            <a:r>
              <a:rPr lang="da-DK" sz="4400" b="1">
                <a:solidFill>
                  <a:schemeClr val="tx1"/>
                </a:solidFill>
                <a:latin typeface="Amatic SC" panose="00000500000000000000" pitchFamily="2" charset="-79"/>
                <a:cs typeface="Amatic SC" panose="00000500000000000000" pitchFamily="2" charset="-79"/>
              </a:rPr>
              <a:t>Dialogværktøjer</a:t>
            </a:r>
          </a:p>
        </p:txBody>
      </p:sp>
      <p:sp>
        <p:nvSpPr>
          <p:cNvPr id="9" name="Google Shape;843;p29">
            <a:extLst>
              <a:ext uri="{FF2B5EF4-FFF2-40B4-BE49-F238E27FC236}">
                <a16:creationId xmlns:a16="http://schemas.microsoft.com/office/drawing/2014/main" id="{24170802-96D1-44F6-842D-69456B141B3F}"/>
              </a:ext>
            </a:extLst>
          </p:cNvPr>
          <p:cNvSpPr/>
          <p:nvPr/>
        </p:nvSpPr>
        <p:spPr>
          <a:xfrm>
            <a:off x="66696" y="0"/>
            <a:ext cx="1067334" cy="1019120"/>
          </a:xfrm>
          <a:prstGeom prst="chevron">
            <a:avLst>
              <a:gd name="adj" fmla="val 50000"/>
            </a:avLst>
          </a:prstGeom>
          <a:solidFill>
            <a:schemeClr val="accent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lang="da-DK" sz="3600">
              <a:latin typeface="Amatic SC"/>
              <a:ea typeface="Amatic SC"/>
              <a:cs typeface="Amatic SC"/>
              <a:sym typeface="Amatic SC"/>
            </a:endParaRPr>
          </a:p>
        </p:txBody>
      </p:sp>
      <p:sp>
        <p:nvSpPr>
          <p:cNvPr id="10" name="Google Shape;843;p29">
            <a:extLst>
              <a:ext uri="{FF2B5EF4-FFF2-40B4-BE49-F238E27FC236}">
                <a16:creationId xmlns:a16="http://schemas.microsoft.com/office/drawing/2014/main" id="{3B5F9AAC-6951-440F-8B61-B8F9AF33A22E}"/>
              </a:ext>
            </a:extLst>
          </p:cNvPr>
          <p:cNvSpPr/>
          <p:nvPr/>
        </p:nvSpPr>
        <p:spPr>
          <a:xfrm>
            <a:off x="-14856" y="0"/>
            <a:ext cx="600363" cy="1019120"/>
          </a:xfrm>
          <a:prstGeom prst="rect">
            <a:avLst/>
          </a:prstGeom>
          <a:solidFill>
            <a:schemeClr val="accent6"/>
          </a:solidFill>
          <a:ln>
            <a:noFill/>
          </a:ln>
        </p:spPr>
        <p:txBody>
          <a:bodyPr spcFirstLastPara="1" wrap="square" lIns="91425" tIns="91425" rIns="91425" bIns="91425" anchor="ctr" anchorCtr="0">
            <a:noAutofit/>
          </a:bodyPr>
          <a:lstStyle/>
          <a:p>
            <a:pPr marL="0" lvl="0" indent="0" algn="ctr">
              <a:spcBef>
                <a:spcPts val="0"/>
              </a:spcBef>
              <a:spcAft>
                <a:spcPts val="0"/>
              </a:spcAft>
              <a:buNone/>
            </a:pPr>
            <a:endParaRPr lang="da-DK" sz="2400">
              <a:latin typeface="Amatic SC"/>
              <a:ea typeface="Amatic SC"/>
              <a:cs typeface="Amatic SC"/>
              <a:sym typeface="Amatic SC"/>
            </a:endParaRPr>
          </a:p>
        </p:txBody>
      </p:sp>
      <p:sp>
        <p:nvSpPr>
          <p:cNvPr id="14" name="Google Shape;843;p29">
            <a:extLst>
              <a:ext uri="{FF2B5EF4-FFF2-40B4-BE49-F238E27FC236}">
                <a16:creationId xmlns:a16="http://schemas.microsoft.com/office/drawing/2014/main" id="{17149352-9874-463E-928C-05A7F97934CB}"/>
              </a:ext>
            </a:extLst>
          </p:cNvPr>
          <p:cNvSpPr/>
          <p:nvPr/>
        </p:nvSpPr>
        <p:spPr>
          <a:xfrm>
            <a:off x="615219" y="0"/>
            <a:ext cx="1067334" cy="1019120"/>
          </a:xfrm>
          <a:prstGeom prst="chevron">
            <a:avLst>
              <a:gd name="adj" fmla="val 50000"/>
            </a:avLst>
          </a:prstGeom>
          <a:solidFill>
            <a:schemeClr val="accent5"/>
          </a:solidFill>
          <a:ln>
            <a:noFill/>
          </a:ln>
        </p:spPr>
        <p:txBody>
          <a:bodyPr spcFirstLastPara="1" wrap="square" lIns="91425" tIns="91425" rIns="91425" bIns="91425" anchor="ctr" anchorCtr="0">
            <a:noAutofit/>
          </a:bodyPr>
          <a:lstStyle/>
          <a:p>
            <a:pPr marL="0" lvl="0" indent="0">
              <a:spcBef>
                <a:spcPts val="0"/>
              </a:spcBef>
              <a:spcAft>
                <a:spcPts val="0"/>
              </a:spcAft>
              <a:buNone/>
            </a:pPr>
            <a:endParaRPr lang="da-DK" sz="3600">
              <a:latin typeface="Amatic SC"/>
              <a:ea typeface="Amatic SC"/>
              <a:cs typeface="Amatic SC"/>
              <a:sym typeface="Amatic SC"/>
            </a:endParaRPr>
          </a:p>
        </p:txBody>
      </p:sp>
      <p:pic>
        <p:nvPicPr>
          <p:cNvPr id="16" name="Content Placeholder 15" descr="Customer review with solid fill">
            <a:extLst>
              <a:ext uri="{FF2B5EF4-FFF2-40B4-BE49-F238E27FC236}">
                <a16:creationId xmlns:a16="http://schemas.microsoft.com/office/drawing/2014/main" id="{8824E3B1-8472-4AC6-A345-4129D4124971}"/>
              </a:ext>
            </a:extLst>
          </p:cNvPr>
          <p:cNvPicPr>
            <a:picLocks noGrp="1" noChangeAspect="1"/>
          </p:cNvPicPr>
          <p:nvPr>
            <p:ph idx="1"/>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1476" y="52359"/>
            <a:ext cx="914400" cy="914400"/>
          </a:xfrm>
        </p:spPr>
      </p:pic>
      <p:grpSp>
        <p:nvGrpSpPr>
          <p:cNvPr id="2" name="Group 1">
            <a:extLst>
              <a:ext uri="{FF2B5EF4-FFF2-40B4-BE49-F238E27FC236}">
                <a16:creationId xmlns:a16="http://schemas.microsoft.com/office/drawing/2014/main" id="{59694333-A1DD-4056-8B71-797BBA8662DF}"/>
              </a:ext>
            </a:extLst>
          </p:cNvPr>
          <p:cNvGrpSpPr/>
          <p:nvPr/>
        </p:nvGrpSpPr>
        <p:grpSpPr>
          <a:xfrm>
            <a:off x="691035" y="1768880"/>
            <a:ext cx="5521697" cy="4080686"/>
            <a:chOff x="652104" y="1837621"/>
            <a:chExt cx="4860881" cy="4745034"/>
          </a:xfrm>
        </p:grpSpPr>
        <p:sp>
          <p:nvSpPr>
            <p:cNvPr id="17" name="TextBox 16">
              <a:extLst>
                <a:ext uri="{FF2B5EF4-FFF2-40B4-BE49-F238E27FC236}">
                  <a16:creationId xmlns:a16="http://schemas.microsoft.com/office/drawing/2014/main" id="{D18898B6-B05E-447D-A66C-ECF756CF54F6}"/>
                </a:ext>
              </a:extLst>
            </p:cNvPr>
            <p:cNvSpPr txBox="1"/>
            <p:nvPr/>
          </p:nvSpPr>
          <p:spPr>
            <a:xfrm>
              <a:off x="652104" y="1837621"/>
              <a:ext cx="4860881" cy="463169"/>
            </a:xfrm>
            <a:prstGeom prst="rect">
              <a:avLst/>
            </a:prstGeom>
            <a:solidFill>
              <a:schemeClr val="accent4"/>
            </a:solidFill>
            <a:ln w="28575">
              <a:solidFill>
                <a:schemeClr val="accent4"/>
              </a:solidFill>
            </a:ln>
          </p:spPr>
          <p:txBody>
            <a:bodyPr wrap="square" lIns="0" tIns="0" rIns="0" bIns="0" rtlCol="0" anchor="ctr">
              <a:noAutofit/>
            </a:bodyPr>
            <a:lstStyle/>
            <a:p>
              <a:pPr algn="ctr"/>
              <a:r>
                <a:rPr lang="da-DK" sz="2800" b="1">
                  <a:latin typeface="Amatic SC" panose="00000500000000000000" pitchFamily="2" charset="-79"/>
                  <a:cs typeface="Amatic SC" panose="00000500000000000000" pitchFamily="2" charset="-79"/>
                </a:rPr>
                <a:t>Dialogværktøj til ledere</a:t>
              </a:r>
              <a:endParaRPr lang="da-DK" sz="2400" b="1">
                <a:latin typeface="Amatic SC" panose="00000500000000000000" pitchFamily="2" charset="-79"/>
                <a:cs typeface="Amatic SC" panose="00000500000000000000" pitchFamily="2" charset="-79"/>
              </a:endParaRPr>
            </a:p>
          </p:txBody>
        </p:sp>
        <p:sp>
          <p:nvSpPr>
            <p:cNvPr id="18" name="Rectangle 17">
              <a:extLst>
                <a:ext uri="{FF2B5EF4-FFF2-40B4-BE49-F238E27FC236}">
                  <a16:creationId xmlns:a16="http://schemas.microsoft.com/office/drawing/2014/main" id="{EA78468F-E258-48AA-9048-3CCC211CB935}"/>
                </a:ext>
              </a:extLst>
            </p:cNvPr>
            <p:cNvSpPr/>
            <p:nvPr/>
          </p:nvSpPr>
          <p:spPr>
            <a:xfrm>
              <a:off x="652104" y="2329173"/>
              <a:ext cx="4860881" cy="4253482"/>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19" name="TextBox 18">
              <a:extLst>
                <a:ext uri="{FF2B5EF4-FFF2-40B4-BE49-F238E27FC236}">
                  <a16:creationId xmlns:a16="http://schemas.microsoft.com/office/drawing/2014/main" id="{5D72530B-A363-4545-8632-1FFB3C39526F}"/>
                </a:ext>
              </a:extLst>
            </p:cNvPr>
            <p:cNvSpPr txBox="1"/>
            <p:nvPr/>
          </p:nvSpPr>
          <p:spPr>
            <a:xfrm>
              <a:off x="812996" y="2464117"/>
              <a:ext cx="4552278" cy="1915851"/>
            </a:xfrm>
            <a:prstGeom prst="rect">
              <a:avLst/>
            </a:prstGeom>
            <a:noFill/>
          </p:spPr>
          <p:txBody>
            <a:bodyPr wrap="square" lIns="0" tIns="0" rIns="0" bIns="0" rtlCol="0">
              <a:spAutoFit/>
            </a:bodyPr>
            <a:lstStyle/>
            <a:p>
              <a:r>
                <a:rPr lang="da-DK" sz="1600" dirty="0">
                  <a:latin typeface="Quicksand"/>
                </a:rPr>
                <a:t>Hensigten med dialogværktøjet er, at det bruges på udvalgte ledermøde til fælles refleksion over det igangværende arbejde med at udvikle varierende læringsmiljøer, som skaber deltagelsesmuligheder for alle. Vi opfordrer til, at dialogværktøjet anvendes løbende og fx gennemføres som led i et sparringsmøde med UCN.</a:t>
              </a:r>
            </a:p>
            <a:p>
              <a:endParaRPr lang="da-DK" sz="1600" dirty="0">
                <a:latin typeface="Quicksand"/>
              </a:endParaRPr>
            </a:p>
          </p:txBody>
        </p:sp>
      </p:grpSp>
      <p:grpSp>
        <p:nvGrpSpPr>
          <p:cNvPr id="3" name="Group 2">
            <a:extLst>
              <a:ext uri="{FF2B5EF4-FFF2-40B4-BE49-F238E27FC236}">
                <a16:creationId xmlns:a16="http://schemas.microsoft.com/office/drawing/2014/main" id="{4F399B1D-4CC0-4467-8609-AB2D591854F3}"/>
              </a:ext>
            </a:extLst>
          </p:cNvPr>
          <p:cNvGrpSpPr/>
          <p:nvPr/>
        </p:nvGrpSpPr>
        <p:grpSpPr>
          <a:xfrm>
            <a:off x="6395498" y="1768880"/>
            <a:ext cx="5105468" cy="4080686"/>
            <a:chOff x="6679017" y="1837621"/>
            <a:chExt cx="4860881" cy="3679420"/>
          </a:xfrm>
        </p:grpSpPr>
        <p:sp>
          <p:nvSpPr>
            <p:cNvPr id="22" name="TextBox 21">
              <a:extLst>
                <a:ext uri="{FF2B5EF4-FFF2-40B4-BE49-F238E27FC236}">
                  <a16:creationId xmlns:a16="http://schemas.microsoft.com/office/drawing/2014/main" id="{AC9C19F2-B6F3-419D-80F8-FF0DD1D06E4D}"/>
                </a:ext>
              </a:extLst>
            </p:cNvPr>
            <p:cNvSpPr txBox="1"/>
            <p:nvPr/>
          </p:nvSpPr>
          <p:spPr>
            <a:xfrm>
              <a:off x="6679017" y="1837621"/>
              <a:ext cx="4860881" cy="393283"/>
            </a:xfrm>
            <a:prstGeom prst="rect">
              <a:avLst/>
            </a:prstGeom>
            <a:solidFill>
              <a:schemeClr val="accent4"/>
            </a:solidFill>
            <a:ln w="28575">
              <a:solidFill>
                <a:schemeClr val="accent4"/>
              </a:solidFill>
            </a:ln>
          </p:spPr>
          <p:txBody>
            <a:bodyPr wrap="square" lIns="0" tIns="0" rIns="0" bIns="0" rtlCol="0" anchor="ctr">
              <a:noAutofit/>
            </a:bodyPr>
            <a:lstStyle/>
            <a:p>
              <a:pPr algn="ctr"/>
              <a:r>
                <a:rPr lang="da-DK" sz="2800" b="1" dirty="0">
                  <a:latin typeface="Amatic SC" panose="00000500000000000000" pitchFamily="2" charset="-79"/>
                  <a:cs typeface="Amatic SC" panose="00000500000000000000" pitchFamily="2" charset="-79"/>
                </a:rPr>
                <a:t>Dialogværktøj til teams</a:t>
              </a:r>
              <a:endParaRPr lang="da-DK" sz="2400" b="1" dirty="0">
                <a:latin typeface="Amatic SC" panose="00000500000000000000" pitchFamily="2" charset="-79"/>
                <a:cs typeface="Amatic SC" panose="00000500000000000000" pitchFamily="2" charset="-79"/>
              </a:endParaRPr>
            </a:p>
          </p:txBody>
        </p:sp>
        <p:sp>
          <p:nvSpPr>
            <p:cNvPr id="23" name="Rectangle 22">
              <a:extLst>
                <a:ext uri="{FF2B5EF4-FFF2-40B4-BE49-F238E27FC236}">
                  <a16:creationId xmlns:a16="http://schemas.microsoft.com/office/drawing/2014/main" id="{78A4AB52-5A29-4C4E-9DAF-9283A22F6409}"/>
                </a:ext>
              </a:extLst>
            </p:cNvPr>
            <p:cNvSpPr/>
            <p:nvPr/>
          </p:nvSpPr>
          <p:spPr>
            <a:xfrm>
              <a:off x="6679017" y="2230904"/>
              <a:ext cx="4860881" cy="3286137"/>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24" name="TextBox 23">
              <a:extLst>
                <a:ext uri="{FF2B5EF4-FFF2-40B4-BE49-F238E27FC236}">
                  <a16:creationId xmlns:a16="http://schemas.microsoft.com/office/drawing/2014/main" id="{65ACF726-27D2-4278-8E96-7B105C601347}"/>
                </a:ext>
              </a:extLst>
            </p:cNvPr>
            <p:cNvSpPr txBox="1"/>
            <p:nvPr/>
          </p:nvSpPr>
          <p:spPr>
            <a:xfrm>
              <a:off x="6896054" y="2323422"/>
              <a:ext cx="4552278" cy="1697828"/>
            </a:xfrm>
            <a:prstGeom prst="rect">
              <a:avLst/>
            </a:prstGeom>
            <a:noFill/>
          </p:spPr>
          <p:txBody>
            <a:bodyPr wrap="square" lIns="0" tIns="0" rIns="0" bIns="0" rtlCol="0">
              <a:spAutoFit/>
            </a:bodyPr>
            <a:lstStyle/>
            <a:p>
              <a:r>
                <a:rPr lang="da-DK" sz="1600" dirty="0">
                  <a:latin typeface="Quicksand"/>
                </a:rPr>
                <a:t>Hensigten med dialogværktøjet er, at skabe fælles refleksion over det igangværende arbejde med at udvikle varierende læringsmiljøer, som skaber deltagelsesmuligheder for alle. Vi opfordrer til, at dialogværktøjet anvendes løbende og fx gennemføres som led i et sparringsmøde med UCN.</a:t>
              </a:r>
            </a:p>
            <a:p>
              <a:endParaRPr lang="da-DK" sz="1600" dirty="0">
                <a:latin typeface="Quicksand"/>
              </a:endParaRPr>
            </a:p>
            <a:p>
              <a:endParaRPr lang="da-DK" sz="1600" dirty="0">
                <a:latin typeface="Quicksand"/>
              </a:endParaRPr>
            </a:p>
          </p:txBody>
        </p:sp>
      </p:grpSp>
      <p:pic>
        <p:nvPicPr>
          <p:cNvPr id="4" name="Picture 3">
            <a:extLst>
              <a:ext uri="{FF2B5EF4-FFF2-40B4-BE49-F238E27FC236}">
                <a16:creationId xmlns:a16="http://schemas.microsoft.com/office/drawing/2014/main" id="{62BE5849-991D-AC75-96DF-66F014F78B76}"/>
              </a:ext>
            </a:extLst>
          </p:cNvPr>
          <p:cNvPicPr>
            <a:picLocks noChangeAspect="1"/>
          </p:cNvPicPr>
          <p:nvPr/>
        </p:nvPicPr>
        <p:blipFill>
          <a:blip r:embed="rId7"/>
          <a:stretch>
            <a:fillRect/>
          </a:stretch>
        </p:blipFill>
        <p:spPr>
          <a:xfrm>
            <a:off x="3955178" y="4003531"/>
            <a:ext cx="2080372" cy="1170210"/>
          </a:xfrm>
          <a:prstGeom prst="rect">
            <a:avLst/>
          </a:prstGeom>
        </p:spPr>
      </p:pic>
      <p:sp>
        <p:nvSpPr>
          <p:cNvPr id="12" name="TextBox 11">
            <a:extLst>
              <a:ext uri="{FF2B5EF4-FFF2-40B4-BE49-F238E27FC236}">
                <a16:creationId xmlns:a16="http://schemas.microsoft.com/office/drawing/2014/main" id="{2BB846B8-9FCD-E68F-2A2F-9E71B9C787B4}"/>
              </a:ext>
            </a:extLst>
          </p:cNvPr>
          <p:cNvSpPr txBox="1"/>
          <p:nvPr/>
        </p:nvSpPr>
        <p:spPr>
          <a:xfrm>
            <a:off x="823017" y="3910398"/>
            <a:ext cx="3132161" cy="1569660"/>
          </a:xfrm>
          <a:prstGeom prst="rect">
            <a:avLst/>
          </a:prstGeom>
          <a:noFill/>
        </p:spPr>
        <p:txBody>
          <a:bodyPr wrap="square">
            <a:spAutoFit/>
          </a:bodyPr>
          <a:lstStyle/>
          <a:p>
            <a:r>
              <a:rPr lang="da-DK" sz="1600" dirty="0">
                <a:latin typeface="Quicksand"/>
              </a:rPr>
              <a:t>Nogle ledere bliver udvalgt til at dele deres øvelser med Rambøll via en lydfil. Disse ledere bliver kontaktet af Rambøll i marts og får tilsendt dialogværktøjet med posten. </a:t>
            </a:r>
          </a:p>
        </p:txBody>
      </p:sp>
      <p:sp>
        <p:nvSpPr>
          <p:cNvPr id="15" name="TextBox 14">
            <a:extLst>
              <a:ext uri="{FF2B5EF4-FFF2-40B4-BE49-F238E27FC236}">
                <a16:creationId xmlns:a16="http://schemas.microsoft.com/office/drawing/2014/main" id="{EBDE746E-9C4A-CBE3-878E-22E2834474CA}"/>
              </a:ext>
            </a:extLst>
          </p:cNvPr>
          <p:cNvSpPr txBox="1"/>
          <p:nvPr/>
        </p:nvSpPr>
        <p:spPr>
          <a:xfrm>
            <a:off x="6541851" y="3910398"/>
            <a:ext cx="2625860" cy="1815882"/>
          </a:xfrm>
          <a:prstGeom prst="rect">
            <a:avLst/>
          </a:prstGeom>
          <a:noFill/>
        </p:spPr>
        <p:txBody>
          <a:bodyPr wrap="square">
            <a:spAutoFit/>
          </a:bodyPr>
          <a:lstStyle/>
          <a:p>
            <a:r>
              <a:rPr lang="da-DK" sz="1600" dirty="0">
                <a:latin typeface="Quicksand"/>
              </a:rPr>
              <a:t>Nogle teams bliver udvalgt til at dele deres refleksioner med Rambøll via en lydfil. Disse teams bliver kontaktet af Rambøll i marts og får tilsendt dialogværktøjet med posten. </a:t>
            </a:r>
          </a:p>
        </p:txBody>
      </p:sp>
      <p:pic>
        <p:nvPicPr>
          <p:cNvPr id="20" name="Picture 19">
            <a:extLst>
              <a:ext uri="{FF2B5EF4-FFF2-40B4-BE49-F238E27FC236}">
                <a16:creationId xmlns:a16="http://schemas.microsoft.com/office/drawing/2014/main" id="{4DFAF2A5-99C6-9813-4285-7B41FC18DEC3}"/>
              </a:ext>
            </a:extLst>
          </p:cNvPr>
          <p:cNvPicPr>
            <a:picLocks noChangeAspect="1"/>
          </p:cNvPicPr>
          <p:nvPr/>
        </p:nvPicPr>
        <p:blipFill>
          <a:blip r:embed="rId8"/>
          <a:stretch>
            <a:fillRect/>
          </a:stretch>
        </p:blipFill>
        <p:spPr>
          <a:xfrm>
            <a:off x="9251619" y="4003531"/>
            <a:ext cx="2117364" cy="1191017"/>
          </a:xfrm>
          <a:prstGeom prst="rect">
            <a:avLst/>
          </a:prstGeom>
        </p:spPr>
      </p:pic>
    </p:spTree>
    <p:extLst>
      <p:ext uri="{BB962C8B-B14F-4D97-AF65-F5344CB8AC3E}">
        <p14:creationId xmlns:p14="http://schemas.microsoft.com/office/powerpoint/2010/main" val="36067396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F65C6D3-94F2-4669-8F51-7C2E00FE10C2}"/>
              </a:ext>
            </a:extLst>
          </p:cNvPr>
          <p:cNvGraphicFramePr>
            <a:graphicFrameLocks noChangeAspect="1"/>
          </p:cNvGraphicFramePr>
          <p:nvPr>
            <p:custDataLst>
              <p:tags r:id="rId1"/>
            </p:custDataLst>
            <p:extLst>
              <p:ext uri="{D42A27DB-BD31-4B8C-83A1-F6EECF244321}">
                <p14:modId xmlns:p14="http://schemas.microsoft.com/office/powerpoint/2010/main" val="1785767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Object 3" hidden="1">
                        <a:extLst>
                          <a:ext uri="{FF2B5EF4-FFF2-40B4-BE49-F238E27FC236}">
                            <a16:creationId xmlns:a16="http://schemas.microsoft.com/office/drawing/2014/main" id="{CF65C6D3-94F2-4669-8F51-7C2E00FE10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Google Shape;846;p29">
            <a:extLst>
              <a:ext uri="{FF2B5EF4-FFF2-40B4-BE49-F238E27FC236}">
                <a16:creationId xmlns:a16="http://schemas.microsoft.com/office/drawing/2014/main" id="{0925DE32-781D-4EBA-80CF-DAC45B0811BF}"/>
              </a:ext>
            </a:extLst>
          </p:cNvPr>
          <p:cNvSpPr/>
          <p:nvPr/>
        </p:nvSpPr>
        <p:spPr>
          <a:xfrm>
            <a:off x="0" y="370"/>
            <a:ext cx="12192000" cy="1019120"/>
          </a:xfrm>
          <a:prstGeom prst="homePlate">
            <a:avLst>
              <a:gd name="adj" fmla="val 50000"/>
            </a:avLst>
          </a:prstGeom>
          <a:solidFill>
            <a:schemeClr val="accent3"/>
          </a:solidFill>
          <a:ln>
            <a:noFill/>
          </a:ln>
        </p:spPr>
        <p:txBody>
          <a:bodyPr spcFirstLastPara="1" wrap="square" lIns="396000" tIns="91425" rIns="91425" bIns="91425" anchor="ctr" anchorCtr="0">
            <a:noAutofit/>
          </a:bodyPr>
          <a:lstStyle/>
          <a:p>
            <a:pPr marL="0" lvl="0" indent="0">
              <a:spcBef>
                <a:spcPts val="0"/>
              </a:spcBef>
              <a:spcAft>
                <a:spcPts val="0"/>
              </a:spcAft>
              <a:buNone/>
            </a:pPr>
            <a:endParaRPr lang="da-DK" sz="3600">
              <a:latin typeface="Amatic SC"/>
              <a:ea typeface="Amatic SC"/>
              <a:cs typeface="Amatic SC"/>
              <a:sym typeface="Amatic SC"/>
            </a:endParaRPr>
          </a:p>
        </p:txBody>
      </p:sp>
      <p:sp>
        <p:nvSpPr>
          <p:cNvPr id="10" name="Title 1">
            <a:extLst>
              <a:ext uri="{FF2B5EF4-FFF2-40B4-BE49-F238E27FC236}">
                <a16:creationId xmlns:a16="http://schemas.microsoft.com/office/drawing/2014/main" id="{E4303472-D4C8-453D-8ED7-7F327BB3014C}"/>
              </a:ext>
            </a:extLst>
          </p:cNvPr>
          <p:cNvSpPr txBox="1">
            <a:spLocks/>
          </p:cNvSpPr>
          <p:nvPr/>
        </p:nvSpPr>
        <p:spPr>
          <a:xfrm>
            <a:off x="3700688" y="168467"/>
            <a:ext cx="4790623" cy="936000"/>
          </a:xfrm>
          <a:prstGeom prst="rect">
            <a:avLst/>
          </a:prstGeom>
          <a:noFill/>
        </p:spPr>
        <p:txBody>
          <a:bodyPr vert="horz" lIns="0" tIns="0" rIns="0" bIns="0" rtlCol="0" anchor="t" anchorCtr="0">
            <a:no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r>
              <a:rPr lang="da-DK" sz="4400" b="1">
                <a:solidFill>
                  <a:schemeClr val="bg1"/>
                </a:solidFill>
                <a:latin typeface="Amatic SC" panose="00000500000000000000" pitchFamily="2" charset="-79"/>
                <a:cs typeface="Amatic SC" panose="00000500000000000000" pitchFamily="2" charset="-79"/>
              </a:rPr>
              <a:t>Inspirationspakker til skoler</a:t>
            </a:r>
          </a:p>
        </p:txBody>
      </p:sp>
      <p:sp>
        <p:nvSpPr>
          <p:cNvPr id="11" name="Google Shape;843;p29">
            <a:extLst>
              <a:ext uri="{FF2B5EF4-FFF2-40B4-BE49-F238E27FC236}">
                <a16:creationId xmlns:a16="http://schemas.microsoft.com/office/drawing/2014/main" id="{04DE7178-295E-4CF7-B6E8-11E8E8FC43B0}"/>
              </a:ext>
            </a:extLst>
          </p:cNvPr>
          <p:cNvSpPr/>
          <p:nvPr/>
        </p:nvSpPr>
        <p:spPr>
          <a:xfrm>
            <a:off x="11591638" y="0"/>
            <a:ext cx="631458" cy="1019120"/>
          </a:xfrm>
          <a:prstGeom prst="rect">
            <a:avLst/>
          </a:prstGeom>
          <a:solidFill>
            <a:schemeClr val="accent3"/>
          </a:solidFill>
          <a:ln>
            <a:noFill/>
          </a:ln>
        </p:spPr>
        <p:txBody>
          <a:bodyPr spcFirstLastPara="1" wrap="square" lIns="91425" tIns="91425" rIns="91425" bIns="91425" anchor="ctr" anchorCtr="0">
            <a:noAutofit/>
          </a:bodyPr>
          <a:lstStyle/>
          <a:p>
            <a:pPr marL="0" lvl="0" indent="0" algn="ctr">
              <a:spcBef>
                <a:spcPts val="0"/>
              </a:spcBef>
              <a:spcAft>
                <a:spcPts val="0"/>
              </a:spcAft>
              <a:buNone/>
            </a:pPr>
            <a:endParaRPr lang="da-DK" sz="2400">
              <a:latin typeface="Amatic SC"/>
              <a:ea typeface="Amatic SC"/>
              <a:cs typeface="Amatic SC"/>
              <a:sym typeface="Amatic SC"/>
            </a:endParaRPr>
          </a:p>
        </p:txBody>
      </p:sp>
      <p:sp>
        <p:nvSpPr>
          <p:cNvPr id="12" name="TextBox 11">
            <a:extLst>
              <a:ext uri="{FF2B5EF4-FFF2-40B4-BE49-F238E27FC236}">
                <a16:creationId xmlns:a16="http://schemas.microsoft.com/office/drawing/2014/main" id="{95D71F0E-3B40-4B0C-B6BA-9BA692EB3253}"/>
              </a:ext>
            </a:extLst>
          </p:cNvPr>
          <p:cNvSpPr txBox="1"/>
          <p:nvPr/>
        </p:nvSpPr>
        <p:spPr>
          <a:xfrm>
            <a:off x="652769" y="1526252"/>
            <a:ext cx="5183401" cy="463169"/>
          </a:xfrm>
          <a:prstGeom prst="rect">
            <a:avLst/>
          </a:prstGeom>
          <a:solidFill>
            <a:schemeClr val="accent3"/>
          </a:solidFill>
          <a:ln w="28575">
            <a:solidFill>
              <a:schemeClr val="accent3"/>
            </a:solidFill>
          </a:ln>
        </p:spPr>
        <p:txBody>
          <a:bodyPr wrap="square" lIns="0" tIns="0" rIns="0" bIns="0" rtlCol="0" anchor="ctr">
            <a:noAutofit/>
          </a:bodyPr>
          <a:lstStyle/>
          <a:p>
            <a:pPr algn="ctr"/>
            <a:r>
              <a:rPr lang="da-DK" sz="2800" b="1">
                <a:latin typeface="Amatic SC" panose="00000500000000000000" pitchFamily="2" charset="-79"/>
                <a:cs typeface="Amatic SC" panose="00000500000000000000" pitchFamily="2" charset="-79"/>
              </a:rPr>
              <a:t>Formålet med inspirationspakker til skolerne</a:t>
            </a:r>
            <a:endParaRPr lang="da-DK" sz="2400" b="1">
              <a:latin typeface="Amatic SC" panose="00000500000000000000" pitchFamily="2" charset="-79"/>
              <a:cs typeface="Amatic SC" panose="00000500000000000000" pitchFamily="2" charset="-79"/>
            </a:endParaRPr>
          </a:p>
        </p:txBody>
      </p:sp>
      <p:sp>
        <p:nvSpPr>
          <p:cNvPr id="13" name="Rectangle 12">
            <a:extLst>
              <a:ext uri="{FF2B5EF4-FFF2-40B4-BE49-F238E27FC236}">
                <a16:creationId xmlns:a16="http://schemas.microsoft.com/office/drawing/2014/main" id="{6D457B4F-2914-4833-84A1-5A5D2F84CA7D}"/>
              </a:ext>
            </a:extLst>
          </p:cNvPr>
          <p:cNvSpPr/>
          <p:nvPr/>
        </p:nvSpPr>
        <p:spPr>
          <a:xfrm>
            <a:off x="652769" y="1989421"/>
            <a:ext cx="5183401" cy="1439579"/>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14" name="TextBox 13">
            <a:extLst>
              <a:ext uri="{FF2B5EF4-FFF2-40B4-BE49-F238E27FC236}">
                <a16:creationId xmlns:a16="http://schemas.microsoft.com/office/drawing/2014/main" id="{8A84B69B-B9F9-4F80-8651-F050BAF5CFBC}"/>
              </a:ext>
            </a:extLst>
          </p:cNvPr>
          <p:cNvSpPr txBox="1"/>
          <p:nvPr/>
        </p:nvSpPr>
        <p:spPr>
          <a:xfrm>
            <a:off x="768352" y="2132529"/>
            <a:ext cx="4960787" cy="1231106"/>
          </a:xfrm>
          <a:prstGeom prst="rect">
            <a:avLst/>
          </a:prstGeom>
          <a:noFill/>
        </p:spPr>
        <p:txBody>
          <a:bodyPr wrap="square" lIns="0" tIns="0" rIns="0" bIns="0" rtlCol="0">
            <a:spAutoFit/>
          </a:bodyPr>
          <a:lstStyle/>
          <a:p>
            <a:r>
              <a:rPr lang="da-DK" sz="1600">
                <a:latin typeface="Quicksand"/>
              </a:rPr>
              <a:t>At skabe et tilbageløb af viden fra evalueringen til alle skoler i Region Nordjylland for at sikre, at evalueringen systematisk og reelt bidrager til at understøtte løbende læring og praksisudvikling af læringsmiljøerne på tværs af kommunerne. </a:t>
            </a:r>
          </a:p>
        </p:txBody>
      </p:sp>
      <p:sp>
        <p:nvSpPr>
          <p:cNvPr id="15" name="TextBox 14">
            <a:extLst>
              <a:ext uri="{FF2B5EF4-FFF2-40B4-BE49-F238E27FC236}">
                <a16:creationId xmlns:a16="http://schemas.microsoft.com/office/drawing/2014/main" id="{95BED6D4-B599-483B-817D-87AD7138B9D8}"/>
              </a:ext>
            </a:extLst>
          </p:cNvPr>
          <p:cNvSpPr txBox="1"/>
          <p:nvPr/>
        </p:nvSpPr>
        <p:spPr>
          <a:xfrm>
            <a:off x="6095999" y="1480313"/>
            <a:ext cx="5443232" cy="4924425"/>
          </a:xfrm>
          <a:prstGeom prst="rect">
            <a:avLst/>
          </a:prstGeom>
          <a:noFill/>
        </p:spPr>
        <p:txBody>
          <a:bodyPr wrap="square" lIns="0" tIns="0" rIns="0" bIns="0" rtlCol="0">
            <a:spAutoFit/>
          </a:bodyPr>
          <a:lstStyle/>
          <a:p>
            <a:pPr marL="285750" indent="-285750">
              <a:buFont typeface="Arial" panose="020B0604020202020204" pitchFamily="34" charset="0"/>
              <a:buChar char="•"/>
            </a:pPr>
            <a:r>
              <a:rPr lang="da-DK" sz="1600">
                <a:latin typeface="Quicksand"/>
              </a:rPr>
              <a:t>Efter hvert af de tre evalueringsrul sammensætter Rambøll en </a:t>
            </a:r>
            <a:r>
              <a:rPr lang="da-DK" sz="1600" b="1">
                <a:latin typeface="Quicksand"/>
              </a:rPr>
              <a:t>inspirationspakke</a:t>
            </a:r>
            <a:r>
              <a:rPr lang="da-DK" sz="1600">
                <a:latin typeface="Quicksand"/>
              </a:rPr>
              <a:t>, som samler op på emner og tendenser, der går på tværs af alle skoler i regionen.</a:t>
            </a:r>
          </a:p>
          <a:p>
            <a:pPr marL="285750" indent="-285750">
              <a:buFont typeface="Arial" panose="020B0604020202020204" pitchFamily="34" charset="0"/>
              <a:buChar char="•"/>
            </a:pPr>
            <a:endParaRPr lang="da-DK" sz="1600">
              <a:latin typeface="Quicksand"/>
            </a:endParaRPr>
          </a:p>
          <a:p>
            <a:pPr marL="285750" indent="-285750">
              <a:buFont typeface="Arial" panose="020B0604020202020204" pitchFamily="34" charset="0"/>
              <a:buChar char="•"/>
            </a:pPr>
            <a:r>
              <a:rPr lang="da-DK" sz="1600">
                <a:latin typeface="Quicksand"/>
              </a:rPr>
              <a:t>Inspirationspakkerne opsummerer foreløbige analyser af data ved præsentation af </a:t>
            </a:r>
            <a:r>
              <a:rPr lang="da-DK" sz="1600" b="1">
                <a:latin typeface="Quicksand"/>
              </a:rPr>
              <a:t>tværgående kendetegn ved god praksis</a:t>
            </a:r>
            <a:r>
              <a:rPr lang="da-DK" sz="1600">
                <a:latin typeface="Quicksand"/>
              </a:rPr>
              <a:t> samt </a:t>
            </a:r>
            <a:r>
              <a:rPr lang="da-DK" sz="1600" b="1">
                <a:latin typeface="Quicksand"/>
              </a:rPr>
              <a:t>faldgruber og potentialer </a:t>
            </a:r>
            <a:r>
              <a:rPr lang="da-DK" sz="1600">
                <a:latin typeface="Quicksand"/>
              </a:rPr>
              <a:t>i arbejdet med varierende læringsmiljøer.</a:t>
            </a:r>
          </a:p>
          <a:p>
            <a:pPr marL="285750" indent="-285750">
              <a:buFont typeface="Arial" panose="020B0604020202020204" pitchFamily="34" charset="0"/>
              <a:buChar char="•"/>
            </a:pPr>
            <a:endParaRPr lang="da-DK" sz="1600">
              <a:latin typeface="Quicksand"/>
            </a:endParaRPr>
          </a:p>
          <a:p>
            <a:pPr marL="285750" indent="-285750">
              <a:buFont typeface="Arial" panose="020B0604020202020204" pitchFamily="34" charset="0"/>
              <a:buChar char="•"/>
            </a:pPr>
            <a:r>
              <a:rPr lang="da-DK" sz="1600">
                <a:latin typeface="Quicksand"/>
              </a:rPr>
              <a:t>Inspirationspakkerne vil fx bestå af speakede PowerPoint-præsentationer, udvalgte fortællinger fra praksis, der eksemplificerer tværgående resultater og refleksionsspørgsmål, der understøtter arbejdet med resultaterne.</a:t>
            </a:r>
          </a:p>
          <a:p>
            <a:pPr marL="285750" indent="-285750">
              <a:buFont typeface="Arial" panose="020B0604020202020204" pitchFamily="34" charset="0"/>
              <a:buChar char="•"/>
            </a:pPr>
            <a:endParaRPr lang="da-DK" sz="1600">
              <a:latin typeface="Quicksand"/>
            </a:endParaRPr>
          </a:p>
          <a:p>
            <a:pPr marL="285750" indent="-285750">
              <a:buFont typeface="Arial" panose="020B0604020202020204" pitchFamily="34" charset="0"/>
              <a:buChar char="•"/>
            </a:pPr>
            <a:r>
              <a:rPr lang="da-DK" sz="1600">
                <a:latin typeface="Quicksand"/>
              </a:rPr>
              <a:t>Der udvikles </a:t>
            </a:r>
            <a:r>
              <a:rPr lang="da-DK" sz="1600" b="1">
                <a:latin typeface="Quicksand"/>
              </a:rPr>
              <a:t>inspirationspakker </a:t>
            </a:r>
            <a:r>
              <a:rPr lang="da-DK" sz="1600">
                <a:latin typeface="Quicksand"/>
              </a:rPr>
              <a:t>efter hvert evalueringsrul, som baseret sig på data på tværs af alle skoler i regionen.</a:t>
            </a:r>
          </a:p>
          <a:p>
            <a:pPr marL="285750" indent="-285750">
              <a:buFont typeface="Arial" panose="020B0604020202020204" pitchFamily="34" charset="0"/>
              <a:buChar char="•"/>
            </a:pPr>
            <a:endParaRPr lang="da-DK" sz="1600">
              <a:latin typeface="Quicksand"/>
            </a:endParaRPr>
          </a:p>
          <a:p>
            <a:pPr marL="285750" indent="-285750">
              <a:buFont typeface="Arial" panose="020B0604020202020204" pitchFamily="34" charset="0"/>
              <a:buChar char="•"/>
            </a:pPr>
            <a:endParaRPr lang="da-DK" sz="1600">
              <a:latin typeface="Quicksand"/>
            </a:endParaRPr>
          </a:p>
          <a:p>
            <a:endParaRPr lang="da-DK" sz="1600">
              <a:latin typeface="Quicksand"/>
            </a:endParaRPr>
          </a:p>
        </p:txBody>
      </p:sp>
    </p:spTree>
    <p:extLst>
      <p:ext uri="{BB962C8B-B14F-4D97-AF65-F5344CB8AC3E}">
        <p14:creationId xmlns:p14="http://schemas.microsoft.com/office/powerpoint/2010/main" val="34417298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7F40EAB-AB51-4B8C-BCDA-CDE3DB916186}"/>
              </a:ext>
            </a:extLst>
          </p:cNvPr>
          <p:cNvGraphicFramePr>
            <a:graphicFrameLocks noChangeAspect="1"/>
          </p:cNvGraphicFramePr>
          <p:nvPr>
            <p:custDataLst>
              <p:tags r:id="rId1"/>
            </p:custDataLst>
            <p:extLst>
              <p:ext uri="{D42A27DB-BD31-4B8C-83A1-F6EECF244321}">
                <p14:modId xmlns:p14="http://schemas.microsoft.com/office/powerpoint/2010/main" val="424083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B7F40EAB-AB51-4B8C-BCDA-CDE3DB9161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01B957F8-BD5C-4355-9005-BE875E5090FC}"/>
              </a:ext>
            </a:extLst>
          </p:cNvPr>
          <p:cNvSpPr>
            <a:spLocks noGrp="1"/>
          </p:cNvSpPr>
          <p:nvPr>
            <p:ph type="sldNum" sz="quarter" idx="12"/>
          </p:nvPr>
        </p:nvSpPr>
        <p:spPr/>
        <p:txBody>
          <a:bodyPr/>
          <a:lstStyle/>
          <a:p>
            <a:fld id="{23AA811B-2EBD-4900-905E-5BE206449611}" type="slidenum">
              <a:rPr lang="da-DK" smtClean="0"/>
              <a:pPr/>
              <a:t>12</a:t>
            </a:fld>
            <a:endParaRPr lang="da-DK"/>
          </a:p>
        </p:txBody>
      </p:sp>
      <p:grpSp>
        <p:nvGrpSpPr>
          <p:cNvPr id="2" name="Group 1">
            <a:extLst>
              <a:ext uri="{FF2B5EF4-FFF2-40B4-BE49-F238E27FC236}">
                <a16:creationId xmlns:a16="http://schemas.microsoft.com/office/drawing/2014/main" id="{72E24315-9E79-41B0-B779-15A26416EBBF}"/>
              </a:ext>
            </a:extLst>
          </p:cNvPr>
          <p:cNvGrpSpPr/>
          <p:nvPr/>
        </p:nvGrpSpPr>
        <p:grpSpPr>
          <a:xfrm>
            <a:off x="2344275" y="1880427"/>
            <a:ext cx="3862866" cy="2506793"/>
            <a:chOff x="2153530" y="1095100"/>
            <a:chExt cx="3862866" cy="2506793"/>
          </a:xfrm>
        </p:grpSpPr>
        <p:sp>
          <p:nvSpPr>
            <p:cNvPr id="8" name="TextBox 7">
              <a:extLst>
                <a:ext uri="{FF2B5EF4-FFF2-40B4-BE49-F238E27FC236}">
                  <a16:creationId xmlns:a16="http://schemas.microsoft.com/office/drawing/2014/main" id="{BB7B4406-EAA5-4923-909F-72273477B054}"/>
                </a:ext>
              </a:extLst>
            </p:cNvPr>
            <p:cNvSpPr txBox="1"/>
            <p:nvPr/>
          </p:nvSpPr>
          <p:spPr>
            <a:xfrm>
              <a:off x="2153530" y="1095100"/>
              <a:ext cx="3862866" cy="1335419"/>
            </a:xfrm>
            <a:prstGeom prst="rect">
              <a:avLst/>
            </a:prstGeom>
            <a:noFill/>
            <a:ln w="28575">
              <a:noFill/>
            </a:ln>
          </p:spPr>
          <p:txBody>
            <a:bodyPr wrap="square" lIns="0" tIns="0" rIns="0" bIns="0" rtlCol="0" anchor="ctr">
              <a:noAutofit/>
            </a:bodyPr>
            <a:lstStyle/>
            <a:p>
              <a:pPr algn="ctr"/>
              <a:r>
                <a:rPr lang="da-DK" sz="2800" b="1">
                  <a:solidFill>
                    <a:schemeClr val="bg1"/>
                  </a:solidFill>
                  <a:latin typeface="Amatic SC" panose="00000500000000000000" pitchFamily="2" charset="-79"/>
                  <a:cs typeface="Amatic SC" panose="00000500000000000000" pitchFamily="2" charset="-79"/>
                </a:rPr>
                <a:t>Kontaktperson for evalueringen</a:t>
              </a:r>
              <a:endParaRPr lang="da-DK" b="1">
                <a:solidFill>
                  <a:schemeClr val="bg1"/>
                </a:solidFill>
                <a:latin typeface="Amatic SC" panose="00000500000000000000" pitchFamily="2" charset="-79"/>
                <a:cs typeface="Amatic SC" panose="00000500000000000000" pitchFamily="2" charset="-79"/>
              </a:endParaRPr>
            </a:p>
          </p:txBody>
        </p:sp>
        <p:sp>
          <p:nvSpPr>
            <p:cNvPr id="10" name="TextBox 9">
              <a:extLst>
                <a:ext uri="{FF2B5EF4-FFF2-40B4-BE49-F238E27FC236}">
                  <a16:creationId xmlns:a16="http://schemas.microsoft.com/office/drawing/2014/main" id="{516EE21D-C4B9-4731-B349-1072BB4E5D41}"/>
                </a:ext>
              </a:extLst>
            </p:cNvPr>
            <p:cNvSpPr txBox="1"/>
            <p:nvPr/>
          </p:nvSpPr>
          <p:spPr>
            <a:xfrm>
              <a:off x="2407390" y="2266473"/>
              <a:ext cx="3355145" cy="1335420"/>
            </a:xfrm>
            <a:prstGeom prst="rect">
              <a:avLst/>
            </a:prstGeom>
            <a:noFill/>
            <a:ln w="28575">
              <a:solidFill>
                <a:schemeClr val="accent2"/>
              </a:solidFill>
            </a:ln>
          </p:spPr>
          <p:txBody>
            <a:bodyPr wrap="square" lIns="108000" tIns="0" rIns="0" bIns="0" rtlCol="0" anchor="t">
              <a:noAutofit/>
            </a:bodyPr>
            <a:lstStyle/>
            <a:p>
              <a:pPr algn="ctr"/>
              <a:endParaRPr lang="da-DK" sz="2000" b="1">
                <a:latin typeface="Amatic SC" panose="00000500000000000000" pitchFamily="2" charset="-79"/>
                <a:cs typeface="Amatic SC" panose="00000500000000000000" pitchFamily="2" charset="-79"/>
              </a:endParaRPr>
            </a:p>
            <a:p>
              <a:r>
                <a:rPr lang="da-DK" sz="2000" b="1">
                  <a:solidFill>
                    <a:schemeClr val="bg1"/>
                  </a:solidFill>
                  <a:latin typeface="Amatic SC" panose="00000500000000000000" pitchFamily="2" charset="-79"/>
                  <a:cs typeface="Amatic SC" panose="00000500000000000000" pitchFamily="2" charset="-79"/>
                </a:rPr>
                <a:t>	projektleder for evalueringen </a:t>
              </a:r>
            </a:p>
            <a:p>
              <a:r>
                <a:rPr lang="da-DK" sz="2000" b="1">
                  <a:solidFill>
                    <a:schemeClr val="bg1"/>
                  </a:solidFill>
                  <a:latin typeface="Amatic SC" panose="00000500000000000000" pitchFamily="2" charset="-79"/>
                  <a:cs typeface="Amatic SC" panose="00000500000000000000" pitchFamily="2" charset="-79"/>
                </a:rPr>
                <a:t>	E-mail: MRYL@ramboll.com	tlf. 51 61 41 95</a:t>
              </a:r>
            </a:p>
          </p:txBody>
        </p:sp>
        <p:sp>
          <p:nvSpPr>
            <p:cNvPr id="9" name="TextBox 8">
              <a:extLst>
                <a:ext uri="{FF2B5EF4-FFF2-40B4-BE49-F238E27FC236}">
                  <a16:creationId xmlns:a16="http://schemas.microsoft.com/office/drawing/2014/main" id="{8BE3E950-D517-4499-9386-B814892F0A53}"/>
                </a:ext>
              </a:extLst>
            </p:cNvPr>
            <p:cNvSpPr txBox="1"/>
            <p:nvPr/>
          </p:nvSpPr>
          <p:spPr>
            <a:xfrm>
              <a:off x="2407390" y="1985202"/>
              <a:ext cx="3355145" cy="547318"/>
            </a:xfrm>
            <a:prstGeom prst="rect">
              <a:avLst/>
            </a:prstGeom>
            <a:solidFill>
              <a:schemeClr val="accent2"/>
            </a:solidFill>
            <a:ln w="28575">
              <a:solidFill>
                <a:schemeClr val="accent2"/>
              </a:solidFill>
            </a:ln>
          </p:spPr>
          <p:txBody>
            <a:bodyPr wrap="square" lIns="0" tIns="0" rIns="0" bIns="0" rtlCol="0" anchor="ctr">
              <a:noAutofit/>
            </a:bodyPr>
            <a:lstStyle/>
            <a:p>
              <a:pPr algn="ctr"/>
              <a:r>
                <a:rPr lang="da-DK" sz="3200" b="1">
                  <a:latin typeface="Amatic SC" panose="00000500000000000000" pitchFamily="2" charset="-79"/>
                  <a:cs typeface="Amatic SC" panose="00000500000000000000" pitchFamily="2" charset="-79"/>
                </a:rPr>
                <a:t>Mia Rytter Lund</a:t>
              </a:r>
              <a:endParaRPr lang="da-DK" sz="2000" b="1">
                <a:latin typeface="Amatic SC" panose="00000500000000000000" pitchFamily="2" charset="-79"/>
                <a:cs typeface="Amatic SC" panose="00000500000000000000" pitchFamily="2" charset="-79"/>
              </a:endParaRPr>
            </a:p>
          </p:txBody>
        </p:sp>
      </p:grpSp>
      <p:grpSp>
        <p:nvGrpSpPr>
          <p:cNvPr id="3" name="Group 2">
            <a:extLst>
              <a:ext uri="{FF2B5EF4-FFF2-40B4-BE49-F238E27FC236}">
                <a16:creationId xmlns:a16="http://schemas.microsoft.com/office/drawing/2014/main" id="{61B36425-B2AC-4072-A64E-C1865272712A}"/>
              </a:ext>
            </a:extLst>
          </p:cNvPr>
          <p:cNvGrpSpPr/>
          <p:nvPr/>
        </p:nvGrpSpPr>
        <p:grpSpPr>
          <a:xfrm>
            <a:off x="6096000" y="1893656"/>
            <a:ext cx="3862866" cy="2493564"/>
            <a:chOff x="6096000" y="1108329"/>
            <a:chExt cx="3862866" cy="2493564"/>
          </a:xfrm>
        </p:grpSpPr>
        <p:sp>
          <p:nvSpPr>
            <p:cNvPr id="14" name="TextBox 13">
              <a:extLst>
                <a:ext uri="{FF2B5EF4-FFF2-40B4-BE49-F238E27FC236}">
                  <a16:creationId xmlns:a16="http://schemas.microsoft.com/office/drawing/2014/main" id="{9AE75675-4EDA-43B6-86A4-DBB09B62D73E}"/>
                </a:ext>
              </a:extLst>
            </p:cNvPr>
            <p:cNvSpPr txBox="1"/>
            <p:nvPr/>
          </p:nvSpPr>
          <p:spPr>
            <a:xfrm>
              <a:off x="6096000" y="1108329"/>
              <a:ext cx="3862866" cy="1335419"/>
            </a:xfrm>
            <a:prstGeom prst="rect">
              <a:avLst/>
            </a:prstGeom>
            <a:noFill/>
            <a:ln w="28575">
              <a:noFill/>
            </a:ln>
          </p:spPr>
          <p:txBody>
            <a:bodyPr wrap="square" lIns="0" tIns="0" rIns="0" bIns="0" rtlCol="0" anchor="ctr">
              <a:noAutofit/>
            </a:bodyPr>
            <a:lstStyle/>
            <a:p>
              <a:pPr algn="ctr"/>
              <a:r>
                <a:rPr lang="da-DK" sz="2800" b="1">
                  <a:solidFill>
                    <a:schemeClr val="bg1"/>
                  </a:solidFill>
                  <a:latin typeface="Amatic SC" panose="00000500000000000000" pitchFamily="2" charset="-79"/>
                  <a:cs typeface="Amatic SC" panose="00000500000000000000" pitchFamily="2" charset="-79"/>
                </a:rPr>
                <a:t>Kontaktperson for projektet</a:t>
              </a:r>
              <a:endParaRPr lang="da-DK" b="1">
                <a:solidFill>
                  <a:schemeClr val="bg1"/>
                </a:solidFill>
                <a:latin typeface="Amatic SC" panose="00000500000000000000" pitchFamily="2" charset="-79"/>
                <a:cs typeface="Amatic SC" panose="00000500000000000000" pitchFamily="2" charset="-79"/>
              </a:endParaRPr>
            </a:p>
          </p:txBody>
        </p:sp>
        <p:sp>
          <p:nvSpPr>
            <p:cNvPr id="16" name="TextBox 15">
              <a:extLst>
                <a:ext uri="{FF2B5EF4-FFF2-40B4-BE49-F238E27FC236}">
                  <a16:creationId xmlns:a16="http://schemas.microsoft.com/office/drawing/2014/main" id="{D5063B78-CC00-4A91-A0E5-9BBCBB369EA2}"/>
                </a:ext>
              </a:extLst>
            </p:cNvPr>
            <p:cNvSpPr txBox="1"/>
            <p:nvPr/>
          </p:nvSpPr>
          <p:spPr>
            <a:xfrm>
              <a:off x="6270254" y="2266473"/>
              <a:ext cx="3490273" cy="1335420"/>
            </a:xfrm>
            <a:prstGeom prst="rect">
              <a:avLst/>
            </a:prstGeom>
            <a:noFill/>
            <a:ln w="28575">
              <a:solidFill>
                <a:schemeClr val="accent3"/>
              </a:solidFill>
            </a:ln>
          </p:spPr>
          <p:txBody>
            <a:bodyPr wrap="square" lIns="108000" tIns="0" rIns="0" bIns="0" rtlCol="0" anchor="t">
              <a:noAutofit/>
            </a:bodyPr>
            <a:lstStyle/>
            <a:p>
              <a:pPr algn="ctr"/>
              <a:endParaRPr lang="da-DK" sz="2000" b="1" dirty="0">
                <a:latin typeface="Amatic SC" panose="00000500000000000000" pitchFamily="2" charset="-79"/>
                <a:cs typeface="Amatic SC" panose="00000500000000000000" pitchFamily="2" charset="-79"/>
              </a:endParaRPr>
            </a:p>
            <a:p>
              <a:r>
                <a:rPr lang="da-DK" sz="2000" b="1" dirty="0">
                  <a:solidFill>
                    <a:schemeClr val="bg1"/>
                  </a:solidFill>
                  <a:latin typeface="Amatic SC" panose="00000500000000000000" pitchFamily="2" charset="-79"/>
                  <a:cs typeface="Amatic SC" panose="00000500000000000000" pitchFamily="2" charset="-79"/>
                </a:rPr>
                <a:t>	tværkommunal projektleder</a:t>
              </a:r>
            </a:p>
            <a:p>
              <a:r>
                <a:rPr lang="da-DK" sz="2000" b="1" dirty="0">
                  <a:solidFill>
                    <a:schemeClr val="bg1"/>
                  </a:solidFill>
                  <a:latin typeface="Amatic SC" panose="00000500000000000000" pitchFamily="2" charset="-79"/>
                  <a:cs typeface="Amatic SC" panose="00000500000000000000" pitchFamily="2" charset="-79"/>
                </a:rPr>
                <a:t>	E-mail: </a:t>
              </a:r>
              <a:r>
                <a:rPr lang="da-DK" sz="2000" b="1" dirty="0">
                  <a:solidFill>
                    <a:schemeClr val="bg1"/>
                  </a:solidFill>
                  <a:latin typeface="Amatic SC" panose="00000500000000000000" pitchFamily="2" charset="-79"/>
                  <a:cs typeface="Amatic SC" panose="00000500000000000000" pitchFamily="2" charset="-79"/>
                  <a:hlinkClick r:id="rId6"/>
                </a:rPr>
                <a:t>mvd-skole@aalborg.dk</a:t>
              </a:r>
              <a:endParaRPr lang="da-DK" sz="2000" b="1" dirty="0">
                <a:solidFill>
                  <a:schemeClr val="bg1"/>
                </a:solidFill>
                <a:latin typeface="Amatic SC" panose="00000500000000000000" pitchFamily="2" charset="-79"/>
                <a:cs typeface="Amatic SC" panose="00000500000000000000" pitchFamily="2" charset="-79"/>
              </a:endParaRPr>
            </a:p>
            <a:p>
              <a:r>
                <a:rPr lang="da-DK" sz="2000" b="1" dirty="0">
                  <a:solidFill>
                    <a:schemeClr val="bg1"/>
                  </a:solidFill>
                  <a:latin typeface="Amatic SC" panose="00000500000000000000" pitchFamily="2" charset="-79"/>
                  <a:cs typeface="Amatic SC" panose="00000500000000000000" pitchFamily="2" charset="-79"/>
                </a:rPr>
                <a:t>	tlf. </a:t>
              </a:r>
              <a:r>
                <a:rPr lang="da-DK" sz="1800" b="1" dirty="0">
                  <a:solidFill>
                    <a:srgbClr val="191970"/>
                  </a:solidFill>
                  <a:effectLst/>
                  <a:latin typeface="Amatic SC" panose="00000500000000000000" pitchFamily="2" charset="-79"/>
                  <a:ea typeface="Calibri" panose="020F0502020204030204" pitchFamily="34" charset="0"/>
                  <a:cs typeface="Amatic SC" panose="00000500000000000000" pitchFamily="2" charset="-79"/>
                </a:rPr>
                <a:t>93 52 02 35</a:t>
              </a:r>
              <a:endParaRPr lang="da-DK" sz="2000" b="1" dirty="0">
                <a:solidFill>
                  <a:schemeClr val="bg1"/>
                </a:solidFill>
                <a:latin typeface="Amatic SC" panose="00000500000000000000" pitchFamily="2" charset="-79"/>
                <a:cs typeface="Amatic SC" panose="00000500000000000000" pitchFamily="2" charset="-79"/>
              </a:endParaRPr>
            </a:p>
            <a:p>
              <a:r>
                <a:rPr lang="da-DK" sz="2000" b="1" dirty="0">
                  <a:solidFill>
                    <a:schemeClr val="bg1"/>
                  </a:solidFill>
                  <a:latin typeface="Amatic SC" panose="00000500000000000000" pitchFamily="2" charset="-79"/>
                  <a:cs typeface="Amatic SC" panose="00000500000000000000" pitchFamily="2" charset="-79"/>
                </a:rPr>
                <a:t>	</a:t>
              </a:r>
            </a:p>
          </p:txBody>
        </p:sp>
        <p:sp>
          <p:nvSpPr>
            <p:cNvPr id="20" name="TextBox 19">
              <a:extLst>
                <a:ext uri="{FF2B5EF4-FFF2-40B4-BE49-F238E27FC236}">
                  <a16:creationId xmlns:a16="http://schemas.microsoft.com/office/drawing/2014/main" id="{BAA2CB1E-5013-4A37-9C3F-E7232D95426F}"/>
                </a:ext>
              </a:extLst>
            </p:cNvPr>
            <p:cNvSpPr txBox="1"/>
            <p:nvPr/>
          </p:nvSpPr>
          <p:spPr>
            <a:xfrm>
              <a:off x="6270254" y="1985202"/>
              <a:ext cx="3490273" cy="547318"/>
            </a:xfrm>
            <a:prstGeom prst="rect">
              <a:avLst/>
            </a:prstGeom>
            <a:solidFill>
              <a:schemeClr val="accent3"/>
            </a:solidFill>
            <a:ln w="28575">
              <a:solidFill>
                <a:schemeClr val="accent3"/>
              </a:solidFill>
            </a:ln>
          </p:spPr>
          <p:txBody>
            <a:bodyPr wrap="square" lIns="0" tIns="0" rIns="0" bIns="0" rtlCol="0" anchor="ctr">
              <a:noAutofit/>
            </a:bodyPr>
            <a:lstStyle/>
            <a:p>
              <a:pPr algn="ctr"/>
              <a:r>
                <a:rPr lang="da-DK" sz="3200" b="1">
                  <a:latin typeface="Amatic SC" panose="00000500000000000000" pitchFamily="2" charset="-79"/>
                  <a:cs typeface="Amatic SC" panose="00000500000000000000" pitchFamily="2" charset="-79"/>
                </a:rPr>
                <a:t>Mette van Dalm</a:t>
              </a:r>
              <a:endParaRPr lang="da-DK" sz="2000" b="1">
                <a:latin typeface="Amatic SC" panose="00000500000000000000" pitchFamily="2" charset="-79"/>
                <a:cs typeface="Amatic SC" panose="00000500000000000000" pitchFamily="2" charset="-79"/>
              </a:endParaRPr>
            </a:p>
          </p:txBody>
        </p:sp>
      </p:grpSp>
      <p:pic>
        <p:nvPicPr>
          <p:cNvPr id="7" name="Picture 6">
            <a:extLst>
              <a:ext uri="{FF2B5EF4-FFF2-40B4-BE49-F238E27FC236}">
                <a16:creationId xmlns:a16="http://schemas.microsoft.com/office/drawing/2014/main" id="{D4907D79-CA67-4EB9-A845-2EBFD1CB9B03}"/>
              </a:ext>
            </a:extLst>
          </p:cNvPr>
          <p:cNvPicPr>
            <a:picLocks noChangeAspect="1"/>
          </p:cNvPicPr>
          <p:nvPr/>
        </p:nvPicPr>
        <p:blipFill>
          <a:blip r:embed="rId7"/>
          <a:stretch>
            <a:fillRect/>
          </a:stretch>
        </p:blipFill>
        <p:spPr>
          <a:xfrm>
            <a:off x="2718851" y="3427020"/>
            <a:ext cx="792938" cy="792938"/>
          </a:xfrm>
          <a:prstGeom prst="rect">
            <a:avLst/>
          </a:prstGeom>
        </p:spPr>
      </p:pic>
      <p:pic>
        <p:nvPicPr>
          <p:cNvPr id="6" name="Picture 5">
            <a:extLst>
              <a:ext uri="{FF2B5EF4-FFF2-40B4-BE49-F238E27FC236}">
                <a16:creationId xmlns:a16="http://schemas.microsoft.com/office/drawing/2014/main" id="{E18C37BC-06D5-B95B-9898-E7DFD74CF217}"/>
              </a:ext>
            </a:extLst>
          </p:cNvPr>
          <p:cNvPicPr>
            <a:picLocks noChangeAspect="1"/>
          </p:cNvPicPr>
          <p:nvPr/>
        </p:nvPicPr>
        <p:blipFill rotWithShape="1">
          <a:blip r:embed="rId8">
            <a:extLst>
              <a:ext uri="{28A0092B-C50C-407E-A947-70E740481C1C}">
                <a14:useLocalDpi xmlns:a14="http://schemas.microsoft.com/office/drawing/2010/main" val="0"/>
              </a:ext>
            </a:extLst>
          </a:blip>
          <a:srcRect l="3747" t="7401" r="7219" b="17240"/>
          <a:stretch/>
        </p:blipFill>
        <p:spPr>
          <a:xfrm>
            <a:off x="6410360" y="3427020"/>
            <a:ext cx="676240" cy="871192"/>
          </a:xfrm>
          <a:prstGeom prst="rect">
            <a:avLst/>
          </a:prstGeom>
        </p:spPr>
      </p:pic>
    </p:spTree>
    <p:extLst>
      <p:ext uri="{BB962C8B-B14F-4D97-AF65-F5344CB8AC3E}">
        <p14:creationId xmlns:p14="http://schemas.microsoft.com/office/powerpoint/2010/main" val="16095264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rgbClr val="BD9ADD"/>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4387A61-43FE-46B6-8C73-F239F7BF4336}"/>
              </a:ext>
            </a:extLst>
          </p:cNvPr>
          <p:cNvGraphicFramePr>
            <a:graphicFrameLocks noChangeAspect="1"/>
          </p:cNvGraphicFramePr>
          <p:nvPr>
            <p:custDataLst>
              <p:tags r:id="rId1"/>
            </p:custDataLst>
            <p:extLst>
              <p:ext uri="{D42A27DB-BD31-4B8C-83A1-F6EECF244321}">
                <p14:modId xmlns:p14="http://schemas.microsoft.com/office/powerpoint/2010/main" val="2143844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6" name="Object 5" hidden="1">
                        <a:extLst>
                          <a:ext uri="{FF2B5EF4-FFF2-40B4-BE49-F238E27FC236}">
                            <a16:creationId xmlns:a16="http://schemas.microsoft.com/office/drawing/2014/main" id="{04387A61-43FE-46B6-8C73-F239F7BF43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0" name="Rectangle 89">
            <a:extLst>
              <a:ext uri="{FF2B5EF4-FFF2-40B4-BE49-F238E27FC236}">
                <a16:creationId xmlns:a16="http://schemas.microsoft.com/office/drawing/2014/main" id="{857640C1-7B34-4E47-8CF4-559EAF0FEE08}"/>
              </a:ext>
            </a:extLst>
          </p:cNvPr>
          <p:cNvSpPr/>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3" name="Google Shape;1218;p48">
            <a:extLst>
              <a:ext uri="{FF2B5EF4-FFF2-40B4-BE49-F238E27FC236}">
                <a16:creationId xmlns:a16="http://schemas.microsoft.com/office/drawing/2014/main" id="{FA207C97-0666-4E42-A966-3F2F63697DD3}"/>
              </a:ext>
            </a:extLst>
          </p:cNvPr>
          <p:cNvSpPr/>
          <p:nvPr/>
        </p:nvSpPr>
        <p:spPr>
          <a:xfrm>
            <a:off x="5647719" y="456073"/>
            <a:ext cx="1511771" cy="1497886"/>
          </a:xfrm>
          <a:custGeom>
            <a:avLst/>
            <a:gdLst/>
            <a:ahLst/>
            <a:cxnLst/>
            <a:rect l="l" t="t" r="r" b="b"/>
            <a:pathLst>
              <a:path w="16279" h="18810" extrusionOk="0">
                <a:moveTo>
                  <a:pt x="8297" y="536"/>
                </a:moveTo>
                <a:lnTo>
                  <a:pt x="8078" y="658"/>
                </a:lnTo>
                <a:lnTo>
                  <a:pt x="7859" y="780"/>
                </a:lnTo>
                <a:lnTo>
                  <a:pt x="7567" y="974"/>
                </a:lnTo>
                <a:lnTo>
                  <a:pt x="7665" y="804"/>
                </a:lnTo>
                <a:lnTo>
                  <a:pt x="7786" y="682"/>
                </a:lnTo>
                <a:lnTo>
                  <a:pt x="7884" y="609"/>
                </a:lnTo>
                <a:lnTo>
                  <a:pt x="7981" y="585"/>
                </a:lnTo>
                <a:lnTo>
                  <a:pt x="8078" y="561"/>
                </a:lnTo>
                <a:lnTo>
                  <a:pt x="8200" y="536"/>
                </a:lnTo>
                <a:close/>
                <a:moveTo>
                  <a:pt x="8687" y="731"/>
                </a:moveTo>
                <a:lnTo>
                  <a:pt x="8760" y="828"/>
                </a:lnTo>
                <a:lnTo>
                  <a:pt x="8808" y="950"/>
                </a:lnTo>
                <a:lnTo>
                  <a:pt x="8760" y="974"/>
                </a:lnTo>
                <a:lnTo>
                  <a:pt x="8541" y="1072"/>
                </a:lnTo>
                <a:lnTo>
                  <a:pt x="8346" y="1169"/>
                </a:lnTo>
                <a:lnTo>
                  <a:pt x="7957" y="1412"/>
                </a:lnTo>
                <a:lnTo>
                  <a:pt x="7689" y="1583"/>
                </a:lnTo>
                <a:lnTo>
                  <a:pt x="7543" y="1680"/>
                </a:lnTo>
                <a:lnTo>
                  <a:pt x="7397" y="1777"/>
                </a:lnTo>
                <a:lnTo>
                  <a:pt x="7421" y="1534"/>
                </a:lnTo>
                <a:lnTo>
                  <a:pt x="7446" y="1315"/>
                </a:lnTo>
                <a:lnTo>
                  <a:pt x="8054" y="999"/>
                </a:lnTo>
                <a:lnTo>
                  <a:pt x="8370" y="853"/>
                </a:lnTo>
                <a:lnTo>
                  <a:pt x="8687" y="731"/>
                </a:lnTo>
                <a:close/>
                <a:moveTo>
                  <a:pt x="8881" y="1364"/>
                </a:moveTo>
                <a:lnTo>
                  <a:pt x="8881" y="1583"/>
                </a:lnTo>
                <a:lnTo>
                  <a:pt x="8687" y="1656"/>
                </a:lnTo>
                <a:lnTo>
                  <a:pt x="8492" y="1753"/>
                </a:lnTo>
                <a:lnTo>
                  <a:pt x="8249" y="1875"/>
                </a:lnTo>
                <a:lnTo>
                  <a:pt x="8005" y="2021"/>
                </a:lnTo>
                <a:lnTo>
                  <a:pt x="7957" y="2069"/>
                </a:lnTo>
                <a:lnTo>
                  <a:pt x="7932" y="2142"/>
                </a:lnTo>
                <a:lnTo>
                  <a:pt x="7786" y="2142"/>
                </a:lnTo>
                <a:lnTo>
                  <a:pt x="7373" y="2118"/>
                </a:lnTo>
                <a:lnTo>
                  <a:pt x="7373" y="2069"/>
                </a:lnTo>
                <a:lnTo>
                  <a:pt x="7470" y="2069"/>
                </a:lnTo>
                <a:lnTo>
                  <a:pt x="7567" y="2045"/>
                </a:lnTo>
                <a:lnTo>
                  <a:pt x="7738" y="1972"/>
                </a:lnTo>
                <a:lnTo>
                  <a:pt x="8054" y="1777"/>
                </a:lnTo>
                <a:lnTo>
                  <a:pt x="8881" y="1364"/>
                </a:lnTo>
                <a:close/>
                <a:moveTo>
                  <a:pt x="8857" y="2021"/>
                </a:moveTo>
                <a:lnTo>
                  <a:pt x="8857" y="2191"/>
                </a:lnTo>
                <a:lnTo>
                  <a:pt x="8541" y="2167"/>
                </a:lnTo>
                <a:lnTo>
                  <a:pt x="8857" y="2021"/>
                </a:lnTo>
                <a:close/>
                <a:moveTo>
                  <a:pt x="5937" y="2556"/>
                </a:moveTo>
                <a:lnTo>
                  <a:pt x="6765" y="2580"/>
                </a:lnTo>
                <a:lnTo>
                  <a:pt x="7592" y="2629"/>
                </a:lnTo>
                <a:lnTo>
                  <a:pt x="9173" y="2677"/>
                </a:lnTo>
                <a:lnTo>
                  <a:pt x="9976" y="2702"/>
                </a:lnTo>
                <a:lnTo>
                  <a:pt x="10755" y="2726"/>
                </a:lnTo>
                <a:lnTo>
                  <a:pt x="11582" y="2702"/>
                </a:lnTo>
                <a:lnTo>
                  <a:pt x="12385" y="2677"/>
                </a:lnTo>
                <a:lnTo>
                  <a:pt x="13213" y="2629"/>
                </a:lnTo>
                <a:lnTo>
                  <a:pt x="14016" y="2605"/>
                </a:lnTo>
                <a:lnTo>
                  <a:pt x="14064" y="2605"/>
                </a:lnTo>
                <a:lnTo>
                  <a:pt x="14235" y="2750"/>
                </a:lnTo>
                <a:lnTo>
                  <a:pt x="14405" y="2872"/>
                </a:lnTo>
                <a:lnTo>
                  <a:pt x="15038" y="3432"/>
                </a:lnTo>
                <a:lnTo>
                  <a:pt x="15329" y="3724"/>
                </a:lnTo>
                <a:lnTo>
                  <a:pt x="15597" y="4040"/>
                </a:lnTo>
                <a:lnTo>
                  <a:pt x="15694" y="4235"/>
                </a:lnTo>
                <a:lnTo>
                  <a:pt x="15792" y="4405"/>
                </a:lnTo>
                <a:lnTo>
                  <a:pt x="15694" y="4551"/>
                </a:lnTo>
                <a:lnTo>
                  <a:pt x="15573" y="4673"/>
                </a:lnTo>
                <a:lnTo>
                  <a:pt x="15402" y="4843"/>
                </a:lnTo>
                <a:lnTo>
                  <a:pt x="15232" y="4989"/>
                </a:lnTo>
                <a:lnTo>
                  <a:pt x="14843" y="5281"/>
                </a:lnTo>
                <a:lnTo>
                  <a:pt x="14454" y="5549"/>
                </a:lnTo>
                <a:lnTo>
                  <a:pt x="14235" y="5719"/>
                </a:lnTo>
                <a:lnTo>
                  <a:pt x="14064" y="5889"/>
                </a:lnTo>
                <a:lnTo>
                  <a:pt x="13286" y="5865"/>
                </a:lnTo>
                <a:lnTo>
                  <a:pt x="12507" y="5841"/>
                </a:lnTo>
                <a:lnTo>
                  <a:pt x="10974" y="5841"/>
                </a:lnTo>
                <a:lnTo>
                  <a:pt x="7859" y="5889"/>
                </a:lnTo>
                <a:lnTo>
                  <a:pt x="4623" y="5938"/>
                </a:lnTo>
                <a:lnTo>
                  <a:pt x="2385" y="5938"/>
                </a:lnTo>
                <a:lnTo>
                  <a:pt x="2117" y="5962"/>
                </a:lnTo>
                <a:lnTo>
                  <a:pt x="1874" y="6011"/>
                </a:lnTo>
                <a:lnTo>
                  <a:pt x="1849" y="5889"/>
                </a:lnTo>
                <a:lnTo>
                  <a:pt x="1849" y="5768"/>
                </a:lnTo>
                <a:lnTo>
                  <a:pt x="1801" y="5524"/>
                </a:lnTo>
                <a:lnTo>
                  <a:pt x="1655" y="4332"/>
                </a:lnTo>
                <a:lnTo>
                  <a:pt x="1606" y="3724"/>
                </a:lnTo>
                <a:lnTo>
                  <a:pt x="1557" y="3091"/>
                </a:lnTo>
                <a:lnTo>
                  <a:pt x="1557" y="2848"/>
                </a:lnTo>
                <a:lnTo>
                  <a:pt x="1533" y="2580"/>
                </a:lnTo>
                <a:lnTo>
                  <a:pt x="1874" y="2629"/>
                </a:lnTo>
                <a:lnTo>
                  <a:pt x="2214" y="2653"/>
                </a:lnTo>
                <a:lnTo>
                  <a:pt x="2920" y="2653"/>
                </a:lnTo>
                <a:lnTo>
                  <a:pt x="3626" y="2629"/>
                </a:lnTo>
                <a:lnTo>
                  <a:pt x="4283" y="2580"/>
                </a:lnTo>
                <a:lnTo>
                  <a:pt x="5110" y="2556"/>
                </a:lnTo>
                <a:close/>
                <a:moveTo>
                  <a:pt x="8468" y="6352"/>
                </a:moveTo>
                <a:lnTo>
                  <a:pt x="8200" y="6449"/>
                </a:lnTo>
                <a:lnTo>
                  <a:pt x="7835" y="6644"/>
                </a:lnTo>
                <a:lnTo>
                  <a:pt x="7665" y="6765"/>
                </a:lnTo>
                <a:lnTo>
                  <a:pt x="7494" y="6887"/>
                </a:lnTo>
                <a:lnTo>
                  <a:pt x="7470" y="6619"/>
                </a:lnTo>
                <a:lnTo>
                  <a:pt x="7421" y="6352"/>
                </a:lnTo>
                <a:close/>
                <a:moveTo>
                  <a:pt x="8735" y="6644"/>
                </a:moveTo>
                <a:lnTo>
                  <a:pt x="8735" y="6692"/>
                </a:lnTo>
                <a:lnTo>
                  <a:pt x="8735" y="6960"/>
                </a:lnTo>
                <a:lnTo>
                  <a:pt x="8103" y="6936"/>
                </a:lnTo>
                <a:lnTo>
                  <a:pt x="8030" y="6936"/>
                </a:lnTo>
                <a:lnTo>
                  <a:pt x="8200" y="6863"/>
                </a:lnTo>
                <a:lnTo>
                  <a:pt x="8735" y="6644"/>
                </a:lnTo>
                <a:close/>
                <a:moveTo>
                  <a:pt x="3942" y="7301"/>
                </a:moveTo>
                <a:lnTo>
                  <a:pt x="4331" y="7325"/>
                </a:lnTo>
                <a:lnTo>
                  <a:pt x="5061" y="7374"/>
                </a:lnTo>
                <a:lnTo>
                  <a:pt x="5864" y="7422"/>
                </a:lnTo>
                <a:lnTo>
                  <a:pt x="6667" y="7447"/>
                </a:lnTo>
                <a:lnTo>
                  <a:pt x="8297" y="7471"/>
                </a:lnTo>
                <a:lnTo>
                  <a:pt x="8833" y="7495"/>
                </a:lnTo>
                <a:lnTo>
                  <a:pt x="8930" y="7520"/>
                </a:lnTo>
                <a:lnTo>
                  <a:pt x="9052" y="7495"/>
                </a:lnTo>
                <a:lnTo>
                  <a:pt x="11607" y="7593"/>
                </a:lnTo>
                <a:lnTo>
                  <a:pt x="12361" y="7617"/>
                </a:lnTo>
                <a:lnTo>
                  <a:pt x="13115" y="7593"/>
                </a:lnTo>
                <a:lnTo>
                  <a:pt x="13870" y="7568"/>
                </a:lnTo>
                <a:lnTo>
                  <a:pt x="14624" y="7568"/>
                </a:lnTo>
                <a:lnTo>
                  <a:pt x="14600" y="7739"/>
                </a:lnTo>
                <a:lnTo>
                  <a:pt x="14575" y="7933"/>
                </a:lnTo>
                <a:lnTo>
                  <a:pt x="14575" y="8298"/>
                </a:lnTo>
                <a:lnTo>
                  <a:pt x="14624" y="8980"/>
                </a:lnTo>
                <a:lnTo>
                  <a:pt x="14697" y="9539"/>
                </a:lnTo>
                <a:lnTo>
                  <a:pt x="14746" y="10123"/>
                </a:lnTo>
                <a:lnTo>
                  <a:pt x="14770" y="10391"/>
                </a:lnTo>
                <a:lnTo>
                  <a:pt x="14794" y="10659"/>
                </a:lnTo>
                <a:lnTo>
                  <a:pt x="13310" y="10707"/>
                </a:lnTo>
                <a:lnTo>
                  <a:pt x="11826" y="10780"/>
                </a:lnTo>
                <a:lnTo>
                  <a:pt x="10341" y="10829"/>
                </a:lnTo>
                <a:lnTo>
                  <a:pt x="9587" y="10853"/>
                </a:lnTo>
                <a:lnTo>
                  <a:pt x="8833" y="10829"/>
                </a:lnTo>
                <a:lnTo>
                  <a:pt x="7178" y="10780"/>
                </a:lnTo>
                <a:lnTo>
                  <a:pt x="6327" y="10780"/>
                </a:lnTo>
                <a:lnTo>
                  <a:pt x="5499" y="10804"/>
                </a:lnTo>
                <a:lnTo>
                  <a:pt x="4088" y="10853"/>
                </a:lnTo>
                <a:lnTo>
                  <a:pt x="3358" y="10902"/>
                </a:lnTo>
                <a:lnTo>
                  <a:pt x="3017" y="10926"/>
                </a:lnTo>
                <a:lnTo>
                  <a:pt x="2677" y="10999"/>
                </a:lnTo>
                <a:lnTo>
                  <a:pt x="2677" y="10926"/>
                </a:lnTo>
                <a:lnTo>
                  <a:pt x="2652" y="10853"/>
                </a:lnTo>
                <a:lnTo>
                  <a:pt x="2604" y="10804"/>
                </a:lnTo>
                <a:lnTo>
                  <a:pt x="2531" y="10756"/>
                </a:lnTo>
                <a:lnTo>
                  <a:pt x="2239" y="10586"/>
                </a:lnTo>
                <a:lnTo>
                  <a:pt x="1947" y="10391"/>
                </a:lnTo>
                <a:lnTo>
                  <a:pt x="1411" y="10002"/>
                </a:lnTo>
                <a:lnTo>
                  <a:pt x="1168" y="9807"/>
                </a:lnTo>
                <a:lnTo>
                  <a:pt x="925" y="9612"/>
                </a:lnTo>
                <a:lnTo>
                  <a:pt x="681" y="9393"/>
                </a:lnTo>
                <a:lnTo>
                  <a:pt x="438" y="9199"/>
                </a:lnTo>
                <a:lnTo>
                  <a:pt x="633" y="9028"/>
                </a:lnTo>
                <a:lnTo>
                  <a:pt x="1338" y="8396"/>
                </a:lnTo>
                <a:lnTo>
                  <a:pt x="1703" y="8104"/>
                </a:lnTo>
                <a:lnTo>
                  <a:pt x="2068" y="7812"/>
                </a:lnTo>
                <a:lnTo>
                  <a:pt x="2336" y="7641"/>
                </a:lnTo>
                <a:lnTo>
                  <a:pt x="2458" y="7568"/>
                </a:lnTo>
                <a:lnTo>
                  <a:pt x="2579" y="7447"/>
                </a:lnTo>
                <a:lnTo>
                  <a:pt x="2604" y="7374"/>
                </a:lnTo>
                <a:lnTo>
                  <a:pt x="2847" y="7374"/>
                </a:lnTo>
                <a:lnTo>
                  <a:pt x="3115" y="7349"/>
                </a:lnTo>
                <a:lnTo>
                  <a:pt x="3577" y="7301"/>
                </a:lnTo>
                <a:close/>
                <a:moveTo>
                  <a:pt x="7446" y="11242"/>
                </a:moveTo>
                <a:lnTo>
                  <a:pt x="8541" y="11291"/>
                </a:lnTo>
                <a:lnTo>
                  <a:pt x="8395" y="11364"/>
                </a:lnTo>
                <a:lnTo>
                  <a:pt x="8249" y="11461"/>
                </a:lnTo>
                <a:lnTo>
                  <a:pt x="7981" y="11632"/>
                </a:lnTo>
                <a:lnTo>
                  <a:pt x="7567" y="11851"/>
                </a:lnTo>
                <a:lnTo>
                  <a:pt x="7519" y="11534"/>
                </a:lnTo>
                <a:lnTo>
                  <a:pt x="7494" y="11388"/>
                </a:lnTo>
                <a:lnTo>
                  <a:pt x="7446" y="11242"/>
                </a:lnTo>
                <a:close/>
                <a:moveTo>
                  <a:pt x="8784" y="11632"/>
                </a:moveTo>
                <a:lnTo>
                  <a:pt x="8735" y="12094"/>
                </a:lnTo>
                <a:lnTo>
                  <a:pt x="8541" y="12167"/>
                </a:lnTo>
                <a:lnTo>
                  <a:pt x="8370" y="12264"/>
                </a:lnTo>
                <a:lnTo>
                  <a:pt x="8005" y="12459"/>
                </a:lnTo>
                <a:lnTo>
                  <a:pt x="7762" y="12581"/>
                </a:lnTo>
                <a:lnTo>
                  <a:pt x="7640" y="12678"/>
                </a:lnTo>
                <a:lnTo>
                  <a:pt x="7543" y="12751"/>
                </a:lnTo>
                <a:lnTo>
                  <a:pt x="7543" y="12678"/>
                </a:lnTo>
                <a:lnTo>
                  <a:pt x="7567" y="12216"/>
                </a:lnTo>
                <a:lnTo>
                  <a:pt x="7713" y="12167"/>
                </a:lnTo>
                <a:lnTo>
                  <a:pt x="7859" y="12118"/>
                </a:lnTo>
                <a:lnTo>
                  <a:pt x="8103" y="11997"/>
                </a:lnTo>
                <a:lnTo>
                  <a:pt x="8443" y="11826"/>
                </a:lnTo>
                <a:lnTo>
                  <a:pt x="8614" y="11729"/>
                </a:lnTo>
                <a:lnTo>
                  <a:pt x="8784" y="11632"/>
                </a:lnTo>
                <a:close/>
                <a:moveTo>
                  <a:pt x="8735" y="12581"/>
                </a:moveTo>
                <a:lnTo>
                  <a:pt x="8735" y="13189"/>
                </a:lnTo>
                <a:lnTo>
                  <a:pt x="8662" y="13165"/>
                </a:lnTo>
                <a:lnTo>
                  <a:pt x="8565" y="13165"/>
                </a:lnTo>
                <a:lnTo>
                  <a:pt x="8468" y="13189"/>
                </a:lnTo>
                <a:lnTo>
                  <a:pt x="8249" y="13262"/>
                </a:lnTo>
                <a:lnTo>
                  <a:pt x="8054" y="13384"/>
                </a:lnTo>
                <a:lnTo>
                  <a:pt x="7859" y="13481"/>
                </a:lnTo>
                <a:lnTo>
                  <a:pt x="7665" y="13627"/>
                </a:lnTo>
                <a:lnTo>
                  <a:pt x="7446" y="13797"/>
                </a:lnTo>
                <a:lnTo>
                  <a:pt x="7494" y="13140"/>
                </a:lnTo>
                <a:lnTo>
                  <a:pt x="7665" y="13116"/>
                </a:lnTo>
                <a:lnTo>
                  <a:pt x="7835" y="13043"/>
                </a:lnTo>
                <a:lnTo>
                  <a:pt x="8151" y="12873"/>
                </a:lnTo>
                <a:lnTo>
                  <a:pt x="8735" y="12581"/>
                </a:lnTo>
                <a:close/>
                <a:moveTo>
                  <a:pt x="8735" y="13578"/>
                </a:moveTo>
                <a:lnTo>
                  <a:pt x="8735" y="14138"/>
                </a:lnTo>
                <a:lnTo>
                  <a:pt x="8541" y="14211"/>
                </a:lnTo>
                <a:lnTo>
                  <a:pt x="8346" y="14284"/>
                </a:lnTo>
                <a:lnTo>
                  <a:pt x="7981" y="14454"/>
                </a:lnTo>
                <a:lnTo>
                  <a:pt x="7689" y="14576"/>
                </a:lnTo>
                <a:lnTo>
                  <a:pt x="7543" y="14673"/>
                </a:lnTo>
                <a:lnTo>
                  <a:pt x="7421" y="14746"/>
                </a:lnTo>
                <a:lnTo>
                  <a:pt x="7421" y="14454"/>
                </a:lnTo>
                <a:lnTo>
                  <a:pt x="7421" y="14138"/>
                </a:lnTo>
                <a:lnTo>
                  <a:pt x="7567" y="14089"/>
                </a:lnTo>
                <a:lnTo>
                  <a:pt x="7738" y="14016"/>
                </a:lnTo>
                <a:lnTo>
                  <a:pt x="8005" y="13870"/>
                </a:lnTo>
                <a:lnTo>
                  <a:pt x="8176" y="13773"/>
                </a:lnTo>
                <a:lnTo>
                  <a:pt x="8370" y="13724"/>
                </a:lnTo>
                <a:lnTo>
                  <a:pt x="8735" y="13578"/>
                </a:lnTo>
                <a:close/>
                <a:moveTo>
                  <a:pt x="8735" y="14625"/>
                </a:moveTo>
                <a:lnTo>
                  <a:pt x="8735" y="15014"/>
                </a:lnTo>
                <a:lnTo>
                  <a:pt x="8687" y="15038"/>
                </a:lnTo>
                <a:lnTo>
                  <a:pt x="7908" y="15501"/>
                </a:lnTo>
                <a:lnTo>
                  <a:pt x="7689" y="15598"/>
                </a:lnTo>
                <a:lnTo>
                  <a:pt x="7446" y="15720"/>
                </a:lnTo>
                <a:lnTo>
                  <a:pt x="7421" y="15087"/>
                </a:lnTo>
                <a:lnTo>
                  <a:pt x="7592" y="15063"/>
                </a:lnTo>
                <a:lnTo>
                  <a:pt x="7738" y="15014"/>
                </a:lnTo>
                <a:lnTo>
                  <a:pt x="8054" y="14892"/>
                </a:lnTo>
                <a:lnTo>
                  <a:pt x="8735" y="14625"/>
                </a:lnTo>
                <a:close/>
                <a:moveTo>
                  <a:pt x="8711" y="15452"/>
                </a:moveTo>
                <a:lnTo>
                  <a:pt x="8711" y="16231"/>
                </a:lnTo>
                <a:lnTo>
                  <a:pt x="8419" y="16328"/>
                </a:lnTo>
                <a:lnTo>
                  <a:pt x="8151" y="16425"/>
                </a:lnTo>
                <a:lnTo>
                  <a:pt x="7811" y="16523"/>
                </a:lnTo>
                <a:lnTo>
                  <a:pt x="7494" y="16620"/>
                </a:lnTo>
                <a:lnTo>
                  <a:pt x="7470" y="16012"/>
                </a:lnTo>
                <a:lnTo>
                  <a:pt x="7567" y="16012"/>
                </a:lnTo>
                <a:lnTo>
                  <a:pt x="7689" y="15963"/>
                </a:lnTo>
                <a:lnTo>
                  <a:pt x="7908" y="15890"/>
                </a:lnTo>
                <a:lnTo>
                  <a:pt x="8322" y="15671"/>
                </a:lnTo>
                <a:lnTo>
                  <a:pt x="8711" y="15452"/>
                </a:lnTo>
                <a:close/>
                <a:moveTo>
                  <a:pt x="8687" y="16717"/>
                </a:moveTo>
                <a:lnTo>
                  <a:pt x="8687" y="17082"/>
                </a:lnTo>
                <a:lnTo>
                  <a:pt x="8687" y="17107"/>
                </a:lnTo>
                <a:lnTo>
                  <a:pt x="8346" y="17228"/>
                </a:lnTo>
                <a:lnTo>
                  <a:pt x="8005" y="17399"/>
                </a:lnTo>
                <a:lnTo>
                  <a:pt x="7543" y="17593"/>
                </a:lnTo>
                <a:lnTo>
                  <a:pt x="7519" y="17009"/>
                </a:lnTo>
                <a:lnTo>
                  <a:pt x="7689" y="17009"/>
                </a:lnTo>
                <a:lnTo>
                  <a:pt x="7859" y="16961"/>
                </a:lnTo>
                <a:lnTo>
                  <a:pt x="8176" y="16888"/>
                </a:lnTo>
                <a:lnTo>
                  <a:pt x="8687" y="16717"/>
                </a:lnTo>
                <a:close/>
                <a:moveTo>
                  <a:pt x="8687" y="17545"/>
                </a:moveTo>
                <a:lnTo>
                  <a:pt x="8687" y="18250"/>
                </a:lnTo>
                <a:lnTo>
                  <a:pt x="8370" y="18275"/>
                </a:lnTo>
                <a:lnTo>
                  <a:pt x="8054" y="18299"/>
                </a:lnTo>
                <a:lnTo>
                  <a:pt x="7835" y="18323"/>
                </a:lnTo>
                <a:lnTo>
                  <a:pt x="7592" y="18348"/>
                </a:lnTo>
                <a:lnTo>
                  <a:pt x="7543" y="18372"/>
                </a:lnTo>
                <a:lnTo>
                  <a:pt x="7543" y="18031"/>
                </a:lnTo>
                <a:lnTo>
                  <a:pt x="7689" y="17983"/>
                </a:lnTo>
                <a:lnTo>
                  <a:pt x="7811" y="17934"/>
                </a:lnTo>
                <a:lnTo>
                  <a:pt x="8078" y="17812"/>
                </a:lnTo>
                <a:lnTo>
                  <a:pt x="8687" y="17545"/>
                </a:lnTo>
                <a:close/>
                <a:moveTo>
                  <a:pt x="8078" y="1"/>
                </a:moveTo>
                <a:lnTo>
                  <a:pt x="7884" y="25"/>
                </a:lnTo>
                <a:lnTo>
                  <a:pt x="7713" y="74"/>
                </a:lnTo>
                <a:lnTo>
                  <a:pt x="7567" y="171"/>
                </a:lnTo>
                <a:lnTo>
                  <a:pt x="7446" y="269"/>
                </a:lnTo>
                <a:lnTo>
                  <a:pt x="7324" y="390"/>
                </a:lnTo>
                <a:lnTo>
                  <a:pt x="7227" y="536"/>
                </a:lnTo>
                <a:lnTo>
                  <a:pt x="7154" y="682"/>
                </a:lnTo>
                <a:lnTo>
                  <a:pt x="7081" y="853"/>
                </a:lnTo>
                <a:lnTo>
                  <a:pt x="7032" y="1023"/>
                </a:lnTo>
                <a:lnTo>
                  <a:pt x="6959" y="1388"/>
                </a:lnTo>
                <a:lnTo>
                  <a:pt x="6935" y="1753"/>
                </a:lnTo>
                <a:lnTo>
                  <a:pt x="6959" y="2118"/>
                </a:lnTo>
                <a:lnTo>
                  <a:pt x="6959" y="2118"/>
                </a:lnTo>
                <a:lnTo>
                  <a:pt x="5816" y="2094"/>
                </a:lnTo>
                <a:lnTo>
                  <a:pt x="4672" y="2094"/>
                </a:lnTo>
                <a:lnTo>
                  <a:pt x="2993" y="2167"/>
                </a:lnTo>
                <a:lnTo>
                  <a:pt x="1801" y="2167"/>
                </a:lnTo>
                <a:lnTo>
                  <a:pt x="1387" y="2191"/>
                </a:lnTo>
                <a:lnTo>
                  <a:pt x="1338" y="2191"/>
                </a:lnTo>
                <a:lnTo>
                  <a:pt x="1290" y="2215"/>
                </a:lnTo>
                <a:lnTo>
                  <a:pt x="1290" y="2240"/>
                </a:lnTo>
                <a:lnTo>
                  <a:pt x="1217" y="2288"/>
                </a:lnTo>
                <a:lnTo>
                  <a:pt x="1192" y="2361"/>
                </a:lnTo>
                <a:lnTo>
                  <a:pt x="1119" y="2556"/>
                </a:lnTo>
                <a:lnTo>
                  <a:pt x="1071" y="2775"/>
                </a:lnTo>
                <a:lnTo>
                  <a:pt x="1046" y="3018"/>
                </a:lnTo>
                <a:lnTo>
                  <a:pt x="1046" y="3261"/>
                </a:lnTo>
                <a:lnTo>
                  <a:pt x="1071" y="3748"/>
                </a:lnTo>
                <a:lnTo>
                  <a:pt x="1119" y="4162"/>
                </a:lnTo>
                <a:lnTo>
                  <a:pt x="1168" y="4770"/>
                </a:lnTo>
                <a:lnTo>
                  <a:pt x="1241" y="5378"/>
                </a:lnTo>
                <a:lnTo>
                  <a:pt x="1265" y="5622"/>
                </a:lnTo>
                <a:lnTo>
                  <a:pt x="1290" y="5889"/>
                </a:lnTo>
                <a:lnTo>
                  <a:pt x="1314" y="6011"/>
                </a:lnTo>
                <a:lnTo>
                  <a:pt x="1338" y="6133"/>
                </a:lnTo>
                <a:lnTo>
                  <a:pt x="1411" y="6230"/>
                </a:lnTo>
                <a:lnTo>
                  <a:pt x="1484" y="6303"/>
                </a:lnTo>
                <a:lnTo>
                  <a:pt x="1557" y="6352"/>
                </a:lnTo>
                <a:lnTo>
                  <a:pt x="1630" y="6352"/>
                </a:lnTo>
                <a:lnTo>
                  <a:pt x="1703" y="6327"/>
                </a:lnTo>
                <a:lnTo>
                  <a:pt x="1776" y="6279"/>
                </a:lnTo>
                <a:lnTo>
                  <a:pt x="1801" y="6254"/>
                </a:lnTo>
                <a:lnTo>
                  <a:pt x="2020" y="6303"/>
                </a:lnTo>
                <a:lnTo>
                  <a:pt x="2239" y="6327"/>
                </a:lnTo>
                <a:lnTo>
                  <a:pt x="2701" y="6352"/>
                </a:lnTo>
                <a:lnTo>
                  <a:pt x="4429" y="6376"/>
                </a:lnTo>
                <a:lnTo>
                  <a:pt x="6959" y="6352"/>
                </a:lnTo>
                <a:lnTo>
                  <a:pt x="6984" y="6595"/>
                </a:lnTo>
                <a:lnTo>
                  <a:pt x="7008" y="6911"/>
                </a:lnTo>
                <a:lnTo>
                  <a:pt x="5962" y="6887"/>
                </a:lnTo>
                <a:lnTo>
                  <a:pt x="4891" y="6838"/>
                </a:lnTo>
                <a:lnTo>
                  <a:pt x="4161" y="6814"/>
                </a:lnTo>
                <a:lnTo>
                  <a:pt x="3163" y="6814"/>
                </a:lnTo>
                <a:lnTo>
                  <a:pt x="2896" y="6863"/>
                </a:lnTo>
                <a:lnTo>
                  <a:pt x="2628" y="6936"/>
                </a:lnTo>
                <a:lnTo>
                  <a:pt x="2506" y="6984"/>
                </a:lnTo>
                <a:lnTo>
                  <a:pt x="2409" y="7057"/>
                </a:lnTo>
                <a:lnTo>
                  <a:pt x="2360" y="7033"/>
                </a:lnTo>
                <a:lnTo>
                  <a:pt x="2263" y="7033"/>
                </a:lnTo>
                <a:lnTo>
                  <a:pt x="2190" y="7057"/>
                </a:lnTo>
                <a:lnTo>
                  <a:pt x="1995" y="7130"/>
                </a:lnTo>
                <a:lnTo>
                  <a:pt x="1825" y="7228"/>
                </a:lnTo>
                <a:lnTo>
                  <a:pt x="1630" y="7374"/>
                </a:lnTo>
                <a:lnTo>
                  <a:pt x="1290" y="7666"/>
                </a:lnTo>
                <a:lnTo>
                  <a:pt x="1022" y="7933"/>
                </a:lnTo>
                <a:lnTo>
                  <a:pt x="681" y="8250"/>
                </a:lnTo>
                <a:lnTo>
                  <a:pt x="365" y="8590"/>
                </a:lnTo>
                <a:lnTo>
                  <a:pt x="243" y="8712"/>
                </a:lnTo>
                <a:lnTo>
                  <a:pt x="122" y="8858"/>
                </a:lnTo>
                <a:lnTo>
                  <a:pt x="24" y="9004"/>
                </a:lnTo>
                <a:lnTo>
                  <a:pt x="0" y="9077"/>
                </a:lnTo>
                <a:lnTo>
                  <a:pt x="0" y="9174"/>
                </a:lnTo>
                <a:lnTo>
                  <a:pt x="0" y="9199"/>
                </a:lnTo>
                <a:lnTo>
                  <a:pt x="0" y="9247"/>
                </a:lnTo>
                <a:lnTo>
                  <a:pt x="0" y="9320"/>
                </a:lnTo>
                <a:lnTo>
                  <a:pt x="73" y="9466"/>
                </a:lnTo>
                <a:lnTo>
                  <a:pt x="170" y="9612"/>
                </a:lnTo>
                <a:lnTo>
                  <a:pt x="292" y="9758"/>
                </a:lnTo>
                <a:lnTo>
                  <a:pt x="414" y="9904"/>
                </a:lnTo>
                <a:lnTo>
                  <a:pt x="681" y="10148"/>
                </a:lnTo>
                <a:lnTo>
                  <a:pt x="949" y="10367"/>
                </a:lnTo>
                <a:lnTo>
                  <a:pt x="1265" y="10610"/>
                </a:lnTo>
                <a:lnTo>
                  <a:pt x="1582" y="10829"/>
                </a:lnTo>
                <a:lnTo>
                  <a:pt x="1922" y="11048"/>
                </a:lnTo>
                <a:lnTo>
                  <a:pt x="2239" y="11242"/>
                </a:lnTo>
                <a:lnTo>
                  <a:pt x="2312" y="11267"/>
                </a:lnTo>
                <a:lnTo>
                  <a:pt x="2385" y="11267"/>
                </a:lnTo>
                <a:lnTo>
                  <a:pt x="2750" y="11340"/>
                </a:lnTo>
                <a:lnTo>
                  <a:pt x="3139" y="11388"/>
                </a:lnTo>
                <a:lnTo>
                  <a:pt x="3528" y="11388"/>
                </a:lnTo>
                <a:lnTo>
                  <a:pt x="3918" y="11364"/>
                </a:lnTo>
                <a:lnTo>
                  <a:pt x="4721" y="11315"/>
                </a:lnTo>
                <a:lnTo>
                  <a:pt x="5499" y="11267"/>
                </a:lnTo>
                <a:lnTo>
                  <a:pt x="6278" y="11242"/>
                </a:lnTo>
                <a:lnTo>
                  <a:pt x="7081" y="11242"/>
                </a:lnTo>
                <a:lnTo>
                  <a:pt x="7081" y="11607"/>
                </a:lnTo>
                <a:lnTo>
                  <a:pt x="7081" y="11972"/>
                </a:lnTo>
                <a:lnTo>
                  <a:pt x="7081" y="12313"/>
                </a:lnTo>
                <a:lnTo>
                  <a:pt x="7057" y="12678"/>
                </a:lnTo>
                <a:lnTo>
                  <a:pt x="6984" y="13578"/>
                </a:lnTo>
                <a:lnTo>
                  <a:pt x="6935" y="14016"/>
                </a:lnTo>
                <a:lnTo>
                  <a:pt x="6911" y="14454"/>
                </a:lnTo>
                <a:lnTo>
                  <a:pt x="6911" y="15476"/>
                </a:lnTo>
                <a:lnTo>
                  <a:pt x="6959" y="16498"/>
                </a:lnTo>
                <a:lnTo>
                  <a:pt x="7057" y="18542"/>
                </a:lnTo>
                <a:lnTo>
                  <a:pt x="7057" y="18615"/>
                </a:lnTo>
                <a:lnTo>
                  <a:pt x="7081" y="18688"/>
                </a:lnTo>
                <a:lnTo>
                  <a:pt x="7130" y="18737"/>
                </a:lnTo>
                <a:lnTo>
                  <a:pt x="7203" y="18761"/>
                </a:lnTo>
                <a:lnTo>
                  <a:pt x="7251" y="18786"/>
                </a:lnTo>
                <a:lnTo>
                  <a:pt x="7324" y="18786"/>
                </a:lnTo>
                <a:lnTo>
                  <a:pt x="7373" y="18761"/>
                </a:lnTo>
                <a:lnTo>
                  <a:pt x="7446" y="18737"/>
                </a:lnTo>
                <a:lnTo>
                  <a:pt x="7519" y="18786"/>
                </a:lnTo>
                <a:lnTo>
                  <a:pt x="7640" y="18810"/>
                </a:lnTo>
                <a:lnTo>
                  <a:pt x="8662" y="18810"/>
                </a:lnTo>
                <a:lnTo>
                  <a:pt x="8954" y="18786"/>
                </a:lnTo>
                <a:lnTo>
                  <a:pt x="9003" y="18786"/>
                </a:lnTo>
                <a:lnTo>
                  <a:pt x="9076" y="18761"/>
                </a:lnTo>
                <a:lnTo>
                  <a:pt x="9149" y="18664"/>
                </a:lnTo>
                <a:lnTo>
                  <a:pt x="9198" y="18542"/>
                </a:lnTo>
                <a:lnTo>
                  <a:pt x="9198" y="18421"/>
                </a:lnTo>
                <a:lnTo>
                  <a:pt x="9198" y="18323"/>
                </a:lnTo>
                <a:lnTo>
                  <a:pt x="9222" y="16547"/>
                </a:lnTo>
                <a:lnTo>
                  <a:pt x="9246" y="14771"/>
                </a:lnTo>
                <a:lnTo>
                  <a:pt x="9271" y="12946"/>
                </a:lnTo>
                <a:lnTo>
                  <a:pt x="9295" y="12118"/>
                </a:lnTo>
                <a:lnTo>
                  <a:pt x="9271" y="11729"/>
                </a:lnTo>
                <a:lnTo>
                  <a:pt x="9246" y="11315"/>
                </a:lnTo>
                <a:lnTo>
                  <a:pt x="10682" y="11315"/>
                </a:lnTo>
                <a:lnTo>
                  <a:pt x="12142" y="11267"/>
                </a:lnTo>
                <a:lnTo>
                  <a:pt x="13578" y="11194"/>
                </a:lnTo>
                <a:lnTo>
                  <a:pt x="14283" y="11169"/>
                </a:lnTo>
                <a:lnTo>
                  <a:pt x="15013" y="11169"/>
                </a:lnTo>
                <a:lnTo>
                  <a:pt x="15135" y="11145"/>
                </a:lnTo>
                <a:lnTo>
                  <a:pt x="15208" y="11072"/>
                </a:lnTo>
                <a:lnTo>
                  <a:pt x="15257" y="10999"/>
                </a:lnTo>
                <a:lnTo>
                  <a:pt x="15257" y="10902"/>
                </a:lnTo>
                <a:lnTo>
                  <a:pt x="15305" y="10731"/>
                </a:lnTo>
                <a:lnTo>
                  <a:pt x="15305" y="10586"/>
                </a:lnTo>
                <a:lnTo>
                  <a:pt x="15281" y="10245"/>
                </a:lnTo>
                <a:lnTo>
                  <a:pt x="15135" y="9126"/>
                </a:lnTo>
                <a:lnTo>
                  <a:pt x="15086" y="8615"/>
                </a:lnTo>
                <a:lnTo>
                  <a:pt x="15086" y="8104"/>
                </a:lnTo>
                <a:lnTo>
                  <a:pt x="15086" y="7933"/>
                </a:lnTo>
                <a:lnTo>
                  <a:pt x="15111" y="7739"/>
                </a:lnTo>
                <a:lnTo>
                  <a:pt x="15135" y="7568"/>
                </a:lnTo>
                <a:lnTo>
                  <a:pt x="15135" y="7374"/>
                </a:lnTo>
                <a:lnTo>
                  <a:pt x="15135" y="7276"/>
                </a:lnTo>
                <a:lnTo>
                  <a:pt x="15111" y="7179"/>
                </a:lnTo>
                <a:lnTo>
                  <a:pt x="15086" y="7130"/>
                </a:lnTo>
                <a:lnTo>
                  <a:pt x="15038" y="7106"/>
                </a:lnTo>
                <a:lnTo>
                  <a:pt x="14965" y="7057"/>
                </a:lnTo>
                <a:lnTo>
                  <a:pt x="14892" y="7033"/>
                </a:lnTo>
                <a:lnTo>
                  <a:pt x="14064" y="7033"/>
                </a:lnTo>
                <a:lnTo>
                  <a:pt x="13237" y="7057"/>
                </a:lnTo>
                <a:lnTo>
                  <a:pt x="12434" y="7082"/>
                </a:lnTo>
                <a:lnTo>
                  <a:pt x="11607" y="7082"/>
                </a:lnTo>
                <a:lnTo>
                  <a:pt x="9246" y="6984"/>
                </a:lnTo>
                <a:lnTo>
                  <a:pt x="9246" y="6765"/>
                </a:lnTo>
                <a:lnTo>
                  <a:pt x="9246" y="6571"/>
                </a:lnTo>
                <a:lnTo>
                  <a:pt x="9198" y="6352"/>
                </a:lnTo>
                <a:lnTo>
                  <a:pt x="9222" y="6327"/>
                </a:lnTo>
                <a:lnTo>
                  <a:pt x="10925" y="6303"/>
                </a:lnTo>
                <a:lnTo>
                  <a:pt x="12556" y="6303"/>
                </a:lnTo>
                <a:lnTo>
                  <a:pt x="14186" y="6376"/>
                </a:lnTo>
                <a:lnTo>
                  <a:pt x="14259" y="6376"/>
                </a:lnTo>
                <a:lnTo>
                  <a:pt x="14308" y="6352"/>
                </a:lnTo>
                <a:lnTo>
                  <a:pt x="14381" y="6279"/>
                </a:lnTo>
                <a:lnTo>
                  <a:pt x="14405" y="6206"/>
                </a:lnTo>
                <a:lnTo>
                  <a:pt x="14405" y="6108"/>
                </a:lnTo>
                <a:lnTo>
                  <a:pt x="14575" y="5962"/>
                </a:lnTo>
                <a:lnTo>
                  <a:pt x="14940" y="5670"/>
                </a:lnTo>
                <a:lnTo>
                  <a:pt x="15329" y="5427"/>
                </a:lnTo>
                <a:lnTo>
                  <a:pt x="15597" y="5232"/>
                </a:lnTo>
                <a:lnTo>
                  <a:pt x="15913" y="4965"/>
                </a:lnTo>
                <a:lnTo>
                  <a:pt x="16059" y="4819"/>
                </a:lnTo>
                <a:lnTo>
                  <a:pt x="16181" y="4673"/>
                </a:lnTo>
                <a:lnTo>
                  <a:pt x="16254" y="4502"/>
                </a:lnTo>
                <a:lnTo>
                  <a:pt x="16254" y="4429"/>
                </a:lnTo>
                <a:lnTo>
                  <a:pt x="16254" y="4356"/>
                </a:lnTo>
                <a:lnTo>
                  <a:pt x="16278" y="4283"/>
                </a:lnTo>
                <a:lnTo>
                  <a:pt x="16278" y="4210"/>
                </a:lnTo>
                <a:lnTo>
                  <a:pt x="16230" y="4064"/>
                </a:lnTo>
                <a:lnTo>
                  <a:pt x="16132" y="3894"/>
                </a:lnTo>
                <a:lnTo>
                  <a:pt x="16011" y="3724"/>
                </a:lnTo>
                <a:lnTo>
                  <a:pt x="15743" y="3432"/>
                </a:lnTo>
                <a:lnTo>
                  <a:pt x="15524" y="3213"/>
                </a:lnTo>
                <a:lnTo>
                  <a:pt x="15135" y="2848"/>
                </a:lnTo>
                <a:lnTo>
                  <a:pt x="14746" y="2532"/>
                </a:lnTo>
                <a:lnTo>
                  <a:pt x="14478" y="2288"/>
                </a:lnTo>
                <a:lnTo>
                  <a:pt x="14308" y="2215"/>
                </a:lnTo>
                <a:lnTo>
                  <a:pt x="14235" y="2167"/>
                </a:lnTo>
                <a:lnTo>
                  <a:pt x="14162" y="2167"/>
                </a:lnTo>
                <a:lnTo>
                  <a:pt x="14089" y="2118"/>
                </a:lnTo>
                <a:lnTo>
                  <a:pt x="14016" y="2118"/>
                </a:lnTo>
                <a:lnTo>
                  <a:pt x="13237" y="2142"/>
                </a:lnTo>
                <a:lnTo>
                  <a:pt x="12483" y="2167"/>
                </a:lnTo>
                <a:lnTo>
                  <a:pt x="11704" y="2215"/>
                </a:lnTo>
                <a:lnTo>
                  <a:pt x="10950" y="2240"/>
                </a:lnTo>
                <a:lnTo>
                  <a:pt x="10171" y="2240"/>
                </a:lnTo>
                <a:lnTo>
                  <a:pt x="9392" y="2215"/>
                </a:lnTo>
                <a:lnTo>
                  <a:pt x="9441" y="2069"/>
                </a:lnTo>
                <a:lnTo>
                  <a:pt x="9465" y="1899"/>
                </a:lnTo>
                <a:lnTo>
                  <a:pt x="9465" y="1558"/>
                </a:lnTo>
                <a:lnTo>
                  <a:pt x="9417" y="1218"/>
                </a:lnTo>
                <a:lnTo>
                  <a:pt x="9368" y="950"/>
                </a:lnTo>
                <a:lnTo>
                  <a:pt x="9295" y="755"/>
                </a:lnTo>
                <a:lnTo>
                  <a:pt x="9222" y="561"/>
                </a:lnTo>
                <a:lnTo>
                  <a:pt x="9125" y="415"/>
                </a:lnTo>
                <a:lnTo>
                  <a:pt x="8979" y="293"/>
                </a:lnTo>
                <a:lnTo>
                  <a:pt x="8833" y="196"/>
                </a:lnTo>
                <a:lnTo>
                  <a:pt x="8662" y="98"/>
                </a:lnTo>
                <a:lnTo>
                  <a:pt x="8492" y="50"/>
                </a:lnTo>
                <a:lnTo>
                  <a:pt x="8297" y="1"/>
                </a:lnTo>
                <a:close/>
              </a:path>
            </a:pathLst>
          </a:custGeom>
          <a:solidFill>
            <a:srgbClr val="273F68"/>
          </a:solidFill>
          <a:ln>
            <a:noFill/>
          </a:ln>
        </p:spPr>
        <p:txBody>
          <a:bodyPr spcFirstLastPara="1" wrap="square" lIns="121900" tIns="121900" rIns="121900" bIns="121900" anchor="ctr" anchorCtr="0">
            <a:noAutofit/>
          </a:bodyPr>
          <a:lstStyle/>
          <a:p>
            <a:pPr defTabSz="1219170">
              <a:buClr>
                <a:srgbClr val="000000"/>
              </a:buClr>
            </a:pPr>
            <a:endParaRPr lang="da-DK" sz="1867" kern="0">
              <a:solidFill>
                <a:srgbClr val="273F68"/>
              </a:solidFill>
              <a:latin typeface="Arial"/>
              <a:cs typeface="Arial"/>
              <a:sym typeface="Arial"/>
            </a:endParaRPr>
          </a:p>
        </p:txBody>
      </p:sp>
      <p:sp>
        <p:nvSpPr>
          <p:cNvPr id="20" name="Google Shape;741;p19">
            <a:extLst>
              <a:ext uri="{FF2B5EF4-FFF2-40B4-BE49-F238E27FC236}">
                <a16:creationId xmlns:a16="http://schemas.microsoft.com/office/drawing/2014/main" id="{DB13367A-62DF-48EA-AFB5-C897B8D283B9}"/>
              </a:ext>
            </a:extLst>
          </p:cNvPr>
          <p:cNvSpPr txBox="1">
            <a:spLocks/>
          </p:cNvSpPr>
          <p:nvPr/>
        </p:nvSpPr>
        <p:spPr>
          <a:xfrm>
            <a:off x="2120946" y="1924803"/>
            <a:ext cx="8196800" cy="762694"/>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1pPr>
            <a:lvl2pPr marR="0" lvl="1"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2pPr>
            <a:lvl3pPr marR="0" lvl="2"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3pPr>
            <a:lvl4pPr marR="0" lvl="3"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4pPr>
            <a:lvl5pPr marR="0" lvl="4"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5pPr>
            <a:lvl6pPr marR="0" lvl="5"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6pPr>
            <a:lvl7pPr marR="0" lvl="6"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7pPr>
            <a:lvl8pPr marR="0" lvl="7"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8pPr>
            <a:lvl9pPr marR="0" lvl="8"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9pPr>
          </a:lstStyle>
          <a:p>
            <a:pPr defTabSz="1219170">
              <a:buClr>
                <a:srgbClr val="273F68"/>
              </a:buClr>
            </a:pPr>
            <a:r>
              <a:rPr lang="da-DK" sz="3600" kern="0">
                <a:solidFill>
                  <a:srgbClr val="FFFFFF"/>
                </a:solidFill>
              </a:rPr>
              <a:t>Formålet med evalueringen er at undersøge… </a:t>
            </a:r>
          </a:p>
        </p:txBody>
      </p:sp>
      <p:sp>
        <p:nvSpPr>
          <p:cNvPr id="22" name="Google Shape;1275;p48">
            <a:extLst>
              <a:ext uri="{FF2B5EF4-FFF2-40B4-BE49-F238E27FC236}">
                <a16:creationId xmlns:a16="http://schemas.microsoft.com/office/drawing/2014/main" id="{D50B6B91-2C1C-48CE-887A-2F3D84781DB8}"/>
              </a:ext>
            </a:extLst>
          </p:cNvPr>
          <p:cNvSpPr/>
          <p:nvPr/>
        </p:nvSpPr>
        <p:spPr>
          <a:xfrm>
            <a:off x="5765383" y="1491237"/>
            <a:ext cx="352133" cy="456532"/>
          </a:xfrm>
          <a:custGeom>
            <a:avLst/>
            <a:gdLst/>
            <a:ahLst/>
            <a:cxnLst/>
            <a:rect l="l" t="t" r="r" b="b"/>
            <a:pathLst>
              <a:path w="14722" h="18470" extrusionOk="0">
                <a:moveTo>
                  <a:pt x="11874" y="658"/>
                </a:moveTo>
                <a:lnTo>
                  <a:pt x="11826" y="1291"/>
                </a:lnTo>
                <a:lnTo>
                  <a:pt x="11777" y="1923"/>
                </a:lnTo>
                <a:lnTo>
                  <a:pt x="11753" y="2264"/>
                </a:lnTo>
                <a:lnTo>
                  <a:pt x="11680" y="2580"/>
                </a:lnTo>
                <a:lnTo>
                  <a:pt x="11607" y="2872"/>
                </a:lnTo>
                <a:lnTo>
                  <a:pt x="11509" y="3188"/>
                </a:lnTo>
                <a:lnTo>
                  <a:pt x="11412" y="3407"/>
                </a:lnTo>
                <a:lnTo>
                  <a:pt x="11290" y="3626"/>
                </a:lnTo>
                <a:lnTo>
                  <a:pt x="11144" y="3797"/>
                </a:lnTo>
                <a:lnTo>
                  <a:pt x="10974" y="3943"/>
                </a:lnTo>
                <a:lnTo>
                  <a:pt x="10779" y="4064"/>
                </a:lnTo>
                <a:lnTo>
                  <a:pt x="10560" y="4162"/>
                </a:lnTo>
                <a:lnTo>
                  <a:pt x="10341" y="4235"/>
                </a:lnTo>
                <a:lnTo>
                  <a:pt x="10122" y="4308"/>
                </a:lnTo>
                <a:lnTo>
                  <a:pt x="9976" y="4332"/>
                </a:lnTo>
                <a:lnTo>
                  <a:pt x="9855" y="4332"/>
                </a:lnTo>
                <a:lnTo>
                  <a:pt x="9563" y="4308"/>
                </a:lnTo>
                <a:lnTo>
                  <a:pt x="9295" y="4259"/>
                </a:lnTo>
                <a:lnTo>
                  <a:pt x="9052" y="4162"/>
                </a:lnTo>
                <a:lnTo>
                  <a:pt x="9392" y="3894"/>
                </a:lnTo>
                <a:lnTo>
                  <a:pt x="9611" y="3675"/>
                </a:lnTo>
                <a:lnTo>
                  <a:pt x="9806" y="3432"/>
                </a:lnTo>
                <a:lnTo>
                  <a:pt x="10025" y="3188"/>
                </a:lnTo>
                <a:lnTo>
                  <a:pt x="10220" y="2921"/>
                </a:lnTo>
                <a:lnTo>
                  <a:pt x="10366" y="2629"/>
                </a:lnTo>
                <a:lnTo>
                  <a:pt x="10512" y="2337"/>
                </a:lnTo>
                <a:lnTo>
                  <a:pt x="10633" y="2045"/>
                </a:lnTo>
                <a:lnTo>
                  <a:pt x="10706" y="1753"/>
                </a:lnTo>
                <a:lnTo>
                  <a:pt x="10706" y="1680"/>
                </a:lnTo>
                <a:lnTo>
                  <a:pt x="10682" y="1607"/>
                </a:lnTo>
                <a:lnTo>
                  <a:pt x="10658" y="1558"/>
                </a:lnTo>
                <a:lnTo>
                  <a:pt x="10585" y="1534"/>
                </a:lnTo>
                <a:lnTo>
                  <a:pt x="10536" y="1510"/>
                </a:lnTo>
                <a:lnTo>
                  <a:pt x="10463" y="1510"/>
                </a:lnTo>
                <a:lnTo>
                  <a:pt x="10414" y="1558"/>
                </a:lnTo>
                <a:lnTo>
                  <a:pt x="10366" y="1607"/>
                </a:lnTo>
                <a:lnTo>
                  <a:pt x="10098" y="2069"/>
                </a:lnTo>
                <a:lnTo>
                  <a:pt x="9855" y="2531"/>
                </a:lnTo>
                <a:lnTo>
                  <a:pt x="9587" y="2969"/>
                </a:lnTo>
                <a:lnTo>
                  <a:pt x="9441" y="3188"/>
                </a:lnTo>
                <a:lnTo>
                  <a:pt x="9271" y="3383"/>
                </a:lnTo>
                <a:lnTo>
                  <a:pt x="9027" y="3626"/>
                </a:lnTo>
                <a:lnTo>
                  <a:pt x="8760" y="3845"/>
                </a:lnTo>
                <a:lnTo>
                  <a:pt x="8735" y="3845"/>
                </a:lnTo>
                <a:lnTo>
                  <a:pt x="8638" y="3724"/>
                </a:lnTo>
                <a:lnTo>
                  <a:pt x="8589" y="3578"/>
                </a:lnTo>
                <a:lnTo>
                  <a:pt x="8565" y="3432"/>
                </a:lnTo>
                <a:lnTo>
                  <a:pt x="8541" y="3261"/>
                </a:lnTo>
                <a:lnTo>
                  <a:pt x="8589" y="2921"/>
                </a:lnTo>
                <a:lnTo>
                  <a:pt x="8638" y="2629"/>
                </a:lnTo>
                <a:lnTo>
                  <a:pt x="8711" y="2410"/>
                </a:lnTo>
                <a:lnTo>
                  <a:pt x="8808" y="2215"/>
                </a:lnTo>
                <a:lnTo>
                  <a:pt x="8930" y="2020"/>
                </a:lnTo>
                <a:lnTo>
                  <a:pt x="9052" y="1850"/>
                </a:lnTo>
                <a:lnTo>
                  <a:pt x="9222" y="1680"/>
                </a:lnTo>
                <a:lnTo>
                  <a:pt x="9392" y="1510"/>
                </a:lnTo>
                <a:lnTo>
                  <a:pt x="9563" y="1388"/>
                </a:lnTo>
                <a:lnTo>
                  <a:pt x="9757" y="1266"/>
                </a:lnTo>
                <a:lnTo>
                  <a:pt x="10001" y="1120"/>
                </a:lnTo>
                <a:lnTo>
                  <a:pt x="10244" y="1023"/>
                </a:lnTo>
                <a:lnTo>
                  <a:pt x="10512" y="950"/>
                </a:lnTo>
                <a:lnTo>
                  <a:pt x="10779" y="877"/>
                </a:lnTo>
                <a:lnTo>
                  <a:pt x="11339" y="755"/>
                </a:lnTo>
                <a:lnTo>
                  <a:pt x="11874" y="658"/>
                </a:lnTo>
                <a:close/>
                <a:moveTo>
                  <a:pt x="1849" y="4527"/>
                </a:moveTo>
                <a:lnTo>
                  <a:pt x="2141" y="4551"/>
                </a:lnTo>
                <a:lnTo>
                  <a:pt x="2433" y="4600"/>
                </a:lnTo>
                <a:lnTo>
                  <a:pt x="2701" y="4648"/>
                </a:lnTo>
                <a:lnTo>
                  <a:pt x="2993" y="4746"/>
                </a:lnTo>
                <a:lnTo>
                  <a:pt x="3236" y="4819"/>
                </a:lnTo>
                <a:lnTo>
                  <a:pt x="3772" y="5062"/>
                </a:lnTo>
                <a:lnTo>
                  <a:pt x="4258" y="5330"/>
                </a:lnTo>
                <a:lnTo>
                  <a:pt x="4721" y="5622"/>
                </a:lnTo>
                <a:lnTo>
                  <a:pt x="4915" y="5768"/>
                </a:lnTo>
                <a:lnTo>
                  <a:pt x="5061" y="5914"/>
                </a:lnTo>
                <a:lnTo>
                  <a:pt x="5232" y="6084"/>
                </a:lnTo>
                <a:lnTo>
                  <a:pt x="5353" y="6254"/>
                </a:lnTo>
                <a:lnTo>
                  <a:pt x="5597" y="6644"/>
                </a:lnTo>
                <a:lnTo>
                  <a:pt x="5816" y="7057"/>
                </a:lnTo>
                <a:lnTo>
                  <a:pt x="5913" y="7301"/>
                </a:lnTo>
                <a:lnTo>
                  <a:pt x="5986" y="7568"/>
                </a:lnTo>
                <a:lnTo>
                  <a:pt x="6059" y="7836"/>
                </a:lnTo>
                <a:lnTo>
                  <a:pt x="6083" y="8104"/>
                </a:lnTo>
                <a:lnTo>
                  <a:pt x="6083" y="8323"/>
                </a:lnTo>
                <a:lnTo>
                  <a:pt x="6059" y="8542"/>
                </a:lnTo>
                <a:lnTo>
                  <a:pt x="5962" y="8858"/>
                </a:lnTo>
                <a:lnTo>
                  <a:pt x="5670" y="8712"/>
                </a:lnTo>
                <a:lnTo>
                  <a:pt x="5305" y="8493"/>
                </a:lnTo>
                <a:lnTo>
                  <a:pt x="4988" y="8250"/>
                </a:lnTo>
                <a:lnTo>
                  <a:pt x="4672" y="7958"/>
                </a:lnTo>
                <a:lnTo>
                  <a:pt x="4380" y="7666"/>
                </a:lnTo>
                <a:lnTo>
                  <a:pt x="4015" y="7179"/>
                </a:lnTo>
                <a:lnTo>
                  <a:pt x="3796" y="6911"/>
                </a:lnTo>
                <a:lnTo>
                  <a:pt x="3553" y="6619"/>
                </a:lnTo>
                <a:lnTo>
                  <a:pt x="3309" y="6376"/>
                </a:lnTo>
                <a:lnTo>
                  <a:pt x="3163" y="6279"/>
                </a:lnTo>
                <a:lnTo>
                  <a:pt x="3042" y="6181"/>
                </a:lnTo>
                <a:lnTo>
                  <a:pt x="2896" y="6108"/>
                </a:lnTo>
                <a:lnTo>
                  <a:pt x="2774" y="6060"/>
                </a:lnTo>
                <a:lnTo>
                  <a:pt x="2628" y="6035"/>
                </a:lnTo>
                <a:lnTo>
                  <a:pt x="2433" y="6035"/>
                </a:lnTo>
                <a:lnTo>
                  <a:pt x="2409" y="6060"/>
                </a:lnTo>
                <a:lnTo>
                  <a:pt x="2409" y="6108"/>
                </a:lnTo>
                <a:lnTo>
                  <a:pt x="2409" y="6157"/>
                </a:lnTo>
                <a:lnTo>
                  <a:pt x="2506" y="6279"/>
                </a:lnTo>
                <a:lnTo>
                  <a:pt x="2604" y="6425"/>
                </a:lnTo>
                <a:lnTo>
                  <a:pt x="2847" y="6668"/>
                </a:lnTo>
                <a:lnTo>
                  <a:pt x="3090" y="6911"/>
                </a:lnTo>
                <a:lnTo>
                  <a:pt x="3309" y="7130"/>
                </a:lnTo>
                <a:lnTo>
                  <a:pt x="3772" y="7739"/>
                </a:lnTo>
                <a:lnTo>
                  <a:pt x="4015" y="8031"/>
                </a:lnTo>
                <a:lnTo>
                  <a:pt x="4258" y="8323"/>
                </a:lnTo>
                <a:lnTo>
                  <a:pt x="4404" y="8444"/>
                </a:lnTo>
                <a:lnTo>
                  <a:pt x="4550" y="8590"/>
                </a:lnTo>
                <a:lnTo>
                  <a:pt x="4867" y="8834"/>
                </a:lnTo>
                <a:lnTo>
                  <a:pt x="5207" y="9053"/>
                </a:lnTo>
                <a:lnTo>
                  <a:pt x="5548" y="9247"/>
                </a:lnTo>
                <a:lnTo>
                  <a:pt x="5353" y="9345"/>
                </a:lnTo>
                <a:lnTo>
                  <a:pt x="5159" y="9418"/>
                </a:lnTo>
                <a:lnTo>
                  <a:pt x="4940" y="9466"/>
                </a:lnTo>
                <a:lnTo>
                  <a:pt x="4745" y="9491"/>
                </a:lnTo>
                <a:lnTo>
                  <a:pt x="4550" y="9491"/>
                </a:lnTo>
                <a:lnTo>
                  <a:pt x="4331" y="9466"/>
                </a:lnTo>
                <a:lnTo>
                  <a:pt x="4112" y="9442"/>
                </a:lnTo>
                <a:lnTo>
                  <a:pt x="3869" y="9369"/>
                </a:lnTo>
                <a:lnTo>
                  <a:pt x="3650" y="9296"/>
                </a:lnTo>
                <a:lnTo>
                  <a:pt x="3407" y="9174"/>
                </a:lnTo>
                <a:lnTo>
                  <a:pt x="3188" y="9053"/>
                </a:lnTo>
                <a:lnTo>
                  <a:pt x="2969" y="8907"/>
                </a:lnTo>
                <a:lnTo>
                  <a:pt x="2774" y="8761"/>
                </a:lnTo>
                <a:lnTo>
                  <a:pt x="2579" y="8590"/>
                </a:lnTo>
                <a:lnTo>
                  <a:pt x="2239" y="8201"/>
                </a:lnTo>
                <a:lnTo>
                  <a:pt x="2068" y="7982"/>
                </a:lnTo>
                <a:lnTo>
                  <a:pt x="1898" y="7714"/>
                </a:lnTo>
                <a:lnTo>
                  <a:pt x="1776" y="7471"/>
                </a:lnTo>
                <a:lnTo>
                  <a:pt x="1655" y="7179"/>
                </a:lnTo>
                <a:lnTo>
                  <a:pt x="1460" y="6619"/>
                </a:lnTo>
                <a:lnTo>
                  <a:pt x="1314" y="6060"/>
                </a:lnTo>
                <a:lnTo>
                  <a:pt x="1144" y="5330"/>
                </a:lnTo>
                <a:lnTo>
                  <a:pt x="1046" y="4940"/>
                </a:lnTo>
                <a:lnTo>
                  <a:pt x="998" y="4575"/>
                </a:lnTo>
                <a:lnTo>
                  <a:pt x="1265" y="4551"/>
                </a:lnTo>
                <a:lnTo>
                  <a:pt x="1557" y="4527"/>
                </a:lnTo>
                <a:close/>
                <a:moveTo>
                  <a:pt x="10974" y="14138"/>
                </a:moveTo>
                <a:lnTo>
                  <a:pt x="10755" y="14187"/>
                </a:lnTo>
                <a:lnTo>
                  <a:pt x="10536" y="14260"/>
                </a:lnTo>
                <a:lnTo>
                  <a:pt x="10098" y="14430"/>
                </a:lnTo>
                <a:lnTo>
                  <a:pt x="9855" y="14503"/>
                </a:lnTo>
                <a:lnTo>
                  <a:pt x="9636" y="14600"/>
                </a:lnTo>
                <a:lnTo>
                  <a:pt x="9198" y="14844"/>
                </a:lnTo>
                <a:lnTo>
                  <a:pt x="9173" y="14868"/>
                </a:lnTo>
                <a:lnTo>
                  <a:pt x="9149" y="14892"/>
                </a:lnTo>
                <a:lnTo>
                  <a:pt x="9173" y="14965"/>
                </a:lnTo>
                <a:lnTo>
                  <a:pt x="9198" y="14990"/>
                </a:lnTo>
                <a:lnTo>
                  <a:pt x="9246" y="15014"/>
                </a:lnTo>
                <a:lnTo>
                  <a:pt x="9271" y="15014"/>
                </a:lnTo>
                <a:lnTo>
                  <a:pt x="9490" y="14941"/>
                </a:lnTo>
                <a:lnTo>
                  <a:pt x="9757" y="14892"/>
                </a:lnTo>
                <a:lnTo>
                  <a:pt x="10268" y="14795"/>
                </a:lnTo>
                <a:lnTo>
                  <a:pt x="10512" y="14722"/>
                </a:lnTo>
                <a:lnTo>
                  <a:pt x="10731" y="14625"/>
                </a:lnTo>
                <a:lnTo>
                  <a:pt x="10828" y="14552"/>
                </a:lnTo>
                <a:lnTo>
                  <a:pt x="10925" y="14479"/>
                </a:lnTo>
                <a:lnTo>
                  <a:pt x="11023" y="14381"/>
                </a:lnTo>
                <a:lnTo>
                  <a:pt x="11096" y="14284"/>
                </a:lnTo>
                <a:lnTo>
                  <a:pt x="11096" y="14235"/>
                </a:lnTo>
                <a:lnTo>
                  <a:pt x="11071" y="14162"/>
                </a:lnTo>
                <a:lnTo>
                  <a:pt x="11023" y="14138"/>
                </a:lnTo>
                <a:close/>
                <a:moveTo>
                  <a:pt x="8297" y="13116"/>
                </a:moveTo>
                <a:lnTo>
                  <a:pt x="8614" y="13140"/>
                </a:lnTo>
                <a:lnTo>
                  <a:pt x="8443" y="13238"/>
                </a:lnTo>
                <a:lnTo>
                  <a:pt x="8370" y="13286"/>
                </a:lnTo>
                <a:lnTo>
                  <a:pt x="8297" y="13335"/>
                </a:lnTo>
                <a:lnTo>
                  <a:pt x="8273" y="13384"/>
                </a:lnTo>
                <a:lnTo>
                  <a:pt x="8249" y="13432"/>
                </a:lnTo>
                <a:lnTo>
                  <a:pt x="8273" y="13505"/>
                </a:lnTo>
                <a:lnTo>
                  <a:pt x="8322" y="13578"/>
                </a:lnTo>
                <a:lnTo>
                  <a:pt x="8370" y="13603"/>
                </a:lnTo>
                <a:lnTo>
                  <a:pt x="8419" y="13627"/>
                </a:lnTo>
                <a:lnTo>
                  <a:pt x="8614" y="13603"/>
                </a:lnTo>
                <a:lnTo>
                  <a:pt x="8784" y="13554"/>
                </a:lnTo>
                <a:lnTo>
                  <a:pt x="9125" y="13432"/>
                </a:lnTo>
                <a:lnTo>
                  <a:pt x="9271" y="13408"/>
                </a:lnTo>
                <a:lnTo>
                  <a:pt x="9538" y="13408"/>
                </a:lnTo>
                <a:lnTo>
                  <a:pt x="9660" y="13384"/>
                </a:lnTo>
                <a:lnTo>
                  <a:pt x="9782" y="13432"/>
                </a:lnTo>
                <a:lnTo>
                  <a:pt x="10220" y="13651"/>
                </a:lnTo>
                <a:lnTo>
                  <a:pt x="9952" y="13724"/>
                </a:lnTo>
                <a:lnTo>
                  <a:pt x="9709" y="13797"/>
                </a:lnTo>
                <a:lnTo>
                  <a:pt x="9149" y="13919"/>
                </a:lnTo>
                <a:lnTo>
                  <a:pt x="8857" y="13968"/>
                </a:lnTo>
                <a:lnTo>
                  <a:pt x="8589" y="14041"/>
                </a:lnTo>
                <a:lnTo>
                  <a:pt x="8541" y="14089"/>
                </a:lnTo>
                <a:lnTo>
                  <a:pt x="8516" y="14138"/>
                </a:lnTo>
                <a:lnTo>
                  <a:pt x="8541" y="14187"/>
                </a:lnTo>
                <a:lnTo>
                  <a:pt x="8589" y="14235"/>
                </a:lnTo>
                <a:lnTo>
                  <a:pt x="8857" y="14284"/>
                </a:lnTo>
                <a:lnTo>
                  <a:pt x="9125" y="14284"/>
                </a:lnTo>
                <a:lnTo>
                  <a:pt x="9392" y="14260"/>
                </a:lnTo>
                <a:lnTo>
                  <a:pt x="9660" y="14211"/>
                </a:lnTo>
                <a:lnTo>
                  <a:pt x="9903" y="14162"/>
                </a:lnTo>
                <a:lnTo>
                  <a:pt x="10171" y="14114"/>
                </a:lnTo>
                <a:lnTo>
                  <a:pt x="10414" y="14016"/>
                </a:lnTo>
                <a:lnTo>
                  <a:pt x="10536" y="13943"/>
                </a:lnTo>
                <a:lnTo>
                  <a:pt x="10633" y="13870"/>
                </a:lnTo>
                <a:lnTo>
                  <a:pt x="11096" y="14162"/>
                </a:lnTo>
                <a:lnTo>
                  <a:pt x="11558" y="14479"/>
                </a:lnTo>
                <a:lnTo>
                  <a:pt x="11631" y="14527"/>
                </a:lnTo>
                <a:lnTo>
                  <a:pt x="11193" y="14722"/>
                </a:lnTo>
                <a:lnTo>
                  <a:pt x="10852" y="14892"/>
                </a:lnTo>
                <a:lnTo>
                  <a:pt x="10512" y="15014"/>
                </a:lnTo>
                <a:lnTo>
                  <a:pt x="10171" y="15136"/>
                </a:lnTo>
                <a:lnTo>
                  <a:pt x="9830" y="15209"/>
                </a:lnTo>
                <a:lnTo>
                  <a:pt x="9782" y="15233"/>
                </a:lnTo>
                <a:lnTo>
                  <a:pt x="9782" y="15257"/>
                </a:lnTo>
                <a:lnTo>
                  <a:pt x="9782" y="15282"/>
                </a:lnTo>
                <a:lnTo>
                  <a:pt x="9830" y="15306"/>
                </a:lnTo>
                <a:lnTo>
                  <a:pt x="9976" y="15330"/>
                </a:lnTo>
                <a:lnTo>
                  <a:pt x="10122" y="15330"/>
                </a:lnTo>
                <a:lnTo>
                  <a:pt x="10414" y="15306"/>
                </a:lnTo>
                <a:lnTo>
                  <a:pt x="10731" y="15233"/>
                </a:lnTo>
                <a:lnTo>
                  <a:pt x="11023" y="15136"/>
                </a:lnTo>
                <a:lnTo>
                  <a:pt x="11485" y="14965"/>
                </a:lnTo>
                <a:lnTo>
                  <a:pt x="11996" y="14771"/>
                </a:lnTo>
                <a:lnTo>
                  <a:pt x="12337" y="15038"/>
                </a:lnTo>
                <a:lnTo>
                  <a:pt x="12093" y="15111"/>
                </a:lnTo>
                <a:lnTo>
                  <a:pt x="11874" y="15209"/>
                </a:lnTo>
                <a:lnTo>
                  <a:pt x="11436" y="15403"/>
                </a:lnTo>
                <a:lnTo>
                  <a:pt x="11047" y="15525"/>
                </a:lnTo>
                <a:lnTo>
                  <a:pt x="10682" y="15647"/>
                </a:lnTo>
                <a:lnTo>
                  <a:pt x="10293" y="15744"/>
                </a:lnTo>
                <a:lnTo>
                  <a:pt x="9903" y="15890"/>
                </a:lnTo>
                <a:lnTo>
                  <a:pt x="9879" y="15914"/>
                </a:lnTo>
                <a:lnTo>
                  <a:pt x="9879" y="15939"/>
                </a:lnTo>
                <a:lnTo>
                  <a:pt x="9879" y="15963"/>
                </a:lnTo>
                <a:lnTo>
                  <a:pt x="9903" y="15987"/>
                </a:lnTo>
                <a:lnTo>
                  <a:pt x="10098" y="16036"/>
                </a:lnTo>
                <a:lnTo>
                  <a:pt x="10268" y="16060"/>
                </a:lnTo>
                <a:lnTo>
                  <a:pt x="10463" y="16036"/>
                </a:lnTo>
                <a:lnTo>
                  <a:pt x="10658" y="16012"/>
                </a:lnTo>
                <a:lnTo>
                  <a:pt x="11023" y="15939"/>
                </a:lnTo>
                <a:lnTo>
                  <a:pt x="11388" y="15817"/>
                </a:lnTo>
                <a:lnTo>
                  <a:pt x="12020" y="15598"/>
                </a:lnTo>
                <a:lnTo>
                  <a:pt x="12337" y="15476"/>
                </a:lnTo>
                <a:lnTo>
                  <a:pt x="12629" y="15306"/>
                </a:lnTo>
                <a:lnTo>
                  <a:pt x="12921" y="15598"/>
                </a:lnTo>
                <a:lnTo>
                  <a:pt x="12434" y="15793"/>
                </a:lnTo>
                <a:lnTo>
                  <a:pt x="11947" y="15963"/>
                </a:lnTo>
                <a:lnTo>
                  <a:pt x="11534" y="16060"/>
                </a:lnTo>
                <a:lnTo>
                  <a:pt x="11096" y="16158"/>
                </a:lnTo>
                <a:lnTo>
                  <a:pt x="10682" y="16255"/>
                </a:lnTo>
                <a:lnTo>
                  <a:pt x="10487" y="16328"/>
                </a:lnTo>
                <a:lnTo>
                  <a:pt x="10293" y="16425"/>
                </a:lnTo>
                <a:lnTo>
                  <a:pt x="10268" y="16450"/>
                </a:lnTo>
                <a:lnTo>
                  <a:pt x="10268" y="16474"/>
                </a:lnTo>
                <a:lnTo>
                  <a:pt x="10268" y="16498"/>
                </a:lnTo>
                <a:lnTo>
                  <a:pt x="10293" y="16523"/>
                </a:lnTo>
                <a:lnTo>
                  <a:pt x="10512" y="16547"/>
                </a:lnTo>
                <a:lnTo>
                  <a:pt x="10731" y="16547"/>
                </a:lnTo>
                <a:lnTo>
                  <a:pt x="10950" y="16523"/>
                </a:lnTo>
                <a:lnTo>
                  <a:pt x="11169" y="16498"/>
                </a:lnTo>
                <a:lnTo>
                  <a:pt x="11607" y="16401"/>
                </a:lnTo>
                <a:lnTo>
                  <a:pt x="12020" y="16279"/>
                </a:lnTo>
                <a:lnTo>
                  <a:pt x="12312" y="16182"/>
                </a:lnTo>
                <a:lnTo>
                  <a:pt x="12604" y="16085"/>
                </a:lnTo>
                <a:lnTo>
                  <a:pt x="12872" y="15963"/>
                </a:lnTo>
                <a:lnTo>
                  <a:pt x="13140" y="15841"/>
                </a:lnTo>
                <a:lnTo>
                  <a:pt x="13164" y="15866"/>
                </a:lnTo>
                <a:lnTo>
                  <a:pt x="13407" y="16133"/>
                </a:lnTo>
                <a:lnTo>
                  <a:pt x="12994" y="16231"/>
                </a:lnTo>
                <a:lnTo>
                  <a:pt x="12604" y="16377"/>
                </a:lnTo>
                <a:lnTo>
                  <a:pt x="11680" y="16669"/>
                </a:lnTo>
                <a:lnTo>
                  <a:pt x="10779" y="16912"/>
                </a:lnTo>
                <a:lnTo>
                  <a:pt x="10731" y="16961"/>
                </a:lnTo>
                <a:lnTo>
                  <a:pt x="10706" y="17034"/>
                </a:lnTo>
                <a:lnTo>
                  <a:pt x="10731" y="17082"/>
                </a:lnTo>
                <a:lnTo>
                  <a:pt x="10804" y="17107"/>
                </a:lnTo>
                <a:lnTo>
                  <a:pt x="11023" y="17082"/>
                </a:lnTo>
                <a:lnTo>
                  <a:pt x="11242" y="17082"/>
                </a:lnTo>
                <a:lnTo>
                  <a:pt x="11680" y="16985"/>
                </a:lnTo>
                <a:lnTo>
                  <a:pt x="12093" y="16888"/>
                </a:lnTo>
                <a:lnTo>
                  <a:pt x="12531" y="16742"/>
                </a:lnTo>
                <a:lnTo>
                  <a:pt x="13091" y="16571"/>
                </a:lnTo>
                <a:lnTo>
                  <a:pt x="13626" y="16401"/>
                </a:lnTo>
                <a:lnTo>
                  <a:pt x="13870" y="16717"/>
                </a:lnTo>
                <a:lnTo>
                  <a:pt x="14089" y="17058"/>
                </a:lnTo>
                <a:lnTo>
                  <a:pt x="13894" y="17155"/>
                </a:lnTo>
                <a:lnTo>
                  <a:pt x="13699" y="17228"/>
                </a:lnTo>
                <a:lnTo>
                  <a:pt x="13286" y="17350"/>
                </a:lnTo>
                <a:lnTo>
                  <a:pt x="12872" y="17423"/>
                </a:lnTo>
                <a:lnTo>
                  <a:pt x="12434" y="17472"/>
                </a:lnTo>
                <a:lnTo>
                  <a:pt x="11339" y="17618"/>
                </a:lnTo>
                <a:lnTo>
                  <a:pt x="10220" y="17788"/>
                </a:lnTo>
                <a:lnTo>
                  <a:pt x="9587" y="17885"/>
                </a:lnTo>
                <a:lnTo>
                  <a:pt x="8930" y="17934"/>
                </a:lnTo>
                <a:lnTo>
                  <a:pt x="8297" y="17958"/>
                </a:lnTo>
                <a:lnTo>
                  <a:pt x="7032" y="17958"/>
                </a:lnTo>
                <a:lnTo>
                  <a:pt x="6400" y="17910"/>
                </a:lnTo>
                <a:lnTo>
                  <a:pt x="5110" y="17837"/>
                </a:lnTo>
                <a:lnTo>
                  <a:pt x="3918" y="17764"/>
                </a:lnTo>
                <a:lnTo>
                  <a:pt x="3334" y="17715"/>
                </a:lnTo>
                <a:lnTo>
                  <a:pt x="2725" y="17666"/>
                </a:lnTo>
                <a:lnTo>
                  <a:pt x="2166" y="17618"/>
                </a:lnTo>
                <a:lnTo>
                  <a:pt x="1849" y="17569"/>
                </a:lnTo>
                <a:lnTo>
                  <a:pt x="1533" y="17520"/>
                </a:lnTo>
                <a:lnTo>
                  <a:pt x="1217" y="17447"/>
                </a:lnTo>
                <a:lnTo>
                  <a:pt x="925" y="17350"/>
                </a:lnTo>
                <a:lnTo>
                  <a:pt x="681" y="17204"/>
                </a:lnTo>
                <a:lnTo>
                  <a:pt x="560" y="17131"/>
                </a:lnTo>
                <a:lnTo>
                  <a:pt x="462" y="17034"/>
                </a:lnTo>
                <a:lnTo>
                  <a:pt x="754" y="16644"/>
                </a:lnTo>
                <a:lnTo>
                  <a:pt x="1046" y="16279"/>
                </a:lnTo>
                <a:lnTo>
                  <a:pt x="1363" y="15914"/>
                </a:lnTo>
                <a:lnTo>
                  <a:pt x="1703" y="15574"/>
                </a:lnTo>
                <a:lnTo>
                  <a:pt x="2044" y="15257"/>
                </a:lnTo>
                <a:lnTo>
                  <a:pt x="2409" y="14941"/>
                </a:lnTo>
                <a:lnTo>
                  <a:pt x="2798" y="14649"/>
                </a:lnTo>
                <a:lnTo>
                  <a:pt x="3212" y="14381"/>
                </a:lnTo>
                <a:lnTo>
                  <a:pt x="3699" y="14089"/>
                </a:lnTo>
                <a:lnTo>
                  <a:pt x="4185" y="13870"/>
                </a:lnTo>
                <a:lnTo>
                  <a:pt x="4721" y="13676"/>
                </a:lnTo>
                <a:lnTo>
                  <a:pt x="5232" y="13505"/>
                </a:lnTo>
                <a:lnTo>
                  <a:pt x="5767" y="13384"/>
                </a:lnTo>
                <a:lnTo>
                  <a:pt x="6327" y="13286"/>
                </a:lnTo>
                <a:lnTo>
                  <a:pt x="6862" y="13189"/>
                </a:lnTo>
                <a:lnTo>
                  <a:pt x="7421" y="13140"/>
                </a:lnTo>
                <a:lnTo>
                  <a:pt x="7373" y="13603"/>
                </a:lnTo>
                <a:lnTo>
                  <a:pt x="7276" y="14065"/>
                </a:lnTo>
                <a:lnTo>
                  <a:pt x="7276" y="14187"/>
                </a:lnTo>
                <a:lnTo>
                  <a:pt x="7324" y="14284"/>
                </a:lnTo>
                <a:lnTo>
                  <a:pt x="7397" y="14357"/>
                </a:lnTo>
                <a:lnTo>
                  <a:pt x="7494" y="14381"/>
                </a:lnTo>
                <a:lnTo>
                  <a:pt x="7592" y="14406"/>
                </a:lnTo>
                <a:lnTo>
                  <a:pt x="7689" y="14381"/>
                </a:lnTo>
                <a:lnTo>
                  <a:pt x="7762" y="14308"/>
                </a:lnTo>
                <a:lnTo>
                  <a:pt x="7811" y="14211"/>
                </a:lnTo>
                <a:lnTo>
                  <a:pt x="7884" y="13676"/>
                </a:lnTo>
                <a:lnTo>
                  <a:pt x="7957" y="13116"/>
                </a:lnTo>
                <a:close/>
                <a:moveTo>
                  <a:pt x="6886" y="1"/>
                </a:moveTo>
                <a:lnTo>
                  <a:pt x="6813" y="25"/>
                </a:lnTo>
                <a:lnTo>
                  <a:pt x="6765" y="25"/>
                </a:lnTo>
                <a:lnTo>
                  <a:pt x="6740" y="74"/>
                </a:lnTo>
                <a:lnTo>
                  <a:pt x="6740" y="98"/>
                </a:lnTo>
                <a:lnTo>
                  <a:pt x="6740" y="147"/>
                </a:lnTo>
                <a:lnTo>
                  <a:pt x="6862" y="536"/>
                </a:lnTo>
                <a:lnTo>
                  <a:pt x="7008" y="926"/>
                </a:lnTo>
                <a:lnTo>
                  <a:pt x="7130" y="1315"/>
                </a:lnTo>
                <a:lnTo>
                  <a:pt x="7227" y="1704"/>
                </a:lnTo>
                <a:lnTo>
                  <a:pt x="7300" y="2118"/>
                </a:lnTo>
                <a:lnTo>
                  <a:pt x="7349" y="2556"/>
                </a:lnTo>
                <a:lnTo>
                  <a:pt x="7373" y="2994"/>
                </a:lnTo>
                <a:lnTo>
                  <a:pt x="7373" y="3407"/>
                </a:lnTo>
                <a:lnTo>
                  <a:pt x="7324" y="3870"/>
                </a:lnTo>
                <a:lnTo>
                  <a:pt x="7276" y="4332"/>
                </a:lnTo>
                <a:lnTo>
                  <a:pt x="7105" y="5257"/>
                </a:lnTo>
                <a:lnTo>
                  <a:pt x="6911" y="6181"/>
                </a:lnTo>
                <a:lnTo>
                  <a:pt x="6838" y="6644"/>
                </a:lnTo>
                <a:lnTo>
                  <a:pt x="6765" y="7106"/>
                </a:lnTo>
                <a:lnTo>
                  <a:pt x="6716" y="7666"/>
                </a:lnTo>
                <a:lnTo>
                  <a:pt x="6716" y="8201"/>
                </a:lnTo>
                <a:lnTo>
                  <a:pt x="6765" y="8712"/>
                </a:lnTo>
                <a:lnTo>
                  <a:pt x="6838" y="9223"/>
                </a:lnTo>
                <a:lnTo>
                  <a:pt x="6424" y="9077"/>
                </a:lnTo>
                <a:lnTo>
                  <a:pt x="6497" y="8834"/>
                </a:lnTo>
                <a:lnTo>
                  <a:pt x="6570" y="8590"/>
                </a:lnTo>
                <a:lnTo>
                  <a:pt x="6594" y="8347"/>
                </a:lnTo>
                <a:lnTo>
                  <a:pt x="6594" y="8079"/>
                </a:lnTo>
                <a:lnTo>
                  <a:pt x="6570" y="7836"/>
                </a:lnTo>
                <a:lnTo>
                  <a:pt x="6521" y="7568"/>
                </a:lnTo>
                <a:lnTo>
                  <a:pt x="6448" y="7325"/>
                </a:lnTo>
                <a:lnTo>
                  <a:pt x="6351" y="7082"/>
                </a:lnTo>
                <a:lnTo>
                  <a:pt x="6254" y="6838"/>
                </a:lnTo>
                <a:lnTo>
                  <a:pt x="6132" y="6595"/>
                </a:lnTo>
                <a:lnTo>
                  <a:pt x="6010" y="6352"/>
                </a:lnTo>
                <a:lnTo>
                  <a:pt x="5864" y="6133"/>
                </a:lnTo>
                <a:lnTo>
                  <a:pt x="5694" y="5938"/>
                </a:lnTo>
                <a:lnTo>
                  <a:pt x="5548" y="5743"/>
                </a:lnTo>
                <a:lnTo>
                  <a:pt x="5378" y="5549"/>
                </a:lnTo>
                <a:lnTo>
                  <a:pt x="5207" y="5403"/>
                </a:lnTo>
                <a:lnTo>
                  <a:pt x="4964" y="5208"/>
                </a:lnTo>
                <a:lnTo>
                  <a:pt x="4696" y="5013"/>
                </a:lnTo>
                <a:lnTo>
                  <a:pt x="4429" y="4867"/>
                </a:lnTo>
                <a:lnTo>
                  <a:pt x="4161" y="4721"/>
                </a:lnTo>
                <a:lnTo>
                  <a:pt x="3869" y="4575"/>
                </a:lnTo>
                <a:lnTo>
                  <a:pt x="3577" y="4454"/>
                </a:lnTo>
                <a:lnTo>
                  <a:pt x="2993" y="4259"/>
                </a:lnTo>
                <a:lnTo>
                  <a:pt x="2506" y="4137"/>
                </a:lnTo>
                <a:lnTo>
                  <a:pt x="2239" y="4089"/>
                </a:lnTo>
                <a:lnTo>
                  <a:pt x="1971" y="4064"/>
                </a:lnTo>
                <a:lnTo>
                  <a:pt x="1679" y="4040"/>
                </a:lnTo>
                <a:lnTo>
                  <a:pt x="1411" y="4064"/>
                </a:lnTo>
                <a:lnTo>
                  <a:pt x="1168" y="4137"/>
                </a:lnTo>
                <a:lnTo>
                  <a:pt x="949" y="4235"/>
                </a:lnTo>
                <a:lnTo>
                  <a:pt x="900" y="4186"/>
                </a:lnTo>
                <a:lnTo>
                  <a:pt x="852" y="4137"/>
                </a:lnTo>
                <a:lnTo>
                  <a:pt x="803" y="4137"/>
                </a:lnTo>
                <a:lnTo>
                  <a:pt x="754" y="4186"/>
                </a:lnTo>
                <a:lnTo>
                  <a:pt x="681" y="4259"/>
                </a:lnTo>
                <a:lnTo>
                  <a:pt x="633" y="4356"/>
                </a:lnTo>
                <a:lnTo>
                  <a:pt x="608" y="4454"/>
                </a:lnTo>
                <a:lnTo>
                  <a:pt x="584" y="4575"/>
                </a:lnTo>
                <a:lnTo>
                  <a:pt x="584" y="4819"/>
                </a:lnTo>
                <a:lnTo>
                  <a:pt x="608" y="5062"/>
                </a:lnTo>
                <a:lnTo>
                  <a:pt x="657" y="5330"/>
                </a:lnTo>
                <a:lnTo>
                  <a:pt x="706" y="5597"/>
                </a:lnTo>
                <a:lnTo>
                  <a:pt x="803" y="6011"/>
                </a:lnTo>
                <a:lnTo>
                  <a:pt x="876" y="6352"/>
                </a:lnTo>
                <a:lnTo>
                  <a:pt x="973" y="6692"/>
                </a:lnTo>
                <a:lnTo>
                  <a:pt x="1071" y="7033"/>
                </a:lnTo>
                <a:lnTo>
                  <a:pt x="1192" y="7349"/>
                </a:lnTo>
                <a:lnTo>
                  <a:pt x="1338" y="7690"/>
                </a:lnTo>
                <a:lnTo>
                  <a:pt x="1484" y="8006"/>
                </a:lnTo>
                <a:lnTo>
                  <a:pt x="1679" y="8298"/>
                </a:lnTo>
                <a:lnTo>
                  <a:pt x="1874" y="8566"/>
                </a:lnTo>
                <a:lnTo>
                  <a:pt x="2068" y="8809"/>
                </a:lnTo>
                <a:lnTo>
                  <a:pt x="2287" y="9004"/>
                </a:lnTo>
                <a:lnTo>
                  <a:pt x="2531" y="9199"/>
                </a:lnTo>
                <a:lnTo>
                  <a:pt x="2774" y="9393"/>
                </a:lnTo>
                <a:lnTo>
                  <a:pt x="3042" y="9539"/>
                </a:lnTo>
                <a:lnTo>
                  <a:pt x="3309" y="9685"/>
                </a:lnTo>
                <a:lnTo>
                  <a:pt x="3577" y="9807"/>
                </a:lnTo>
                <a:lnTo>
                  <a:pt x="3869" y="9904"/>
                </a:lnTo>
                <a:lnTo>
                  <a:pt x="4161" y="9977"/>
                </a:lnTo>
                <a:lnTo>
                  <a:pt x="4453" y="10001"/>
                </a:lnTo>
                <a:lnTo>
                  <a:pt x="4745" y="10001"/>
                </a:lnTo>
                <a:lnTo>
                  <a:pt x="5013" y="9977"/>
                </a:lnTo>
                <a:lnTo>
                  <a:pt x="5280" y="9904"/>
                </a:lnTo>
                <a:lnTo>
                  <a:pt x="5548" y="9807"/>
                </a:lnTo>
                <a:lnTo>
                  <a:pt x="5816" y="9685"/>
                </a:lnTo>
                <a:lnTo>
                  <a:pt x="6059" y="9539"/>
                </a:lnTo>
                <a:lnTo>
                  <a:pt x="6278" y="9637"/>
                </a:lnTo>
                <a:lnTo>
                  <a:pt x="6521" y="9734"/>
                </a:lnTo>
                <a:lnTo>
                  <a:pt x="6740" y="9783"/>
                </a:lnTo>
                <a:lnTo>
                  <a:pt x="6984" y="9807"/>
                </a:lnTo>
                <a:lnTo>
                  <a:pt x="7203" y="10634"/>
                </a:lnTo>
                <a:lnTo>
                  <a:pt x="7324" y="11145"/>
                </a:lnTo>
                <a:lnTo>
                  <a:pt x="7421" y="11632"/>
                </a:lnTo>
                <a:lnTo>
                  <a:pt x="7446" y="12143"/>
                </a:lnTo>
                <a:lnTo>
                  <a:pt x="7446" y="12629"/>
                </a:lnTo>
                <a:lnTo>
                  <a:pt x="6886" y="12678"/>
                </a:lnTo>
                <a:lnTo>
                  <a:pt x="6327" y="12775"/>
                </a:lnTo>
                <a:lnTo>
                  <a:pt x="5767" y="12873"/>
                </a:lnTo>
                <a:lnTo>
                  <a:pt x="5207" y="12994"/>
                </a:lnTo>
                <a:lnTo>
                  <a:pt x="4648" y="13165"/>
                </a:lnTo>
                <a:lnTo>
                  <a:pt x="4112" y="13359"/>
                </a:lnTo>
                <a:lnTo>
                  <a:pt x="3601" y="13603"/>
                </a:lnTo>
                <a:lnTo>
                  <a:pt x="3090" y="13870"/>
                </a:lnTo>
                <a:lnTo>
                  <a:pt x="2652" y="14138"/>
                </a:lnTo>
                <a:lnTo>
                  <a:pt x="2239" y="14454"/>
                </a:lnTo>
                <a:lnTo>
                  <a:pt x="1825" y="14795"/>
                </a:lnTo>
                <a:lnTo>
                  <a:pt x="1411" y="15136"/>
                </a:lnTo>
                <a:lnTo>
                  <a:pt x="1046" y="15525"/>
                </a:lnTo>
                <a:lnTo>
                  <a:pt x="706" y="15939"/>
                </a:lnTo>
                <a:lnTo>
                  <a:pt x="414" y="16377"/>
                </a:lnTo>
                <a:lnTo>
                  <a:pt x="146" y="16839"/>
                </a:lnTo>
                <a:lnTo>
                  <a:pt x="73" y="16863"/>
                </a:lnTo>
                <a:lnTo>
                  <a:pt x="24" y="16912"/>
                </a:lnTo>
                <a:lnTo>
                  <a:pt x="0" y="16985"/>
                </a:lnTo>
                <a:lnTo>
                  <a:pt x="0" y="17058"/>
                </a:lnTo>
                <a:lnTo>
                  <a:pt x="73" y="17204"/>
                </a:lnTo>
                <a:lnTo>
                  <a:pt x="146" y="17326"/>
                </a:lnTo>
                <a:lnTo>
                  <a:pt x="219" y="17423"/>
                </a:lnTo>
                <a:lnTo>
                  <a:pt x="316" y="17520"/>
                </a:lnTo>
                <a:lnTo>
                  <a:pt x="438" y="17618"/>
                </a:lnTo>
                <a:lnTo>
                  <a:pt x="560" y="17691"/>
                </a:lnTo>
                <a:lnTo>
                  <a:pt x="852" y="17812"/>
                </a:lnTo>
                <a:lnTo>
                  <a:pt x="1144" y="17910"/>
                </a:lnTo>
                <a:lnTo>
                  <a:pt x="1460" y="17982"/>
                </a:lnTo>
                <a:lnTo>
                  <a:pt x="1995" y="18080"/>
                </a:lnTo>
                <a:lnTo>
                  <a:pt x="2725" y="18177"/>
                </a:lnTo>
                <a:lnTo>
                  <a:pt x="3455" y="18226"/>
                </a:lnTo>
                <a:lnTo>
                  <a:pt x="4940" y="18323"/>
                </a:lnTo>
                <a:lnTo>
                  <a:pt x="6205" y="18396"/>
                </a:lnTo>
                <a:lnTo>
                  <a:pt x="7470" y="18469"/>
                </a:lnTo>
                <a:lnTo>
                  <a:pt x="8078" y="18469"/>
                </a:lnTo>
                <a:lnTo>
                  <a:pt x="8711" y="18445"/>
                </a:lnTo>
                <a:lnTo>
                  <a:pt x="9344" y="18396"/>
                </a:lnTo>
                <a:lnTo>
                  <a:pt x="9976" y="18323"/>
                </a:lnTo>
                <a:lnTo>
                  <a:pt x="11339" y="18128"/>
                </a:lnTo>
                <a:lnTo>
                  <a:pt x="12726" y="17958"/>
                </a:lnTo>
                <a:lnTo>
                  <a:pt x="13140" y="17885"/>
                </a:lnTo>
                <a:lnTo>
                  <a:pt x="13553" y="17812"/>
                </a:lnTo>
                <a:lnTo>
                  <a:pt x="13967" y="17666"/>
                </a:lnTo>
                <a:lnTo>
                  <a:pt x="14162" y="17593"/>
                </a:lnTo>
                <a:lnTo>
                  <a:pt x="14356" y="17472"/>
                </a:lnTo>
                <a:lnTo>
                  <a:pt x="14429" y="17496"/>
                </a:lnTo>
                <a:lnTo>
                  <a:pt x="14502" y="17496"/>
                </a:lnTo>
                <a:lnTo>
                  <a:pt x="14575" y="17472"/>
                </a:lnTo>
                <a:lnTo>
                  <a:pt x="14624" y="17447"/>
                </a:lnTo>
                <a:lnTo>
                  <a:pt x="14673" y="17399"/>
                </a:lnTo>
                <a:lnTo>
                  <a:pt x="14721" y="17326"/>
                </a:lnTo>
                <a:lnTo>
                  <a:pt x="14721" y="17277"/>
                </a:lnTo>
                <a:lnTo>
                  <a:pt x="14697" y="17180"/>
                </a:lnTo>
                <a:lnTo>
                  <a:pt x="14600" y="16912"/>
                </a:lnTo>
                <a:lnTo>
                  <a:pt x="14454" y="16669"/>
                </a:lnTo>
                <a:lnTo>
                  <a:pt x="14283" y="16401"/>
                </a:lnTo>
                <a:lnTo>
                  <a:pt x="14113" y="16182"/>
                </a:lnTo>
                <a:lnTo>
                  <a:pt x="14137" y="16158"/>
                </a:lnTo>
                <a:lnTo>
                  <a:pt x="14137" y="16133"/>
                </a:lnTo>
                <a:lnTo>
                  <a:pt x="14137" y="16109"/>
                </a:lnTo>
                <a:lnTo>
                  <a:pt x="14113" y="16109"/>
                </a:lnTo>
                <a:lnTo>
                  <a:pt x="14040" y="16085"/>
                </a:lnTo>
                <a:lnTo>
                  <a:pt x="13699" y="15671"/>
                </a:lnTo>
                <a:lnTo>
                  <a:pt x="13553" y="15525"/>
                </a:lnTo>
                <a:lnTo>
                  <a:pt x="13626" y="15452"/>
                </a:lnTo>
                <a:lnTo>
                  <a:pt x="13626" y="15403"/>
                </a:lnTo>
                <a:lnTo>
                  <a:pt x="13626" y="15379"/>
                </a:lnTo>
                <a:lnTo>
                  <a:pt x="13602" y="15355"/>
                </a:lnTo>
                <a:lnTo>
                  <a:pt x="13553" y="15355"/>
                </a:lnTo>
                <a:lnTo>
                  <a:pt x="13432" y="15379"/>
                </a:lnTo>
                <a:lnTo>
                  <a:pt x="13188" y="15136"/>
                </a:lnTo>
                <a:lnTo>
                  <a:pt x="12945" y="14892"/>
                </a:lnTo>
                <a:lnTo>
                  <a:pt x="12385" y="14454"/>
                </a:lnTo>
                <a:lnTo>
                  <a:pt x="12361" y="14381"/>
                </a:lnTo>
                <a:lnTo>
                  <a:pt x="12312" y="14357"/>
                </a:lnTo>
                <a:lnTo>
                  <a:pt x="12264" y="14333"/>
                </a:lnTo>
                <a:lnTo>
                  <a:pt x="12069" y="14211"/>
                </a:lnTo>
                <a:lnTo>
                  <a:pt x="11582" y="13870"/>
                </a:lnTo>
                <a:lnTo>
                  <a:pt x="11071" y="13554"/>
                </a:lnTo>
                <a:lnTo>
                  <a:pt x="10560" y="13262"/>
                </a:lnTo>
                <a:lnTo>
                  <a:pt x="10025" y="12994"/>
                </a:lnTo>
                <a:lnTo>
                  <a:pt x="9782" y="12897"/>
                </a:lnTo>
                <a:lnTo>
                  <a:pt x="9538" y="12824"/>
                </a:lnTo>
                <a:lnTo>
                  <a:pt x="9295" y="12751"/>
                </a:lnTo>
                <a:lnTo>
                  <a:pt x="9027" y="12702"/>
                </a:lnTo>
                <a:lnTo>
                  <a:pt x="8516" y="12629"/>
                </a:lnTo>
                <a:lnTo>
                  <a:pt x="8005" y="12629"/>
                </a:lnTo>
                <a:lnTo>
                  <a:pt x="8005" y="12264"/>
                </a:lnTo>
                <a:lnTo>
                  <a:pt x="7981" y="11899"/>
                </a:lnTo>
                <a:lnTo>
                  <a:pt x="7957" y="11559"/>
                </a:lnTo>
                <a:lnTo>
                  <a:pt x="7884" y="11194"/>
                </a:lnTo>
                <a:lnTo>
                  <a:pt x="7786" y="10731"/>
                </a:lnTo>
                <a:lnTo>
                  <a:pt x="7640" y="10269"/>
                </a:lnTo>
                <a:lnTo>
                  <a:pt x="7494" y="9807"/>
                </a:lnTo>
                <a:lnTo>
                  <a:pt x="7349" y="9345"/>
                </a:lnTo>
                <a:lnTo>
                  <a:pt x="7300" y="9077"/>
                </a:lnTo>
                <a:lnTo>
                  <a:pt x="7251" y="8809"/>
                </a:lnTo>
                <a:lnTo>
                  <a:pt x="7203" y="8250"/>
                </a:lnTo>
                <a:lnTo>
                  <a:pt x="7203" y="7666"/>
                </a:lnTo>
                <a:lnTo>
                  <a:pt x="7251" y="7106"/>
                </a:lnTo>
                <a:lnTo>
                  <a:pt x="7324" y="6522"/>
                </a:lnTo>
                <a:lnTo>
                  <a:pt x="7421" y="5938"/>
                </a:lnTo>
                <a:lnTo>
                  <a:pt x="7616" y="4746"/>
                </a:lnTo>
                <a:lnTo>
                  <a:pt x="7884" y="4746"/>
                </a:lnTo>
                <a:lnTo>
                  <a:pt x="8127" y="4673"/>
                </a:lnTo>
                <a:lnTo>
                  <a:pt x="8370" y="4575"/>
                </a:lnTo>
                <a:lnTo>
                  <a:pt x="8638" y="4454"/>
                </a:lnTo>
                <a:lnTo>
                  <a:pt x="8760" y="4527"/>
                </a:lnTo>
                <a:lnTo>
                  <a:pt x="8906" y="4624"/>
                </a:lnTo>
                <a:lnTo>
                  <a:pt x="9076" y="4673"/>
                </a:lnTo>
                <a:lnTo>
                  <a:pt x="9246" y="4721"/>
                </a:lnTo>
                <a:lnTo>
                  <a:pt x="9587" y="4794"/>
                </a:lnTo>
                <a:lnTo>
                  <a:pt x="10122" y="4794"/>
                </a:lnTo>
                <a:lnTo>
                  <a:pt x="10366" y="4746"/>
                </a:lnTo>
                <a:lnTo>
                  <a:pt x="10609" y="4673"/>
                </a:lnTo>
                <a:lnTo>
                  <a:pt x="10828" y="4575"/>
                </a:lnTo>
                <a:lnTo>
                  <a:pt x="11071" y="4454"/>
                </a:lnTo>
                <a:lnTo>
                  <a:pt x="11266" y="4308"/>
                </a:lnTo>
                <a:lnTo>
                  <a:pt x="11461" y="4162"/>
                </a:lnTo>
                <a:lnTo>
                  <a:pt x="11607" y="3967"/>
                </a:lnTo>
                <a:lnTo>
                  <a:pt x="11728" y="3797"/>
                </a:lnTo>
                <a:lnTo>
                  <a:pt x="11850" y="3602"/>
                </a:lnTo>
                <a:lnTo>
                  <a:pt x="11947" y="3407"/>
                </a:lnTo>
                <a:lnTo>
                  <a:pt x="12020" y="3188"/>
                </a:lnTo>
                <a:lnTo>
                  <a:pt x="12142" y="2775"/>
                </a:lnTo>
                <a:lnTo>
                  <a:pt x="12215" y="2312"/>
                </a:lnTo>
                <a:lnTo>
                  <a:pt x="12288" y="1850"/>
                </a:lnTo>
                <a:lnTo>
                  <a:pt x="12312" y="1412"/>
                </a:lnTo>
                <a:lnTo>
                  <a:pt x="12361" y="512"/>
                </a:lnTo>
                <a:lnTo>
                  <a:pt x="12458" y="463"/>
                </a:lnTo>
                <a:lnTo>
                  <a:pt x="12507" y="390"/>
                </a:lnTo>
                <a:lnTo>
                  <a:pt x="12531" y="317"/>
                </a:lnTo>
                <a:lnTo>
                  <a:pt x="12507" y="220"/>
                </a:lnTo>
                <a:lnTo>
                  <a:pt x="12483" y="147"/>
                </a:lnTo>
                <a:lnTo>
                  <a:pt x="12434" y="98"/>
                </a:lnTo>
                <a:lnTo>
                  <a:pt x="12337" y="74"/>
                </a:lnTo>
                <a:lnTo>
                  <a:pt x="12264" y="98"/>
                </a:lnTo>
                <a:lnTo>
                  <a:pt x="12069" y="147"/>
                </a:lnTo>
                <a:lnTo>
                  <a:pt x="12045" y="147"/>
                </a:lnTo>
                <a:lnTo>
                  <a:pt x="11631" y="269"/>
                </a:lnTo>
                <a:lnTo>
                  <a:pt x="11217" y="366"/>
                </a:lnTo>
                <a:lnTo>
                  <a:pt x="10804" y="463"/>
                </a:lnTo>
                <a:lnTo>
                  <a:pt x="10390" y="561"/>
                </a:lnTo>
                <a:lnTo>
                  <a:pt x="10001" y="707"/>
                </a:lnTo>
                <a:lnTo>
                  <a:pt x="9611" y="877"/>
                </a:lnTo>
                <a:lnTo>
                  <a:pt x="9417" y="974"/>
                </a:lnTo>
                <a:lnTo>
                  <a:pt x="9246" y="1096"/>
                </a:lnTo>
                <a:lnTo>
                  <a:pt x="9076" y="1242"/>
                </a:lnTo>
                <a:lnTo>
                  <a:pt x="8906" y="1388"/>
                </a:lnTo>
                <a:lnTo>
                  <a:pt x="8735" y="1558"/>
                </a:lnTo>
                <a:lnTo>
                  <a:pt x="8614" y="1753"/>
                </a:lnTo>
                <a:lnTo>
                  <a:pt x="8492" y="1947"/>
                </a:lnTo>
                <a:lnTo>
                  <a:pt x="8395" y="2142"/>
                </a:lnTo>
                <a:lnTo>
                  <a:pt x="8297" y="2361"/>
                </a:lnTo>
                <a:lnTo>
                  <a:pt x="8249" y="2580"/>
                </a:lnTo>
                <a:lnTo>
                  <a:pt x="8200" y="2799"/>
                </a:lnTo>
                <a:lnTo>
                  <a:pt x="8151" y="3042"/>
                </a:lnTo>
                <a:lnTo>
                  <a:pt x="8151" y="3286"/>
                </a:lnTo>
                <a:lnTo>
                  <a:pt x="8200" y="3578"/>
                </a:lnTo>
                <a:lnTo>
                  <a:pt x="8224" y="3724"/>
                </a:lnTo>
                <a:lnTo>
                  <a:pt x="8297" y="3845"/>
                </a:lnTo>
                <a:lnTo>
                  <a:pt x="8370" y="3967"/>
                </a:lnTo>
                <a:lnTo>
                  <a:pt x="8443" y="4040"/>
                </a:lnTo>
                <a:lnTo>
                  <a:pt x="8443" y="4064"/>
                </a:lnTo>
                <a:lnTo>
                  <a:pt x="8370" y="4089"/>
                </a:lnTo>
                <a:lnTo>
                  <a:pt x="8200" y="4186"/>
                </a:lnTo>
                <a:lnTo>
                  <a:pt x="8030" y="4259"/>
                </a:lnTo>
                <a:lnTo>
                  <a:pt x="7689" y="4381"/>
                </a:lnTo>
                <a:lnTo>
                  <a:pt x="7762" y="3797"/>
                </a:lnTo>
                <a:lnTo>
                  <a:pt x="7811" y="3237"/>
                </a:lnTo>
                <a:lnTo>
                  <a:pt x="7811" y="2702"/>
                </a:lnTo>
                <a:lnTo>
                  <a:pt x="7786" y="2142"/>
                </a:lnTo>
                <a:lnTo>
                  <a:pt x="7738" y="1874"/>
                </a:lnTo>
                <a:lnTo>
                  <a:pt x="7689" y="1607"/>
                </a:lnTo>
                <a:lnTo>
                  <a:pt x="7616" y="1339"/>
                </a:lnTo>
                <a:lnTo>
                  <a:pt x="7519" y="1072"/>
                </a:lnTo>
                <a:lnTo>
                  <a:pt x="7421" y="828"/>
                </a:lnTo>
                <a:lnTo>
                  <a:pt x="7300" y="561"/>
                </a:lnTo>
                <a:lnTo>
                  <a:pt x="7130" y="317"/>
                </a:lnTo>
                <a:lnTo>
                  <a:pt x="6959" y="50"/>
                </a:lnTo>
                <a:lnTo>
                  <a:pt x="6935" y="25"/>
                </a:lnTo>
                <a:lnTo>
                  <a:pt x="6886" y="1"/>
                </a:lnTo>
                <a:close/>
              </a:path>
            </a:pathLst>
          </a:custGeom>
          <a:solidFill>
            <a:srgbClr val="95D346"/>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lang="da-DK" sz="1867" b="0" i="0" u="none" strike="noStrike" kern="0" cap="none" spc="0" normalizeH="0" baseline="0" noProof="0">
              <a:ln>
                <a:noFill/>
              </a:ln>
              <a:solidFill>
                <a:srgbClr val="000000"/>
              </a:solidFill>
              <a:effectLst/>
              <a:uLnTx/>
              <a:uFillTx/>
              <a:latin typeface="Arial"/>
              <a:cs typeface="Arial"/>
              <a:sym typeface="Arial"/>
            </a:endParaRPr>
          </a:p>
        </p:txBody>
      </p:sp>
      <p:sp>
        <p:nvSpPr>
          <p:cNvPr id="23" name="Google Shape;1275;p48">
            <a:extLst>
              <a:ext uri="{FF2B5EF4-FFF2-40B4-BE49-F238E27FC236}">
                <a16:creationId xmlns:a16="http://schemas.microsoft.com/office/drawing/2014/main" id="{E3753B1C-EBC0-449B-A8B6-B534CCA157D2}"/>
              </a:ext>
            </a:extLst>
          </p:cNvPr>
          <p:cNvSpPr/>
          <p:nvPr/>
        </p:nvSpPr>
        <p:spPr>
          <a:xfrm>
            <a:off x="6678260" y="1504283"/>
            <a:ext cx="352133" cy="456532"/>
          </a:xfrm>
          <a:custGeom>
            <a:avLst/>
            <a:gdLst/>
            <a:ahLst/>
            <a:cxnLst/>
            <a:rect l="l" t="t" r="r" b="b"/>
            <a:pathLst>
              <a:path w="14722" h="18470" extrusionOk="0">
                <a:moveTo>
                  <a:pt x="11874" y="658"/>
                </a:moveTo>
                <a:lnTo>
                  <a:pt x="11826" y="1291"/>
                </a:lnTo>
                <a:lnTo>
                  <a:pt x="11777" y="1923"/>
                </a:lnTo>
                <a:lnTo>
                  <a:pt x="11753" y="2264"/>
                </a:lnTo>
                <a:lnTo>
                  <a:pt x="11680" y="2580"/>
                </a:lnTo>
                <a:lnTo>
                  <a:pt x="11607" y="2872"/>
                </a:lnTo>
                <a:lnTo>
                  <a:pt x="11509" y="3188"/>
                </a:lnTo>
                <a:lnTo>
                  <a:pt x="11412" y="3407"/>
                </a:lnTo>
                <a:lnTo>
                  <a:pt x="11290" y="3626"/>
                </a:lnTo>
                <a:lnTo>
                  <a:pt x="11144" y="3797"/>
                </a:lnTo>
                <a:lnTo>
                  <a:pt x="10974" y="3943"/>
                </a:lnTo>
                <a:lnTo>
                  <a:pt x="10779" y="4064"/>
                </a:lnTo>
                <a:lnTo>
                  <a:pt x="10560" y="4162"/>
                </a:lnTo>
                <a:lnTo>
                  <a:pt x="10341" y="4235"/>
                </a:lnTo>
                <a:lnTo>
                  <a:pt x="10122" y="4308"/>
                </a:lnTo>
                <a:lnTo>
                  <a:pt x="9976" y="4332"/>
                </a:lnTo>
                <a:lnTo>
                  <a:pt x="9855" y="4332"/>
                </a:lnTo>
                <a:lnTo>
                  <a:pt x="9563" y="4308"/>
                </a:lnTo>
                <a:lnTo>
                  <a:pt x="9295" y="4259"/>
                </a:lnTo>
                <a:lnTo>
                  <a:pt x="9052" y="4162"/>
                </a:lnTo>
                <a:lnTo>
                  <a:pt x="9392" y="3894"/>
                </a:lnTo>
                <a:lnTo>
                  <a:pt x="9611" y="3675"/>
                </a:lnTo>
                <a:lnTo>
                  <a:pt x="9806" y="3432"/>
                </a:lnTo>
                <a:lnTo>
                  <a:pt x="10025" y="3188"/>
                </a:lnTo>
                <a:lnTo>
                  <a:pt x="10220" y="2921"/>
                </a:lnTo>
                <a:lnTo>
                  <a:pt x="10366" y="2629"/>
                </a:lnTo>
                <a:lnTo>
                  <a:pt x="10512" y="2337"/>
                </a:lnTo>
                <a:lnTo>
                  <a:pt x="10633" y="2045"/>
                </a:lnTo>
                <a:lnTo>
                  <a:pt x="10706" y="1753"/>
                </a:lnTo>
                <a:lnTo>
                  <a:pt x="10706" y="1680"/>
                </a:lnTo>
                <a:lnTo>
                  <a:pt x="10682" y="1607"/>
                </a:lnTo>
                <a:lnTo>
                  <a:pt x="10658" y="1558"/>
                </a:lnTo>
                <a:lnTo>
                  <a:pt x="10585" y="1534"/>
                </a:lnTo>
                <a:lnTo>
                  <a:pt x="10536" y="1510"/>
                </a:lnTo>
                <a:lnTo>
                  <a:pt x="10463" y="1510"/>
                </a:lnTo>
                <a:lnTo>
                  <a:pt x="10414" y="1558"/>
                </a:lnTo>
                <a:lnTo>
                  <a:pt x="10366" y="1607"/>
                </a:lnTo>
                <a:lnTo>
                  <a:pt x="10098" y="2069"/>
                </a:lnTo>
                <a:lnTo>
                  <a:pt x="9855" y="2531"/>
                </a:lnTo>
                <a:lnTo>
                  <a:pt x="9587" y="2969"/>
                </a:lnTo>
                <a:lnTo>
                  <a:pt x="9441" y="3188"/>
                </a:lnTo>
                <a:lnTo>
                  <a:pt x="9271" y="3383"/>
                </a:lnTo>
                <a:lnTo>
                  <a:pt x="9027" y="3626"/>
                </a:lnTo>
                <a:lnTo>
                  <a:pt x="8760" y="3845"/>
                </a:lnTo>
                <a:lnTo>
                  <a:pt x="8735" y="3845"/>
                </a:lnTo>
                <a:lnTo>
                  <a:pt x="8638" y="3724"/>
                </a:lnTo>
                <a:lnTo>
                  <a:pt x="8589" y="3578"/>
                </a:lnTo>
                <a:lnTo>
                  <a:pt x="8565" y="3432"/>
                </a:lnTo>
                <a:lnTo>
                  <a:pt x="8541" y="3261"/>
                </a:lnTo>
                <a:lnTo>
                  <a:pt x="8589" y="2921"/>
                </a:lnTo>
                <a:lnTo>
                  <a:pt x="8638" y="2629"/>
                </a:lnTo>
                <a:lnTo>
                  <a:pt x="8711" y="2410"/>
                </a:lnTo>
                <a:lnTo>
                  <a:pt x="8808" y="2215"/>
                </a:lnTo>
                <a:lnTo>
                  <a:pt x="8930" y="2020"/>
                </a:lnTo>
                <a:lnTo>
                  <a:pt x="9052" y="1850"/>
                </a:lnTo>
                <a:lnTo>
                  <a:pt x="9222" y="1680"/>
                </a:lnTo>
                <a:lnTo>
                  <a:pt x="9392" y="1510"/>
                </a:lnTo>
                <a:lnTo>
                  <a:pt x="9563" y="1388"/>
                </a:lnTo>
                <a:lnTo>
                  <a:pt x="9757" y="1266"/>
                </a:lnTo>
                <a:lnTo>
                  <a:pt x="10001" y="1120"/>
                </a:lnTo>
                <a:lnTo>
                  <a:pt x="10244" y="1023"/>
                </a:lnTo>
                <a:lnTo>
                  <a:pt x="10512" y="950"/>
                </a:lnTo>
                <a:lnTo>
                  <a:pt x="10779" y="877"/>
                </a:lnTo>
                <a:lnTo>
                  <a:pt x="11339" y="755"/>
                </a:lnTo>
                <a:lnTo>
                  <a:pt x="11874" y="658"/>
                </a:lnTo>
                <a:close/>
                <a:moveTo>
                  <a:pt x="1849" y="4527"/>
                </a:moveTo>
                <a:lnTo>
                  <a:pt x="2141" y="4551"/>
                </a:lnTo>
                <a:lnTo>
                  <a:pt x="2433" y="4600"/>
                </a:lnTo>
                <a:lnTo>
                  <a:pt x="2701" y="4648"/>
                </a:lnTo>
                <a:lnTo>
                  <a:pt x="2993" y="4746"/>
                </a:lnTo>
                <a:lnTo>
                  <a:pt x="3236" y="4819"/>
                </a:lnTo>
                <a:lnTo>
                  <a:pt x="3772" y="5062"/>
                </a:lnTo>
                <a:lnTo>
                  <a:pt x="4258" y="5330"/>
                </a:lnTo>
                <a:lnTo>
                  <a:pt x="4721" y="5622"/>
                </a:lnTo>
                <a:lnTo>
                  <a:pt x="4915" y="5768"/>
                </a:lnTo>
                <a:lnTo>
                  <a:pt x="5061" y="5914"/>
                </a:lnTo>
                <a:lnTo>
                  <a:pt x="5232" y="6084"/>
                </a:lnTo>
                <a:lnTo>
                  <a:pt x="5353" y="6254"/>
                </a:lnTo>
                <a:lnTo>
                  <a:pt x="5597" y="6644"/>
                </a:lnTo>
                <a:lnTo>
                  <a:pt x="5816" y="7057"/>
                </a:lnTo>
                <a:lnTo>
                  <a:pt x="5913" y="7301"/>
                </a:lnTo>
                <a:lnTo>
                  <a:pt x="5986" y="7568"/>
                </a:lnTo>
                <a:lnTo>
                  <a:pt x="6059" y="7836"/>
                </a:lnTo>
                <a:lnTo>
                  <a:pt x="6083" y="8104"/>
                </a:lnTo>
                <a:lnTo>
                  <a:pt x="6083" y="8323"/>
                </a:lnTo>
                <a:lnTo>
                  <a:pt x="6059" y="8542"/>
                </a:lnTo>
                <a:lnTo>
                  <a:pt x="5962" y="8858"/>
                </a:lnTo>
                <a:lnTo>
                  <a:pt x="5670" y="8712"/>
                </a:lnTo>
                <a:lnTo>
                  <a:pt x="5305" y="8493"/>
                </a:lnTo>
                <a:lnTo>
                  <a:pt x="4988" y="8250"/>
                </a:lnTo>
                <a:lnTo>
                  <a:pt x="4672" y="7958"/>
                </a:lnTo>
                <a:lnTo>
                  <a:pt x="4380" y="7666"/>
                </a:lnTo>
                <a:lnTo>
                  <a:pt x="4015" y="7179"/>
                </a:lnTo>
                <a:lnTo>
                  <a:pt x="3796" y="6911"/>
                </a:lnTo>
                <a:lnTo>
                  <a:pt x="3553" y="6619"/>
                </a:lnTo>
                <a:lnTo>
                  <a:pt x="3309" y="6376"/>
                </a:lnTo>
                <a:lnTo>
                  <a:pt x="3163" y="6279"/>
                </a:lnTo>
                <a:lnTo>
                  <a:pt x="3042" y="6181"/>
                </a:lnTo>
                <a:lnTo>
                  <a:pt x="2896" y="6108"/>
                </a:lnTo>
                <a:lnTo>
                  <a:pt x="2774" y="6060"/>
                </a:lnTo>
                <a:lnTo>
                  <a:pt x="2628" y="6035"/>
                </a:lnTo>
                <a:lnTo>
                  <a:pt x="2433" y="6035"/>
                </a:lnTo>
                <a:lnTo>
                  <a:pt x="2409" y="6060"/>
                </a:lnTo>
                <a:lnTo>
                  <a:pt x="2409" y="6108"/>
                </a:lnTo>
                <a:lnTo>
                  <a:pt x="2409" y="6157"/>
                </a:lnTo>
                <a:lnTo>
                  <a:pt x="2506" y="6279"/>
                </a:lnTo>
                <a:lnTo>
                  <a:pt x="2604" y="6425"/>
                </a:lnTo>
                <a:lnTo>
                  <a:pt x="2847" y="6668"/>
                </a:lnTo>
                <a:lnTo>
                  <a:pt x="3090" y="6911"/>
                </a:lnTo>
                <a:lnTo>
                  <a:pt x="3309" y="7130"/>
                </a:lnTo>
                <a:lnTo>
                  <a:pt x="3772" y="7739"/>
                </a:lnTo>
                <a:lnTo>
                  <a:pt x="4015" y="8031"/>
                </a:lnTo>
                <a:lnTo>
                  <a:pt x="4258" y="8323"/>
                </a:lnTo>
                <a:lnTo>
                  <a:pt x="4404" y="8444"/>
                </a:lnTo>
                <a:lnTo>
                  <a:pt x="4550" y="8590"/>
                </a:lnTo>
                <a:lnTo>
                  <a:pt x="4867" y="8834"/>
                </a:lnTo>
                <a:lnTo>
                  <a:pt x="5207" y="9053"/>
                </a:lnTo>
                <a:lnTo>
                  <a:pt x="5548" y="9247"/>
                </a:lnTo>
                <a:lnTo>
                  <a:pt x="5353" y="9345"/>
                </a:lnTo>
                <a:lnTo>
                  <a:pt x="5159" y="9418"/>
                </a:lnTo>
                <a:lnTo>
                  <a:pt x="4940" y="9466"/>
                </a:lnTo>
                <a:lnTo>
                  <a:pt x="4745" y="9491"/>
                </a:lnTo>
                <a:lnTo>
                  <a:pt x="4550" y="9491"/>
                </a:lnTo>
                <a:lnTo>
                  <a:pt x="4331" y="9466"/>
                </a:lnTo>
                <a:lnTo>
                  <a:pt x="4112" y="9442"/>
                </a:lnTo>
                <a:lnTo>
                  <a:pt x="3869" y="9369"/>
                </a:lnTo>
                <a:lnTo>
                  <a:pt x="3650" y="9296"/>
                </a:lnTo>
                <a:lnTo>
                  <a:pt x="3407" y="9174"/>
                </a:lnTo>
                <a:lnTo>
                  <a:pt x="3188" y="9053"/>
                </a:lnTo>
                <a:lnTo>
                  <a:pt x="2969" y="8907"/>
                </a:lnTo>
                <a:lnTo>
                  <a:pt x="2774" y="8761"/>
                </a:lnTo>
                <a:lnTo>
                  <a:pt x="2579" y="8590"/>
                </a:lnTo>
                <a:lnTo>
                  <a:pt x="2239" y="8201"/>
                </a:lnTo>
                <a:lnTo>
                  <a:pt x="2068" y="7982"/>
                </a:lnTo>
                <a:lnTo>
                  <a:pt x="1898" y="7714"/>
                </a:lnTo>
                <a:lnTo>
                  <a:pt x="1776" y="7471"/>
                </a:lnTo>
                <a:lnTo>
                  <a:pt x="1655" y="7179"/>
                </a:lnTo>
                <a:lnTo>
                  <a:pt x="1460" y="6619"/>
                </a:lnTo>
                <a:lnTo>
                  <a:pt x="1314" y="6060"/>
                </a:lnTo>
                <a:lnTo>
                  <a:pt x="1144" y="5330"/>
                </a:lnTo>
                <a:lnTo>
                  <a:pt x="1046" y="4940"/>
                </a:lnTo>
                <a:lnTo>
                  <a:pt x="998" y="4575"/>
                </a:lnTo>
                <a:lnTo>
                  <a:pt x="1265" y="4551"/>
                </a:lnTo>
                <a:lnTo>
                  <a:pt x="1557" y="4527"/>
                </a:lnTo>
                <a:close/>
                <a:moveTo>
                  <a:pt x="10974" y="14138"/>
                </a:moveTo>
                <a:lnTo>
                  <a:pt x="10755" y="14187"/>
                </a:lnTo>
                <a:lnTo>
                  <a:pt x="10536" y="14260"/>
                </a:lnTo>
                <a:lnTo>
                  <a:pt x="10098" y="14430"/>
                </a:lnTo>
                <a:lnTo>
                  <a:pt x="9855" y="14503"/>
                </a:lnTo>
                <a:lnTo>
                  <a:pt x="9636" y="14600"/>
                </a:lnTo>
                <a:lnTo>
                  <a:pt x="9198" y="14844"/>
                </a:lnTo>
                <a:lnTo>
                  <a:pt x="9173" y="14868"/>
                </a:lnTo>
                <a:lnTo>
                  <a:pt x="9149" y="14892"/>
                </a:lnTo>
                <a:lnTo>
                  <a:pt x="9173" y="14965"/>
                </a:lnTo>
                <a:lnTo>
                  <a:pt x="9198" y="14990"/>
                </a:lnTo>
                <a:lnTo>
                  <a:pt x="9246" y="15014"/>
                </a:lnTo>
                <a:lnTo>
                  <a:pt x="9271" y="15014"/>
                </a:lnTo>
                <a:lnTo>
                  <a:pt x="9490" y="14941"/>
                </a:lnTo>
                <a:lnTo>
                  <a:pt x="9757" y="14892"/>
                </a:lnTo>
                <a:lnTo>
                  <a:pt x="10268" y="14795"/>
                </a:lnTo>
                <a:lnTo>
                  <a:pt x="10512" y="14722"/>
                </a:lnTo>
                <a:lnTo>
                  <a:pt x="10731" y="14625"/>
                </a:lnTo>
                <a:lnTo>
                  <a:pt x="10828" y="14552"/>
                </a:lnTo>
                <a:lnTo>
                  <a:pt x="10925" y="14479"/>
                </a:lnTo>
                <a:lnTo>
                  <a:pt x="11023" y="14381"/>
                </a:lnTo>
                <a:lnTo>
                  <a:pt x="11096" y="14284"/>
                </a:lnTo>
                <a:lnTo>
                  <a:pt x="11096" y="14235"/>
                </a:lnTo>
                <a:lnTo>
                  <a:pt x="11071" y="14162"/>
                </a:lnTo>
                <a:lnTo>
                  <a:pt x="11023" y="14138"/>
                </a:lnTo>
                <a:close/>
                <a:moveTo>
                  <a:pt x="8297" y="13116"/>
                </a:moveTo>
                <a:lnTo>
                  <a:pt x="8614" y="13140"/>
                </a:lnTo>
                <a:lnTo>
                  <a:pt x="8443" y="13238"/>
                </a:lnTo>
                <a:lnTo>
                  <a:pt x="8370" y="13286"/>
                </a:lnTo>
                <a:lnTo>
                  <a:pt x="8297" y="13335"/>
                </a:lnTo>
                <a:lnTo>
                  <a:pt x="8273" y="13384"/>
                </a:lnTo>
                <a:lnTo>
                  <a:pt x="8249" y="13432"/>
                </a:lnTo>
                <a:lnTo>
                  <a:pt x="8273" y="13505"/>
                </a:lnTo>
                <a:lnTo>
                  <a:pt x="8322" y="13578"/>
                </a:lnTo>
                <a:lnTo>
                  <a:pt x="8370" y="13603"/>
                </a:lnTo>
                <a:lnTo>
                  <a:pt x="8419" y="13627"/>
                </a:lnTo>
                <a:lnTo>
                  <a:pt x="8614" y="13603"/>
                </a:lnTo>
                <a:lnTo>
                  <a:pt x="8784" y="13554"/>
                </a:lnTo>
                <a:lnTo>
                  <a:pt x="9125" y="13432"/>
                </a:lnTo>
                <a:lnTo>
                  <a:pt x="9271" y="13408"/>
                </a:lnTo>
                <a:lnTo>
                  <a:pt x="9538" y="13408"/>
                </a:lnTo>
                <a:lnTo>
                  <a:pt x="9660" y="13384"/>
                </a:lnTo>
                <a:lnTo>
                  <a:pt x="9782" y="13432"/>
                </a:lnTo>
                <a:lnTo>
                  <a:pt x="10220" y="13651"/>
                </a:lnTo>
                <a:lnTo>
                  <a:pt x="9952" y="13724"/>
                </a:lnTo>
                <a:lnTo>
                  <a:pt x="9709" y="13797"/>
                </a:lnTo>
                <a:lnTo>
                  <a:pt x="9149" y="13919"/>
                </a:lnTo>
                <a:lnTo>
                  <a:pt x="8857" y="13968"/>
                </a:lnTo>
                <a:lnTo>
                  <a:pt x="8589" y="14041"/>
                </a:lnTo>
                <a:lnTo>
                  <a:pt x="8541" y="14089"/>
                </a:lnTo>
                <a:lnTo>
                  <a:pt x="8516" y="14138"/>
                </a:lnTo>
                <a:lnTo>
                  <a:pt x="8541" y="14187"/>
                </a:lnTo>
                <a:lnTo>
                  <a:pt x="8589" y="14235"/>
                </a:lnTo>
                <a:lnTo>
                  <a:pt x="8857" y="14284"/>
                </a:lnTo>
                <a:lnTo>
                  <a:pt x="9125" y="14284"/>
                </a:lnTo>
                <a:lnTo>
                  <a:pt x="9392" y="14260"/>
                </a:lnTo>
                <a:lnTo>
                  <a:pt x="9660" y="14211"/>
                </a:lnTo>
                <a:lnTo>
                  <a:pt x="9903" y="14162"/>
                </a:lnTo>
                <a:lnTo>
                  <a:pt x="10171" y="14114"/>
                </a:lnTo>
                <a:lnTo>
                  <a:pt x="10414" y="14016"/>
                </a:lnTo>
                <a:lnTo>
                  <a:pt x="10536" y="13943"/>
                </a:lnTo>
                <a:lnTo>
                  <a:pt x="10633" y="13870"/>
                </a:lnTo>
                <a:lnTo>
                  <a:pt x="11096" y="14162"/>
                </a:lnTo>
                <a:lnTo>
                  <a:pt x="11558" y="14479"/>
                </a:lnTo>
                <a:lnTo>
                  <a:pt x="11631" y="14527"/>
                </a:lnTo>
                <a:lnTo>
                  <a:pt x="11193" y="14722"/>
                </a:lnTo>
                <a:lnTo>
                  <a:pt x="10852" y="14892"/>
                </a:lnTo>
                <a:lnTo>
                  <a:pt x="10512" y="15014"/>
                </a:lnTo>
                <a:lnTo>
                  <a:pt x="10171" y="15136"/>
                </a:lnTo>
                <a:lnTo>
                  <a:pt x="9830" y="15209"/>
                </a:lnTo>
                <a:lnTo>
                  <a:pt x="9782" y="15233"/>
                </a:lnTo>
                <a:lnTo>
                  <a:pt x="9782" y="15257"/>
                </a:lnTo>
                <a:lnTo>
                  <a:pt x="9782" y="15282"/>
                </a:lnTo>
                <a:lnTo>
                  <a:pt x="9830" y="15306"/>
                </a:lnTo>
                <a:lnTo>
                  <a:pt x="9976" y="15330"/>
                </a:lnTo>
                <a:lnTo>
                  <a:pt x="10122" y="15330"/>
                </a:lnTo>
                <a:lnTo>
                  <a:pt x="10414" y="15306"/>
                </a:lnTo>
                <a:lnTo>
                  <a:pt x="10731" y="15233"/>
                </a:lnTo>
                <a:lnTo>
                  <a:pt x="11023" y="15136"/>
                </a:lnTo>
                <a:lnTo>
                  <a:pt x="11485" y="14965"/>
                </a:lnTo>
                <a:lnTo>
                  <a:pt x="11996" y="14771"/>
                </a:lnTo>
                <a:lnTo>
                  <a:pt x="12337" y="15038"/>
                </a:lnTo>
                <a:lnTo>
                  <a:pt x="12093" y="15111"/>
                </a:lnTo>
                <a:lnTo>
                  <a:pt x="11874" y="15209"/>
                </a:lnTo>
                <a:lnTo>
                  <a:pt x="11436" y="15403"/>
                </a:lnTo>
                <a:lnTo>
                  <a:pt x="11047" y="15525"/>
                </a:lnTo>
                <a:lnTo>
                  <a:pt x="10682" y="15647"/>
                </a:lnTo>
                <a:lnTo>
                  <a:pt x="10293" y="15744"/>
                </a:lnTo>
                <a:lnTo>
                  <a:pt x="9903" y="15890"/>
                </a:lnTo>
                <a:lnTo>
                  <a:pt x="9879" y="15914"/>
                </a:lnTo>
                <a:lnTo>
                  <a:pt x="9879" y="15939"/>
                </a:lnTo>
                <a:lnTo>
                  <a:pt x="9879" y="15963"/>
                </a:lnTo>
                <a:lnTo>
                  <a:pt x="9903" y="15987"/>
                </a:lnTo>
                <a:lnTo>
                  <a:pt x="10098" y="16036"/>
                </a:lnTo>
                <a:lnTo>
                  <a:pt x="10268" y="16060"/>
                </a:lnTo>
                <a:lnTo>
                  <a:pt x="10463" y="16036"/>
                </a:lnTo>
                <a:lnTo>
                  <a:pt x="10658" y="16012"/>
                </a:lnTo>
                <a:lnTo>
                  <a:pt x="11023" y="15939"/>
                </a:lnTo>
                <a:lnTo>
                  <a:pt x="11388" y="15817"/>
                </a:lnTo>
                <a:lnTo>
                  <a:pt x="12020" y="15598"/>
                </a:lnTo>
                <a:lnTo>
                  <a:pt x="12337" y="15476"/>
                </a:lnTo>
                <a:lnTo>
                  <a:pt x="12629" y="15306"/>
                </a:lnTo>
                <a:lnTo>
                  <a:pt x="12921" y="15598"/>
                </a:lnTo>
                <a:lnTo>
                  <a:pt x="12434" y="15793"/>
                </a:lnTo>
                <a:lnTo>
                  <a:pt x="11947" y="15963"/>
                </a:lnTo>
                <a:lnTo>
                  <a:pt x="11534" y="16060"/>
                </a:lnTo>
                <a:lnTo>
                  <a:pt x="11096" y="16158"/>
                </a:lnTo>
                <a:lnTo>
                  <a:pt x="10682" y="16255"/>
                </a:lnTo>
                <a:lnTo>
                  <a:pt x="10487" y="16328"/>
                </a:lnTo>
                <a:lnTo>
                  <a:pt x="10293" y="16425"/>
                </a:lnTo>
                <a:lnTo>
                  <a:pt x="10268" y="16450"/>
                </a:lnTo>
                <a:lnTo>
                  <a:pt x="10268" y="16474"/>
                </a:lnTo>
                <a:lnTo>
                  <a:pt x="10268" y="16498"/>
                </a:lnTo>
                <a:lnTo>
                  <a:pt x="10293" y="16523"/>
                </a:lnTo>
                <a:lnTo>
                  <a:pt x="10512" y="16547"/>
                </a:lnTo>
                <a:lnTo>
                  <a:pt x="10731" y="16547"/>
                </a:lnTo>
                <a:lnTo>
                  <a:pt x="10950" y="16523"/>
                </a:lnTo>
                <a:lnTo>
                  <a:pt x="11169" y="16498"/>
                </a:lnTo>
                <a:lnTo>
                  <a:pt x="11607" y="16401"/>
                </a:lnTo>
                <a:lnTo>
                  <a:pt x="12020" y="16279"/>
                </a:lnTo>
                <a:lnTo>
                  <a:pt x="12312" y="16182"/>
                </a:lnTo>
                <a:lnTo>
                  <a:pt x="12604" y="16085"/>
                </a:lnTo>
                <a:lnTo>
                  <a:pt x="12872" y="15963"/>
                </a:lnTo>
                <a:lnTo>
                  <a:pt x="13140" y="15841"/>
                </a:lnTo>
                <a:lnTo>
                  <a:pt x="13164" y="15866"/>
                </a:lnTo>
                <a:lnTo>
                  <a:pt x="13407" y="16133"/>
                </a:lnTo>
                <a:lnTo>
                  <a:pt x="12994" y="16231"/>
                </a:lnTo>
                <a:lnTo>
                  <a:pt x="12604" y="16377"/>
                </a:lnTo>
                <a:lnTo>
                  <a:pt x="11680" y="16669"/>
                </a:lnTo>
                <a:lnTo>
                  <a:pt x="10779" y="16912"/>
                </a:lnTo>
                <a:lnTo>
                  <a:pt x="10731" y="16961"/>
                </a:lnTo>
                <a:lnTo>
                  <a:pt x="10706" y="17034"/>
                </a:lnTo>
                <a:lnTo>
                  <a:pt x="10731" y="17082"/>
                </a:lnTo>
                <a:lnTo>
                  <a:pt x="10804" y="17107"/>
                </a:lnTo>
                <a:lnTo>
                  <a:pt x="11023" y="17082"/>
                </a:lnTo>
                <a:lnTo>
                  <a:pt x="11242" y="17082"/>
                </a:lnTo>
                <a:lnTo>
                  <a:pt x="11680" y="16985"/>
                </a:lnTo>
                <a:lnTo>
                  <a:pt x="12093" y="16888"/>
                </a:lnTo>
                <a:lnTo>
                  <a:pt x="12531" y="16742"/>
                </a:lnTo>
                <a:lnTo>
                  <a:pt x="13091" y="16571"/>
                </a:lnTo>
                <a:lnTo>
                  <a:pt x="13626" y="16401"/>
                </a:lnTo>
                <a:lnTo>
                  <a:pt x="13870" y="16717"/>
                </a:lnTo>
                <a:lnTo>
                  <a:pt x="14089" y="17058"/>
                </a:lnTo>
                <a:lnTo>
                  <a:pt x="13894" y="17155"/>
                </a:lnTo>
                <a:lnTo>
                  <a:pt x="13699" y="17228"/>
                </a:lnTo>
                <a:lnTo>
                  <a:pt x="13286" y="17350"/>
                </a:lnTo>
                <a:lnTo>
                  <a:pt x="12872" y="17423"/>
                </a:lnTo>
                <a:lnTo>
                  <a:pt x="12434" y="17472"/>
                </a:lnTo>
                <a:lnTo>
                  <a:pt x="11339" y="17618"/>
                </a:lnTo>
                <a:lnTo>
                  <a:pt x="10220" y="17788"/>
                </a:lnTo>
                <a:lnTo>
                  <a:pt x="9587" y="17885"/>
                </a:lnTo>
                <a:lnTo>
                  <a:pt x="8930" y="17934"/>
                </a:lnTo>
                <a:lnTo>
                  <a:pt x="8297" y="17958"/>
                </a:lnTo>
                <a:lnTo>
                  <a:pt x="7032" y="17958"/>
                </a:lnTo>
                <a:lnTo>
                  <a:pt x="6400" y="17910"/>
                </a:lnTo>
                <a:lnTo>
                  <a:pt x="5110" y="17837"/>
                </a:lnTo>
                <a:lnTo>
                  <a:pt x="3918" y="17764"/>
                </a:lnTo>
                <a:lnTo>
                  <a:pt x="3334" y="17715"/>
                </a:lnTo>
                <a:lnTo>
                  <a:pt x="2725" y="17666"/>
                </a:lnTo>
                <a:lnTo>
                  <a:pt x="2166" y="17618"/>
                </a:lnTo>
                <a:lnTo>
                  <a:pt x="1849" y="17569"/>
                </a:lnTo>
                <a:lnTo>
                  <a:pt x="1533" y="17520"/>
                </a:lnTo>
                <a:lnTo>
                  <a:pt x="1217" y="17447"/>
                </a:lnTo>
                <a:lnTo>
                  <a:pt x="925" y="17350"/>
                </a:lnTo>
                <a:lnTo>
                  <a:pt x="681" y="17204"/>
                </a:lnTo>
                <a:lnTo>
                  <a:pt x="560" y="17131"/>
                </a:lnTo>
                <a:lnTo>
                  <a:pt x="462" y="17034"/>
                </a:lnTo>
                <a:lnTo>
                  <a:pt x="754" y="16644"/>
                </a:lnTo>
                <a:lnTo>
                  <a:pt x="1046" y="16279"/>
                </a:lnTo>
                <a:lnTo>
                  <a:pt x="1363" y="15914"/>
                </a:lnTo>
                <a:lnTo>
                  <a:pt x="1703" y="15574"/>
                </a:lnTo>
                <a:lnTo>
                  <a:pt x="2044" y="15257"/>
                </a:lnTo>
                <a:lnTo>
                  <a:pt x="2409" y="14941"/>
                </a:lnTo>
                <a:lnTo>
                  <a:pt x="2798" y="14649"/>
                </a:lnTo>
                <a:lnTo>
                  <a:pt x="3212" y="14381"/>
                </a:lnTo>
                <a:lnTo>
                  <a:pt x="3699" y="14089"/>
                </a:lnTo>
                <a:lnTo>
                  <a:pt x="4185" y="13870"/>
                </a:lnTo>
                <a:lnTo>
                  <a:pt x="4721" y="13676"/>
                </a:lnTo>
                <a:lnTo>
                  <a:pt x="5232" y="13505"/>
                </a:lnTo>
                <a:lnTo>
                  <a:pt x="5767" y="13384"/>
                </a:lnTo>
                <a:lnTo>
                  <a:pt x="6327" y="13286"/>
                </a:lnTo>
                <a:lnTo>
                  <a:pt x="6862" y="13189"/>
                </a:lnTo>
                <a:lnTo>
                  <a:pt x="7421" y="13140"/>
                </a:lnTo>
                <a:lnTo>
                  <a:pt x="7373" y="13603"/>
                </a:lnTo>
                <a:lnTo>
                  <a:pt x="7276" y="14065"/>
                </a:lnTo>
                <a:lnTo>
                  <a:pt x="7276" y="14187"/>
                </a:lnTo>
                <a:lnTo>
                  <a:pt x="7324" y="14284"/>
                </a:lnTo>
                <a:lnTo>
                  <a:pt x="7397" y="14357"/>
                </a:lnTo>
                <a:lnTo>
                  <a:pt x="7494" y="14381"/>
                </a:lnTo>
                <a:lnTo>
                  <a:pt x="7592" y="14406"/>
                </a:lnTo>
                <a:lnTo>
                  <a:pt x="7689" y="14381"/>
                </a:lnTo>
                <a:lnTo>
                  <a:pt x="7762" y="14308"/>
                </a:lnTo>
                <a:lnTo>
                  <a:pt x="7811" y="14211"/>
                </a:lnTo>
                <a:lnTo>
                  <a:pt x="7884" y="13676"/>
                </a:lnTo>
                <a:lnTo>
                  <a:pt x="7957" y="13116"/>
                </a:lnTo>
                <a:close/>
                <a:moveTo>
                  <a:pt x="6886" y="1"/>
                </a:moveTo>
                <a:lnTo>
                  <a:pt x="6813" y="25"/>
                </a:lnTo>
                <a:lnTo>
                  <a:pt x="6765" y="25"/>
                </a:lnTo>
                <a:lnTo>
                  <a:pt x="6740" y="74"/>
                </a:lnTo>
                <a:lnTo>
                  <a:pt x="6740" y="98"/>
                </a:lnTo>
                <a:lnTo>
                  <a:pt x="6740" y="147"/>
                </a:lnTo>
                <a:lnTo>
                  <a:pt x="6862" y="536"/>
                </a:lnTo>
                <a:lnTo>
                  <a:pt x="7008" y="926"/>
                </a:lnTo>
                <a:lnTo>
                  <a:pt x="7130" y="1315"/>
                </a:lnTo>
                <a:lnTo>
                  <a:pt x="7227" y="1704"/>
                </a:lnTo>
                <a:lnTo>
                  <a:pt x="7300" y="2118"/>
                </a:lnTo>
                <a:lnTo>
                  <a:pt x="7349" y="2556"/>
                </a:lnTo>
                <a:lnTo>
                  <a:pt x="7373" y="2994"/>
                </a:lnTo>
                <a:lnTo>
                  <a:pt x="7373" y="3407"/>
                </a:lnTo>
                <a:lnTo>
                  <a:pt x="7324" y="3870"/>
                </a:lnTo>
                <a:lnTo>
                  <a:pt x="7276" y="4332"/>
                </a:lnTo>
                <a:lnTo>
                  <a:pt x="7105" y="5257"/>
                </a:lnTo>
                <a:lnTo>
                  <a:pt x="6911" y="6181"/>
                </a:lnTo>
                <a:lnTo>
                  <a:pt x="6838" y="6644"/>
                </a:lnTo>
                <a:lnTo>
                  <a:pt x="6765" y="7106"/>
                </a:lnTo>
                <a:lnTo>
                  <a:pt x="6716" y="7666"/>
                </a:lnTo>
                <a:lnTo>
                  <a:pt x="6716" y="8201"/>
                </a:lnTo>
                <a:lnTo>
                  <a:pt x="6765" y="8712"/>
                </a:lnTo>
                <a:lnTo>
                  <a:pt x="6838" y="9223"/>
                </a:lnTo>
                <a:lnTo>
                  <a:pt x="6424" y="9077"/>
                </a:lnTo>
                <a:lnTo>
                  <a:pt x="6497" y="8834"/>
                </a:lnTo>
                <a:lnTo>
                  <a:pt x="6570" y="8590"/>
                </a:lnTo>
                <a:lnTo>
                  <a:pt x="6594" y="8347"/>
                </a:lnTo>
                <a:lnTo>
                  <a:pt x="6594" y="8079"/>
                </a:lnTo>
                <a:lnTo>
                  <a:pt x="6570" y="7836"/>
                </a:lnTo>
                <a:lnTo>
                  <a:pt x="6521" y="7568"/>
                </a:lnTo>
                <a:lnTo>
                  <a:pt x="6448" y="7325"/>
                </a:lnTo>
                <a:lnTo>
                  <a:pt x="6351" y="7082"/>
                </a:lnTo>
                <a:lnTo>
                  <a:pt x="6254" y="6838"/>
                </a:lnTo>
                <a:lnTo>
                  <a:pt x="6132" y="6595"/>
                </a:lnTo>
                <a:lnTo>
                  <a:pt x="6010" y="6352"/>
                </a:lnTo>
                <a:lnTo>
                  <a:pt x="5864" y="6133"/>
                </a:lnTo>
                <a:lnTo>
                  <a:pt x="5694" y="5938"/>
                </a:lnTo>
                <a:lnTo>
                  <a:pt x="5548" y="5743"/>
                </a:lnTo>
                <a:lnTo>
                  <a:pt x="5378" y="5549"/>
                </a:lnTo>
                <a:lnTo>
                  <a:pt x="5207" y="5403"/>
                </a:lnTo>
                <a:lnTo>
                  <a:pt x="4964" y="5208"/>
                </a:lnTo>
                <a:lnTo>
                  <a:pt x="4696" y="5013"/>
                </a:lnTo>
                <a:lnTo>
                  <a:pt x="4429" y="4867"/>
                </a:lnTo>
                <a:lnTo>
                  <a:pt x="4161" y="4721"/>
                </a:lnTo>
                <a:lnTo>
                  <a:pt x="3869" y="4575"/>
                </a:lnTo>
                <a:lnTo>
                  <a:pt x="3577" y="4454"/>
                </a:lnTo>
                <a:lnTo>
                  <a:pt x="2993" y="4259"/>
                </a:lnTo>
                <a:lnTo>
                  <a:pt x="2506" y="4137"/>
                </a:lnTo>
                <a:lnTo>
                  <a:pt x="2239" y="4089"/>
                </a:lnTo>
                <a:lnTo>
                  <a:pt x="1971" y="4064"/>
                </a:lnTo>
                <a:lnTo>
                  <a:pt x="1679" y="4040"/>
                </a:lnTo>
                <a:lnTo>
                  <a:pt x="1411" y="4064"/>
                </a:lnTo>
                <a:lnTo>
                  <a:pt x="1168" y="4137"/>
                </a:lnTo>
                <a:lnTo>
                  <a:pt x="949" y="4235"/>
                </a:lnTo>
                <a:lnTo>
                  <a:pt x="900" y="4186"/>
                </a:lnTo>
                <a:lnTo>
                  <a:pt x="852" y="4137"/>
                </a:lnTo>
                <a:lnTo>
                  <a:pt x="803" y="4137"/>
                </a:lnTo>
                <a:lnTo>
                  <a:pt x="754" y="4186"/>
                </a:lnTo>
                <a:lnTo>
                  <a:pt x="681" y="4259"/>
                </a:lnTo>
                <a:lnTo>
                  <a:pt x="633" y="4356"/>
                </a:lnTo>
                <a:lnTo>
                  <a:pt x="608" y="4454"/>
                </a:lnTo>
                <a:lnTo>
                  <a:pt x="584" y="4575"/>
                </a:lnTo>
                <a:lnTo>
                  <a:pt x="584" y="4819"/>
                </a:lnTo>
                <a:lnTo>
                  <a:pt x="608" y="5062"/>
                </a:lnTo>
                <a:lnTo>
                  <a:pt x="657" y="5330"/>
                </a:lnTo>
                <a:lnTo>
                  <a:pt x="706" y="5597"/>
                </a:lnTo>
                <a:lnTo>
                  <a:pt x="803" y="6011"/>
                </a:lnTo>
                <a:lnTo>
                  <a:pt x="876" y="6352"/>
                </a:lnTo>
                <a:lnTo>
                  <a:pt x="973" y="6692"/>
                </a:lnTo>
                <a:lnTo>
                  <a:pt x="1071" y="7033"/>
                </a:lnTo>
                <a:lnTo>
                  <a:pt x="1192" y="7349"/>
                </a:lnTo>
                <a:lnTo>
                  <a:pt x="1338" y="7690"/>
                </a:lnTo>
                <a:lnTo>
                  <a:pt x="1484" y="8006"/>
                </a:lnTo>
                <a:lnTo>
                  <a:pt x="1679" y="8298"/>
                </a:lnTo>
                <a:lnTo>
                  <a:pt x="1874" y="8566"/>
                </a:lnTo>
                <a:lnTo>
                  <a:pt x="2068" y="8809"/>
                </a:lnTo>
                <a:lnTo>
                  <a:pt x="2287" y="9004"/>
                </a:lnTo>
                <a:lnTo>
                  <a:pt x="2531" y="9199"/>
                </a:lnTo>
                <a:lnTo>
                  <a:pt x="2774" y="9393"/>
                </a:lnTo>
                <a:lnTo>
                  <a:pt x="3042" y="9539"/>
                </a:lnTo>
                <a:lnTo>
                  <a:pt x="3309" y="9685"/>
                </a:lnTo>
                <a:lnTo>
                  <a:pt x="3577" y="9807"/>
                </a:lnTo>
                <a:lnTo>
                  <a:pt x="3869" y="9904"/>
                </a:lnTo>
                <a:lnTo>
                  <a:pt x="4161" y="9977"/>
                </a:lnTo>
                <a:lnTo>
                  <a:pt x="4453" y="10001"/>
                </a:lnTo>
                <a:lnTo>
                  <a:pt x="4745" y="10001"/>
                </a:lnTo>
                <a:lnTo>
                  <a:pt x="5013" y="9977"/>
                </a:lnTo>
                <a:lnTo>
                  <a:pt x="5280" y="9904"/>
                </a:lnTo>
                <a:lnTo>
                  <a:pt x="5548" y="9807"/>
                </a:lnTo>
                <a:lnTo>
                  <a:pt x="5816" y="9685"/>
                </a:lnTo>
                <a:lnTo>
                  <a:pt x="6059" y="9539"/>
                </a:lnTo>
                <a:lnTo>
                  <a:pt x="6278" y="9637"/>
                </a:lnTo>
                <a:lnTo>
                  <a:pt x="6521" y="9734"/>
                </a:lnTo>
                <a:lnTo>
                  <a:pt x="6740" y="9783"/>
                </a:lnTo>
                <a:lnTo>
                  <a:pt x="6984" y="9807"/>
                </a:lnTo>
                <a:lnTo>
                  <a:pt x="7203" y="10634"/>
                </a:lnTo>
                <a:lnTo>
                  <a:pt x="7324" y="11145"/>
                </a:lnTo>
                <a:lnTo>
                  <a:pt x="7421" y="11632"/>
                </a:lnTo>
                <a:lnTo>
                  <a:pt x="7446" y="12143"/>
                </a:lnTo>
                <a:lnTo>
                  <a:pt x="7446" y="12629"/>
                </a:lnTo>
                <a:lnTo>
                  <a:pt x="6886" y="12678"/>
                </a:lnTo>
                <a:lnTo>
                  <a:pt x="6327" y="12775"/>
                </a:lnTo>
                <a:lnTo>
                  <a:pt x="5767" y="12873"/>
                </a:lnTo>
                <a:lnTo>
                  <a:pt x="5207" y="12994"/>
                </a:lnTo>
                <a:lnTo>
                  <a:pt x="4648" y="13165"/>
                </a:lnTo>
                <a:lnTo>
                  <a:pt x="4112" y="13359"/>
                </a:lnTo>
                <a:lnTo>
                  <a:pt x="3601" y="13603"/>
                </a:lnTo>
                <a:lnTo>
                  <a:pt x="3090" y="13870"/>
                </a:lnTo>
                <a:lnTo>
                  <a:pt x="2652" y="14138"/>
                </a:lnTo>
                <a:lnTo>
                  <a:pt x="2239" y="14454"/>
                </a:lnTo>
                <a:lnTo>
                  <a:pt x="1825" y="14795"/>
                </a:lnTo>
                <a:lnTo>
                  <a:pt x="1411" y="15136"/>
                </a:lnTo>
                <a:lnTo>
                  <a:pt x="1046" y="15525"/>
                </a:lnTo>
                <a:lnTo>
                  <a:pt x="706" y="15939"/>
                </a:lnTo>
                <a:lnTo>
                  <a:pt x="414" y="16377"/>
                </a:lnTo>
                <a:lnTo>
                  <a:pt x="146" y="16839"/>
                </a:lnTo>
                <a:lnTo>
                  <a:pt x="73" y="16863"/>
                </a:lnTo>
                <a:lnTo>
                  <a:pt x="24" y="16912"/>
                </a:lnTo>
                <a:lnTo>
                  <a:pt x="0" y="16985"/>
                </a:lnTo>
                <a:lnTo>
                  <a:pt x="0" y="17058"/>
                </a:lnTo>
                <a:lnTo>
                  <a:pt x="73" y="17204"/>
                </a:lnTo>
                <a:lnTo>
                  <a:pt x="146" y="17326"/>
                </a:lnTo>
                <a:lnTo>
                  <a:pt x="219" y="17423"/>
                </a:lnTo>
                <a:lnTo>
                  <a:pt x="316" y="17520"/>
                </a:lnTo>
                <a:lnTo>
                  <a:pt x="438" y="17618"/>
                </a:lnTo>
                <a:lnTo>
                  <a:pt x="560" y="17691"/>
                </a:lnTo>
                <a:lnTo>
                  <a:pt x="852" y="17812"/>
                </a:lnTo>
                <a:lnTo>
                  <a:pt x="1144" y="17910"/>
                </a:lnTo>
                <a:lnTo>
                  <a:pt x="1460" y="17982"/>
                </a:lnTo>
                <a:lnTo>
                  <a:pt x="1995" y="18080"/>
                </a:lnTo>
                <a:lnTo>
                  <a:pt x="2725" y="18177"/>
                </a:lnTo>
                <a:lnTo>
                  <a:pt x="3455" y="18226"/>
                </a:lnTo>
                <a:lnTo>
                  <a:pt x="4940" y="18323"/>
                </a:lnTo>
                <a:lnTo>
                  <a:pt x="6205" y="18396"/>
                </a:lnTo>
                <a:lnTo>
                  <a:pt x="7470" y="18469"/>
                </a:lnTo>
                <a:lnTo>
                  <a:pt x="8078" y="18469"/>
                </a:lnTo>
                <a:lnTo>
                  <a:pt x="8711" y="18445"/>
                </a:lnTo>
                <a:lnTo>
                  <a:pt x="9344" y="18396"/>
                </a:lnTo>
                <a:lnTo>
                  <a:pt x="9976" y="18323"/>
                </a:lnTo>
                <a:lnTo>
                  <a:pt x="11339" y="18128"/>
                </a:lnTo>
                <a:lnTo>
                  <a:pt x="12726" y="17958"/>
                </a:lnTo>
                <a:lnTo>
                  <a:pt x="13140" y="17885"/>
                </a:lnTo>
                <a:lnTo>
                  <a:pt x="13553" y="17812"/>
                </a:lnTo>
                <a:lnTo>
                  <a:pt x="13967" y="17666"/>
                </a:lnTo>
                <a:lnTo>
                  <a:pt x="14162" y="17593"/>
                </a:lnTo>
                <a:lnTo>
                  <a:pt x="14356" y="17472"/>
                </a:lnTo>
                <a:lnTo>
                  <a:pt x="14429" y="17496"/>
                </a:lnTo>
                <a:lnTo>
                  <a:pt x="14502" y="17496"/>
                </a:lnTo>
                <a:lnTo>
                  <a:pt x="14575" y="17472"/>
                </a:lnTo>
                <a:lnTo>
                  <a:pt x="14624" y="17447"/>
                </a:lnTo>
                <a:lnTo>
                  <a:pt x="14673" y="17399"/>
                </a:lnTo>
                <a:lnTo>
                  <a:pt x="14721" y="17326"/>
                </a:lnTo>
                <a:lnTo>
                  <a:pt x="14721" y="17277"/>
                </a:lnTo>
                <a:lnTo>
                  <a:pt x="14697" y="17180"/>
                </a:lnTo>
                <a:lnTo>
                  <a:pt x="14600" y="16912"/>
                </a:lnTo>
                <a:lnTo>
                  <a:pt x="14454" y="16669"/>
                </a:lnTo>
                <a:lnTo>
                  <a:pt x="14283" y="16401"/>
                </a:lnTo>
                <a:lnTo>
                  <a:pt x="14113" y="16182"/>
                </a:lnTo>
                <a:lnTo>
                  <a:pt x="14137" y="16158"/>
                </a:lnTo>
                <a:lnTo>
                  <a:pt x="14137" y="16133"/>
                </a:lnTo>
                <a:lnTo>
                  <a:pt x="14137" y="16109"/>
                </a:lnTo>
                <a:lnTo>
                  <a:pt x="14113" y="16109"/>
                </a:lnTo>
                <a:lnTo>
                  <a:pt x="14040" y="16085"/>
                </a:lnTo>
                <a:lnTo>
                  <a:pt x="13699" y="15671"/>
                </a:lnTo>
                <a:lnTo>
                  <a:pt x="13553" y="15525"/>
                </a:lnTo>
                <a:lnTo>
                  <a:pt x="13626" y="15452"/>
                </a:lnTo>
                <a:lnTo>
                  <a:pt x="13626" y="15403"/>
                </a:lnTo>
                <a:lnTo>
                  <a:pt x="13626" y="15379"/>
                </a:lnTo>
                <a:lnTo>
                  <a:pt x="13602" y="15355"/>
                </a:lnTo>
                <a:lnTo>
                  <a:pt x="13553" y="15355"/>
                </a:lnTo>
                <a:lnTo>
                  <a:pt x="13432" y="15379"/>
                </a:lnTo>
                <a:lnTo>
                  <a:pt x="13188" y="15136"/>
                </a:lnTo>
                <a:lnTo>
                  <a:pt x="12945" y="14892"/>
                </a:lnTo>
                <a:lnTo>
                  <a:pt x="12385" y="14454"/>
                </a:lnTo>
                <a:lnTo>
                  <a:pt x="12361" y="14381"/>
                </a:lnTo>
                <a:lnTo>
                  <a:pt x="12312" y="14357"/>
                </a:lnTo>
                <a:lnTo>
                  <a:pt x="12264" y="14333"/>
                </a:lnTo>
                <a:lnTo>
                  <a:pt x="12069" y="14211"/>
                </a:lnTo>
                <a:lnTo>
                  <a:pt x="11582" y="13870"/>
                </a:lnTo>
                <a:lnTo>
                  <a:pt x="11071" y="13554"/>
                </a:lnTo>
                <a:lnTo>
                  <a:pt x="10560" y="13262"/>
                </a:lnTo>
                <a:lnTo>
                  <a:pt x="10025" y="12994"/>
                </a:lnTo>
                <a:lnTo>
                  <a:pt x="9782" y="12897"/>
                </a:lnTo>
                <a:lnTo>
                  <a:pt x="9538" y="12824"/>
                </a:lnTo>
                <a:lnTo>
                  <a:pt x="9295" y="12751"/>
                </a:lnTo>
                <a:lnTo>
                  <a:pt x="9027" y="12702"/>
                </a:lnTo>
                <a:lnTo>
                  <a:pt x="8516" y="12629"/>
                </a:lnTo>
                <a:lnTo>
                  <a:pt x="8005" y="12629"/>
                </a:lnTo>
                <a:lnTo>
                  <a:pt x="8005" y="12264"/>
                </a:lnTo>
                <a:lnTo>
                  <a:pt x="7981" y="11899"/>
                </a:lnTo>
                <a:lnTo>
                  <a:pt x="7957" y="11559"/>
                </a:lnTo>
                <a:lnTo>
                  <a:pt x="7884" y="11194"/>
                </a:lnTo>
                <a:lnTo>
                  <a:pt x="7786" y="10731"/>
                </a:lnTo>
                <a:lnTo>
                  <a:pt x="7640" y="10269"/>
                </a:lnTo>
                <a:lnTo>
                  <a:pt x="7494" y="9807"/>
                </a:lnTo>
                <a:lnTo>
                  <a:pt x="7349" y="9345"/>
                </a:lnTo>
                <a:lnTo>
                  <a:pt x="7300" y="9077"/>
                </a:lnTo>
                <a:lnTo>
                  <a:pt x="7251" y="8809"/>
                </a:lnTo>
                <a:lnTo>
                  <a:pt x="7203" y="8250"/>
                </a:lnTo>
                <a:lnTo>
                  <a:pt x="7203" y="7666"/>
                </a:lnTo>
                <a:lnTo>
                  <a:pt x="7251" y="7106"/>
                </a:lnTo>
                <a:lnTo>
                  <a:pt x="7324" y="6522"/>
                </a:lnTo>
                <a:lnTo>
                  <a:pt x="7421" y="5938"/>
                </a:lnTo>
                <a:lnTo>
                  <a:pt x="7616" y="4746"/>
                </a:lnTo>
                <a:lnTo>
                  <a:pt x="7884" y="4746"/>
                </a:lnTo>
                <a:lnTo>
                  <a:pt x="8127" y="4673"/>
                </a:lnTo>
                <a:lnTo>
                  <a:pt x="8370" y="4575"/>
                </a:lnTo>
                <a:lnTo>
                  <a:pt x="8638" y="4454"/>
                </a:lnTo>
                <a:lnTo>
                  <a:pt x="8760" y="4527"/>
                </a:lnTo>
                <a:lnTo>
                  <a:pt x="8906" y="4624"/>
                </a:lnTo>
                <a:lnTo>
                  <a:pt x="9076" y="4673"/>
                </a:lnTo>
                <a:lnTo>
                  <a:pt x="9246" y="4721"/>
                </a:lnTo>
                <a:lnTo>
                  <a:pt x="9587" y="4794"/>
                </a:lnTo>
                <a:lnTo>
                  <a:pt x="10122" y="4794"/>
                </a:lnTo>
                <a:lnTo>
                  <a:pt x="10366" y="4746"/>
                </a:lnTo>
                <a:lnTo>
                  <a:pt x="10609" y="4673"/>
                </a:lnTo>
                <a:lnTo>
                  <a:pt x="10828" y="4575"/>
                </a:lnTo>
                <a:lnTo>
                  <a:pt x="11071" y="4454"/>
                </a:lnTo>
                <a:lnTo>
                  <a:pt x="11266" y="4308"/>
                </a:lnTo>
                <a:lnTo>
                  <a:pt x="11461" y="4162"/>
                </a:lnTo>
                <a:lnTo>
                  <a:pt x="11607" y="3967"/>
                </a:lnTo>
                <a:lnTo>
                  <a:pt x="11728" y="3797"/>
                </a:lnTo>
                <a:lnTo>
                  <a:pt x="11850" y="3602"/>
                </a:lnTo>
                <a:lnTo>
                  <a:pt x="11947" y="3407"/>
                </a:lnTo>
                <a:lnTo>
                  <a:pt x="12020" y="3188"/>
                </a:lnTo>
                <a:lnTo>
                  <a:pt x="12142" y="2775"/>
                </a:lnTo>
                <a:lnTo>
                  <a:pt x="12215" y="2312"/>
                </a:lnTo>
                <a:lnTo>
                  <a:pt x="12288" y="1850"/>
                </a:lnTo>
                <a:lnTo>
                  <a:pt x="12312" y="1412"/>
                </a:lnTo>
                <a:lnTo>
                  <a:pt x="12361" y="512"/>
                </a:lnTo>
                <a:lnTo>
                  <a:pt x="12458" y="463"/>
                </a:lnTo>
                <a:lnTo>
                  <a:pt x="12507" y="390"/>
                </a:lnTo>
                <a:lnTo>
                  <a:pt x="12531" y="317"/>
                </a:lnTo>
                <a:lnTo>
                  <a:pt x="12507" y="220"/>
                </a:lnTo>
                <a:lnTo>
                  <a:pt x="12483" y="147"/>
                </a:lnTo>
                <a:lnTo>
                  <a:pt x="12434" y="98"/>
                </a:lnTo>
                <a:lnTo>
                  <a:pt x="12337" y="74"/>
                </a:lnTo>
                <a:lnTo>
                  <a:pt x="12264" y="98"/>
                </a:lnTo>
                <a:lnTo>
                  <a:pt x="12069" y="147"/>
                </a:lnTo>
                <a:lnTo>
                  <a:pt x="12045" y="147"/>
                </a:lnTo>
                <a:lnTo>
                  <a:pt x="11631" y="269"/>
                </a:lnTo>
                <a:lnTo>
                  <a:pt x="11217" y="366"/>
                </a:lnTo>
                <a:lnTo>
                  <a:pt x="10804" y="463"/>
                </a:lnTo>
                <a:lnTo>
                  <a:pt x="10390" y="561"/>
                </a:lnTo>
                <a:lnTo>
                  <a:pt x="10001" y="707"/>
                </a:lnTo>
                <a:lnTo>
                  <a:pt x="9611" y="877"/>
                </a:lnTo>
                <a:lnTo>
                  <a:pt x="9417" y="974"/>
                </a:lnTo>
                <a:lnTo>
                  <a:pt x="9246" y="1096"/>
                </a:lnTo>
                <a:lnTo>
                  <a:pt x="9076" y="1242"/>
                </a:lnTo>
                <a:lnTo>
                  <a:pt x="8906" y="1388"/>
                </a:lnTo>
                <a:lnTo>
                  <a:pt x="8735" y="1558"/>
                </a:lnTo>
                <a:lnTo>
                  <a:pt x="8614" y="1753"/>
                </a:lnTo>
                <a:lnTo>
                  <a:pt x="8492" y="1947"/>
                </a:lnTo>
                <a:lnTo>
                  <a:pt x="8395" y="2142"/>
                </a:lnTo>
                <a:lnTo>
                  <a:pt x="8297" y="2361"/>
                </a:lnTo>
                <a:lnTo>
                  <a:pt x="8249" y="2580"/>
                </a:lnTo>
                <a:lnTo>
                  <a:pt x="8200" y="2799"/>
                </a:lnTo>
                <a:lnTo>
                  <a:pt x="8151" y="3042"/>
                </a:lnTo>
                <a:lnTo>
                  <a:pt x="8151" y="3286"/>
                </a:lnTo>
                <a:lnTo>
                  <a:pt x="8200" y="3578"/>
                </a:lnTo>
                <a:lnTo>
                  <a:pt x="8224" y="3724"/>
                </a:lnTo>
                <a:lnTo>
                  <a:pt x="8297" y="3845"/>
                </a:lnTo>
                <a:lnTo>
                  <a:pt x="8370" y="3967"/>
                </a:lnTo>
                <a:lnTo>
                  <a:pt x="8443" y="4040"/>
                </a:lnTo>
                <a:lnTo>
                  <a:pt x="8443" y="4064"/>
                </a:lnTo>
                <a:lnTo>
                  <a:pt x="8370" y="4089"/>
                </a:lnTo>
                <a:lnTo>
                  <a:pt x="8200" y="4186"/>
                </a:lnTo>
                <a:lnTo>
                  <a:pt x="8030" y="4259"/>
                </a:lnTo>
                <a:lnTo>
                  <a:pt x="7689" y="4381"/>
                </a:lnTo>
                <a:lnTo>
                  <a:pt x="7762" y="3797"/>
                </a:lnTo>
                <a:lnTo>
                  <a:pt x="7811" y="3237"/>
                </a:lnTo>
                <a:lnTo>
                  <a:pt x="7811" y="2702"/>
                </a:lnTo>
                <a:lnTo>
                  <a:pt x="7786" y="2142"/>
                </a:lnTo>
                <a:lnTo>
                  <a:pt x="7738" y="1874"/>
                </a:lnTo>
                <a:lnTo>
                  <a:pt x="7689" y="1607"/>
                </a:lnTo>
                <a:lnTo>
                  <a:pt x="7616" y="1339"/>
                </a:lnTo>
                <a:lnTo>
                  <a:pt x="7519" y="1072"/>
                </a:lnTo>
                <a:lnTo>
                  <a:pt x="7421" y="828"/>
                </a:lnTo>
                <a:lnTo>
                  <a:pt x="7300" y="561"/>
                </a:lnTo>
                <a:lnTo>
                  <a:pt x="7130" y="317"/>
                </a:lnTo>
                <a:lnTo>
                  <a:pt x="6959" y="50"/>
                </a:lnTo>
                <a:lnTo>
                  <a:pt x="6935" y="25"/>
                </a:lnTo>
                <a:lnTo>
                  <a:pt x="6886" y="1"/>
                </a:lnTo>
                <a:close/>
              </a:path>
            </a:pathLst>
          </a:custGeom>
          <a:solidFill>
            <a:srgbClr val="95D346"/>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lang="da-DK" sz="1867" b="0" i="0" u="none" strike="noStrike" kern="0" cap="none" spc="0" normalizeH="0" baseline="0" noProof="0">
              <a:ln>
                <a:noFill/>
              </a:ln>
              <a:solidFill>
                <a:srgbClr val="000000"/>
              </a:solidFill>
              <a:effectLst/>
              <a:uLnTx/>
              <a:uFillTx/>
              <a:latin typeface="Arial"/>
              <a:cs typeface="Arial"/>
              <a:sym typeface="Arial"/>
            </a:endParaRPr>
          </a:p>
        </p:txBody>
      </p:sp>
      <p:sp>
        <p:nvSpPr>
          <p:cNvPr id="83" name="Slide Number Placeholder 3">
            <a:extLst>
              <a:ext uri="{FF2B5EF4-FFF2-40B4-BE49-F238E27FC236}">
                <a16:creationId xmlns:a16="http://schemas.microsoft.com/office/drawing/2014/main" id="{213097FB-BA19-4D9F-96C6-9321049BB655}"/>
              </a:ext>
            </a:extLst>
          </p:cNvPr>
          <p:cNvSpPr txBox="1">
            <a:spLocks/>
          </p:cNvSpPr>
          <p:nvPr/>
        </p:nvSpPr>
        <p:spPr>
          <a:xfrm>
            <a:off x="11206800" y="6476400"/>
            <a:ext cx="626400" cy="108000"/>
          </a:xfrm>
          <a:prstGeom prst="rect">
            <a:avLst/>
          </a:prstGeom>
        </p:spPr>
        <p:txBody>
          <a:bodyPr vert="horz" lIns="0" tIns="0" rIns="0" bIns="0" rtlCol="0" anchor="b" anchorCtr="0"/>
          <a:lstStyle>
            <a:defPPr>
              <a:defRPr lang="en-US"/>
            </a:defPPr>
            <a:lvl1pPr marL="0" algn="r"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da-DK" smtClean="0"/>
              <a:pPr/>
              <a:t>2</a:t>
            </a:fld>
            <a:endParaRPr lang="da-DK"/>
          </a:p>
        </p:txBody>
      </p:sp>
      <p:pic>
        <p:nvPicPr>
          <p:cNvPr id="3" name="Graphic 2" descr="Badge with solid fill">
            <a:extLst>
              <a:ext uri="{FF2B5EF4-FFF2-40B4-BE49-F238E27FC236}">
                <a16:creationId xmlns:a16="http://schemas.microsoft.com/office/drawing/2014/main" id="{C48A0A83-3C87-45D9-9A46-3CA961AF10E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085375" y="3590737"/>
            <a:ext cx="464372" cy="464372"/>
          </a:xfrm>
          <a:prstGeom prst="rect">
            <a:avLst/>
          </a:prstGeom>
        </p:spPr>
      </p:pic>
      <p:pic>
        <p:nvPicPr>
          <p:cNvPr id="5" name="Graphic 4" descr="Badge 3 with solid fill">
            <a:extLst>
              <a:ext uri="{FF2B5EF4-FFF2-40B4-BE49-F238E27FC236}">
                <a16:creationId xmlns:a16="http://schemas.microsoft.com/office/drawing/2014/main" id="{88A472E3-12B3-46F4-9D7C-94F6886BA65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89066" y="4248955"/>
            <a:ext cx="464372" cy="464372"/>
          </a:xfrm>
          <a:prstGeom prst="rect">
            <a:avLst/>
          </a:prstGeom>
        </p:spPr>
      </p:pic>
      <p:pic>
        <p:nvPicPr>
          <p:cNvPr id="8" name="Graphic 7" descr="Badge 1 with solid fill">
            <a:extLst>
              <a:ext uri="{FF2B5EF4-FFF2-40B4-BE49-F238E27FC236}">
                <a16:creationId xmlns:a16="http://schemas.microsoft.com/office/drawing/2014/main" id="{0C8665C4-944F-445B-B39D-9A7BF073E88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085375" y="2920738"/>
            <a:ext cx="464372" cy="464372"/>
          </a:xfrm>
          <a:prstGeom prst="rect">
            <a:avLst/>
          </a:prstGeom>
        </p:spPr>
      </p:pic>
      <p:sp>
        <p:nvSpPr>
          <p:cNvPr id="85" name="TextBox 84">
            <a:extLst>
              <a:ext uri="{FF2B5EF4-FFF2-40B4-BE49-F238E27FC236}">
                <a16:creationId xmlns:a16="http://schemas.microsoft.com/office/drawing/2014/main" id="{7C5ED0F2-D282-4EFE-A173-370A6822C1FB}"/>
              </a:ext>
            </a:extLst>
          </p:cNvPr>
          <p:cNvSpPr txBox="1"/>
          <p:nvPr/>
        </p:nvSpPr>
        <p:spPr>
          <a:xfrm>
            <a:off x="2691769" y="2881343"/>
            <a:ext cx="7591278" cy="543162"/>
          </a:xfrm>
          <a:prstGeom prst="rect">
            <a:avLst/>
          </a:prstGeom>
          <a:noFill/>
        </p:spPr>
        <p:txBody>
          <a:bodyPr wrap="square">
            <a:spAutoFit/>
          </a:bodyPr>
          <a:lstStyle/>
          <a:p>
            <a:pPr>
              <a:lnSpc>
                <a:spcPct val="107000"/>
              </a:lnSpc>
              <a:spcAft>
                <a:spcPts val="800"/>
              </a:spcAft>
            </a:pPr>
            <a:r>
              <a:rPr lang="da-DK" sz="1400">
                <a:solidFill>
                  <a:schemeClr val="bg1"/>
                </a:solidFill>
                <a:latin typeface="Quicksand" panose="020B0604020202020204"/>
                <a:ea typeface="Calibri" panose="020F0502020204030204" pitchFamily="34" charset="0"/>
                <a:cs typeface="Times New Roman" panose="02020603050405020304" pitchFamily="18" charset="0"/>
              </a:rPr>
              <a:t>… h</a:t>
            </a:r>
            <a:r>
              <a:rPr lang="da-DK" sz="1400">
                <a:solidFill>
                  <a:schemeClr val="bg1"/>
                </a:solidFill>
                <a:effectLst/>
                <a:latin typeface="Quicksand" panose="020B0604020202020204"/>
                <a:ea typeface="Calibri" panose="020F0502020204030204" pitchFamily="34" charset="0"/>
                <a:cs typeface="Times New Roman" panose="02020603050405020304" pitchFamily="18" charset="0"/>
              </a:rPr>
              <a:t>vordan </a:t>
            </a:r>
            <a:r>
              <a:rPr lang="da-DK" sz="1400">
                <a:solidFill>
                  <a:schemeClr val="bg1"/>
                </a:solidFill>
                <a:latin typeface="Quicksand" panose="020B0604020202020204"/>
                <a:ea typeface="Calibri" panose="020F0502020204030204" pitchFamily="34" charset="0"/>
                <a:cs typeface="Times New Roman" panose="02020603050405020304" pitchFamily="18" charset="0"/>
              </a:rPr>
              <a:t>projektet styrker </a:t>
            </a:r>
            <a:r>
              <a:rPr lang="da-DK" sz="1400">
                <a:solidFill>
                  <a:schemeClr val="bg1"/>
                </a:solidFill>
                <a:effectLst/>
                <a:latin typeface="Quicksand" panose="020B0604020202020204"/>
                <a:ea typeface="Calibri" panose="020F0502020204030204" pitchFamily="34" charset="0"/>
                <a:cs typeface="Times New Roman" panose="02020603050405020304" pitchFamily="18" charset="0"/>
              </a:rPr>
              <a:t>pædagogisk personales og lederes kompetencer til at arbejde med at skabe varierende læringsmiljøer, som skaber deltagelsesmuligheder for alle. </a:t>
            </a:r>
          </a:p>
        </p:txBody>
      </p:sp>
      <p:sp>
        <p:nvSpPr>
          <p:cNvPr id="86" name="TextBox 85">
            <a:extLst>
              <a:ext uri="{FF2B5EF4-FFF2-40B4-BE49-F238E27FC236}">
                <a16:creationId xmlns:a16="http://schemas.microsoft.com/office/drawing/2014/main" id="{13CDAC51-C63A-4448-A3C2-210A3F84137F}"/>
              </a:ext>
            </a:extLst>
          </p:cNvPr>
          <p:cNvSpPr txBox="1"/>
          <p:nvPr/>
        </p:nvSpPr>
        <p:spPr>
          <a:xfrm>
            <a:off x="2686305" y="3548717"/>
            <a:ext cx="7591278" cy="312650"/>
          </a:xfrm>
          <a:prstGeom prst="rect">
            <a:avLst/>
          </a:prstGeom>
          <a:noFill/>
        </p:spPr>
        <p:txBody>
          <a:bodyPr wrap="square">
            <a:spAutoFit/>
          </a:bodyPr>
          <a:lstStyle/>
          <a:p>
            <a:pPr>
              <a:lnSpc>
                <a:spcPct val="107000"/>
              </a:lnSpc>
              <a:spcAft>
                <a:spcPts val="800"/>
              </a:spcAft>
            </a:pPr>
            <a:r>
              <a:rPr lang="da-DK" sz="1400">
                <a:solidFill>
                  <a:schemeClr val="bg1"/>
                </a:solidFill>
                <a:latin typeface="Quicksand" panose="020B0604020202020204"/>
                <a:ea typeface="Calibri" panose="020F0502020204030204" pitchFamily="34" charset="0"/>
                <a:cs typeface="Times New Roman" panose="02020603050405020304" pitchFamily="18" charset="0"/>
              </a:rPr>
              <a:t>… </a:t>
            </a:r>
            <a:r>
              <a:rPr lang="da-DK" sz="1400">
                <a:solidFill>
                  <a:schemeClr val="bg1"/>
                </a:solidFill>
                <a:effectLst/>
                <a:latin typeface="Quicksand" panose="020B0604020202020204"/>
                <a:ea typeface="Calibri" panose="020F0502020204030204" pitchFamily="34" charset="0"/>
                <a:cs typeface="Times New Roman" panose="02020603050405020304" pitchFamily="18" charset="0"/>
              </a:rPr>
              <a:t>hvilke tegn på forandringer der ses i praksis</a:t>
            </a:r>
            <a:r>
              <a:rPr lang="da-DK" sz="1400">
                <a:solidFill>
                  <a:schemeClr val="bg1"/>
                </a:solidFill>
                <a:latin typeface="Quicksand" panose="020B0604020202020204"/>
                <a:ea typeface="Calibri" panose="020F0502020204030204" pitchFamily="34" charset="0"/>
                <a:cs typeface="Times New Roman" panose="02020603050405020304" pitchFamily="18" charset="0"/>
              </a:rPr>
              <a:t>.</a:t>
            </a:r>
            <a:endParaRPr lang="da-DK" sz="1400">
              <a:solidFill>
                <a:schemeClr val="bg1"/>
              </a:solidFill>
              <a:effectLst/>
              <a:latin typeface="Quicksand" panose="020B0604020202020204"/>
              <a:ea typeface="Calibri" panose="020F0502020204030204" pitchFamily="34" charset="0"/>
              <a:cs typeface="Times New Roman" panose="02020603050405020304" pitchFamily="18" charset="0"/>
            </a:endParaRPr>
          </a:p>
        </p:txBody>
      </p:sp>
      <p:sp>
        <p:nvSpPr>
          <p:cNvPr id="87" name="TextBox 86">
            <a:extLst>
              <a:ext uri="{FF2B5EF4-FFF2-40B4-BE49-F238E27FC236}">
                <a16:creationId xmlns:a16="http://schemas.microsoft.com/office/drawing/2014/main" id="{9E1DA7F9-5606-48EB-BF88-E256288C6546}"/>
              </a:ext>
            </a:extLst>
          </p:cNvPr>
          <p:cNvSpPr txBox="1"/>
          <p:nvPr/>
        </p:nvSpPr>
        <p:spPr>
          <a:xfrm>
            <a:off x="2686305" y="4215225"/>
            <a:ext cx="7591278" cy="543162"/>
          </a:xfrm>
          <a:prstGeom prst="rect">
            <a:avLst/>
          </a:prstGeom>
          <a:noFill/>
        </p:spPr>
        <p:txBody>
          <a:bodyPr wrap="square">
            <a:spAutoFit/>
          </a:bodyPr>
          <a:lstStyle/>
          <a:p>
            <a:pPr>
              <a:lnSpc>
                <a:spcPct val="107000"/>
              </a:lnSpc>
              <a:spcAft>
                <a:spcPts val="800"/>
              </a:spcAft>
            </a:pPr>
            <a:r>
              <a:rPr lang="da-DK" sz="1400">
                <a:solidFill>
                  <a:schemeClr val="bg1"/>
                </a:solidFill>
                <a:latin typeface="Quicksand" panose="020B0604020202020204"/>
                <a:ea typeface="Calibri" panose="020F0502020204030204" pitchFamily="34" charset="0"/>
                <a:cs typeface="Times New Roman" panose="02020603050405020304" pitchFamily="18" charset="0"/>
              </a:rPr>
              <a:t>… </a:t>
            </a:r>
            <a:r>
              <a:rPr lang="da-DK" sz="1400">
                <a:solidFill>
                  <a:schemeClr val="bg1"/>
                </a:solidFill>
                <a:effectLst/>
                <a:latin typeface="Quicksand" panose="020B0604020202020204"/>
                <a:ea typeface="Calibri" panose="020F0502020204030204" pitchFamily="34" charset="0"/>
                <a:cs typeface="Times New Roman" panose="02020603050405020304" pitchFamily="18" charset="0"/>
              </a:rPr>
              <a:t>hvordan pædagogisk personale</a:t>
            </a:r>
            <a:r>
              <a:rPr lang="da-DK" sz="1400">
                <a:solidFill>
                  <a:schemeClr val="bg1"/>
                </a:solidFill>
                <a:latin typeface="Quicksand" panose="020B0604020202020204"/>
                <a:ea typeface="Calibri" panose="020F0502020204030204" pitchFamily="34" charset="0"/>
                <a:cs typeface="Times New Roman" panose="02020603050405020304" pitchFamily="18" charset="0"/>
              </a:rPr>
              <a:t> </a:t>
            </a:r>
            <a:r>
              <a:rPr lang="da-DK" sz="1400">
                <a:solidFill>
                  <a:schemeClr val="bg1"/>
                </a:solidFill>
                <a:effectLst/>
                <a:latin typeface="Quicksand" panose="020B0604020202020204"/>
                <a:ea typeface="Calibri" panose="020F0502020204030204" pitchFamily="34" charset="0"/>
                <a:cs typeface="Times New Roman" panose="02020603050405020304" pitchFamily="18" charset="0"/>
              </a:rPr>
              <a:t>og ledere samarbejder om at skabe varierende læringsmiljøer, som skaber deltagelsesmuligheder for alle.</a:t>
            </a:r>
          </a:p>
        </p:txBody>
      </p:sp>
      <p:sp>
        <p:nvSpPr>
          <p:cNvPr id="88" name="TextBox 87">
            <a:extLst>
              <a:ext uri="{FF2B5EF4-FFF2-40B4-BE49-F238E27FC236}">
                <a16:creationId xmlns:a16="http://schemas.microsoft.com/office/drawing/2014/main" id="{13F261A7-5E0D-46BA-9456-20CDA5C1C974}"/>
              </a:ext>
            </a:extLst>
          </p:cNvPr>
          <p:cNvSpPr txBox="1"/>
          <p:nvPr/>
        </p:nvSpPr>
        <p:spPr>
          <a:xfrm>
            <a:off x="2696446" y="4910537"/>
            <a:ext cx="7591278" cy="543162"/>
          </a:xfrm>
          <a:prstGeom prst="rect">
            <a:avLst/>
          </a:prstGeom>
          <a:noFill/>
        </p:spPr>
        <p:txBody>
          <a:bodyPr wrap="square">
            <a:spAutoFit/>
          </a:bodyPr>
          <a:lstStyle/>
          <a:p>
            <a:pPr>
              <a:lnSpc>
                <a:spcPct val="107000"/>
              </a:lnSpc>
              <a:spcAft>
                <a:spcPts val="800"/>
              </a:spcAft>
            </a:pPr>
            <a:r>
              <a:rPr lang="da-DK" sz="1400">
                <a:solidFill>
                  <a:schemeClr val="bg1"/>
                </a:solidFill>
                <a:effectLst/>
                <a:latin typeface="Quicksand" panose="020B0604020202020204"/>
                <a:ea typeface="Calibri" panose="020F0502020204030204" pitchFamily="34" charset="0"/>
                <a:cs typeface="Times New Roman" panose="02020603050405020304" pitchFamily="18" charset="0"/>
              </a:rPr>
              <a:t>… </a:t>
            </a:r>
            <a:r>
              <a:rPr lang="da-DK" sz="1400">
                <a:solidFill>
                  <a:schemeClr val="bg1"/>
                </a:solidFill>
                <a:latin typeface="Quicksand" panose="020B0604020202020204"/>
                <a:ea typeface="Calibri" panose="020F0502020204030204" pitchFamily="34" charset="0"/>
                <a:cs typeface="Times New Roman" panose="02020603050405020304" pitchFamily="18" charset="0"/>
              </a:rPr>
              <a:t>h</a:t>
            </a:r>
            <a:r>
              <a:rPr lang="da-DK" sz="1400">
                <a:solidFill>
                  <a:schemeClr val="bg1"/>
                </a:solidFill>
                <a:effectLst/>
                <a:latin typeface="Quicksand" panose="020B0604020202020204"/>
                <a:ea typeface="Calibri" panose="020F0502020204030204" pitchFamily="34" charset="0"/>
                <a:cs typeface="Times New Roman" panose="02020603050405020304" pitchFamily="18" charset="0"/>
              </a:rPr>
              <a:t>vordan organiseringen af projektet kommunalt og tværkommunalt bidrager til at opbygge varierende læringsmiljøer, som skaber deltagelsesmuligheder for alle. </a:t>
            </a:r>
          </a:p>
        </p:txBody>
      </p:sp>
      <p:pic>
        <p:nvPicPr>
          <p:cNvPr id="89" name="Graphic 88" descr="Badge 4 with solid fill">
            <a:extLst>
              <a:ext uri="{FF2B5EF4-FFF2-40B4-BE49-F238E27FC236}">
                <a16:creationId xmlns:a16="http://schemas.microsoft.com/office/drawing/2014/main" id="{91E03500-05B1-4387-90C2-8FCA1000F7C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085375" y="4949932"/>
            <a:ext cx="464372" cy="464372"/>
          </a:xfrm>
          <a:prstGeom prst="rect">
            <a:avLst/>
          </a:prstGeom>
        </p:spPr>
      </p:pic>
      <p:grpSp>
        <p:nvGrpSpPr>
          <p:cNvPr id="14" name="Google Shape;437;p8">
            <a:extLst>
              <a:ext uri="{FF2B5EF4-FFF2-40B4-BE49-F238E27FC236}">
                <a16:creationId xmlns:a16="http://schemas.microsoft.com/office/drawing/2014/main" id="{FC2398FE-2C9F-4FCA-B793-8F8D84DE6682}"/>
              </a:ext>
            </a:extLst>
          </p:cNvPr>
          <p:cNvGrpSpPr/>
          <p:nvPr/>
        </p:nvGrpSpPr>
        <p:grpSpPr>
          <a:xfrm>
            <a:off x="-85616" y="5833206"/>
            <a:ext cx="12363231" cy="1214388"/>
            <a:chOff x="-45603" y="440026"/>
            <a:chExt cx="9272423" cy="910791"/>
          </a:xfrm>
        </p:grpSpPr>
        <p:sp>
          <p:nvSpPr>
            <p:cNvPr id="15" name="Google Shape;438;p8">
              <a:extLst>
                <a:ext uri="{FF2B5EF4-FFF2-40B4-BE49-F238E27FC236}">
                  <a16:creationId xmlns:a16="http://schemas.microsoft.com/office/drawing/2014/main" id="{6FAEEE95-6B38-4BE1-BFE5-F30C30182DE9}"/>
                </a:ext>
              </a:extLst>
            </p:cNvPr>
            <p:cNvSpPr/>
            <p:nvPr/>
          </p:nvSpPr>
          <p:spPr>
            <a:xfrm>
              <a:off x="2176354" y="708034"/>
              <a:ext cx="281779" cy="397462"/>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6" name="Google Shape;439;p8">
              <a:extLst>
                <a:ext uri="{FF2B5EF4-FFF2-40B4-BE49-F238E27FC236}">
                  <a16:creationId xmlns:a16="http://schemas.microsoft.com/office/drawing/2014/main" id="{5F3D3961-8D33-419E-B6B4-E0689E72F977}"/>
                </a:ext>
              </a:extLst>
            </p:cNvPr>
            <p:cNvSpPr/>
            <p:nvPr/>
          </p:nvSpPr>
          <p:spPr>
            <a:xfrm>
              <a:off x="552323" y="912340"/>
              <a:ext cx="339086" cy="309912"/>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7" name="Google Shape;440;p8">
              <a:extLst>
                <a:ext uri="{FF2B5EF4-FFF2-40B4-BE49-F238E27FC236}">
                  <a16:creationId xmlns:a16="http://schemas.microsoft.com/office/drawing/2014/main" id="{E500982C-3A5A-485E-A493-60CB6B678BAC}"/>
                </a:ext>
              </a:extLst>
            </p:cNvPr>
            <p:cNvSpPr/>
            <p:nvPr/>
          </p:nvSpPr>
          <p:spPr>
            <a:xfrm rot="-2700000">
              <a:off x="4913658" y="470447"/>
              <a:ext cx="181249" cy="400170"/>
            </a:xfrm>
            <a:custGeom>
              <a:avLst/>
              <a:gdLst/>
              <a:ahLst/>
              <a:cxnLst/>
              <a:rect l="l" t="t" r="r" b="b"/>
              <a:pathLst>
                <a:path w="374196" h="826169" extrusionOk="0">
                  <a:moveTo>
                    <a:pt x="319578" y="542496"/>
                  </a:moveTo>
                  <a:cubicBezTo>
                    <a:pt x="337993" y="538051"/>
                    <a:pt x="360853" y="525986"/>
                    <a:pt x="365933" y="549481"/>
                  </a:cubicBezTo>
                  <a:cubicBezTo>
                    <a:pt x="372283" y="584406"/>
                    <a:pt x="389428" y="625046"/>
                    <a:pt x="341803" y="634571"/>
                  </a:cubicBezTo>
                  <a:cubicBezTo>
                    <a:pt x="344978" y="696801"/>
                    <a:pt x="374823" y="756491"/>
                    <a:pt x="362758" y="819356"/>
                  </a:cubicBezTo>
                  <a:cubicBezTo>
                    <a:pt x="256078" y="683466"/>
                    <a:pt x="252268" y="452961"/>
                    <a:pt x="169718" y="289131"/>
                  </a:cubicBezTo>
                  <a:cubicBezTo>
                    <a:pt x="120823" y="395176"/>
                    <a:pt x="-22052" y="1176861"/>
                    <a:pt x="34463" y="639016"/>
                  </a:cubicBezTo>
                  <a:cubicBezTo>
                    <a:pt x="31288" y="635206"/>
                    <a:pt x="30018" y="632666"/>
                    <a:pt x="28113" y="632666"/>
                  </a:cubicBezTo>
                  <a:cubicBezTo>
                    <a:pt x="-23957" y="623141"/>
                    <a:pt x="12873" y="572341"/>
                    <a:pt x="9698" y="536146"/>
                  </a:cubicBezTo>
                  <a:cubicBezTo>
                    <a:pt x="20493" y="531066"/>
                    <a:pt x="35098" y="532336"/>
                    <a:pt x="47163" y="534241"/>
                  </a:cubicBezTo>
                  <a:cubicBezTo>
                    <a:pt x="79548" y="416131"/>
                    <a:pt x="89708" y="287226"/>
                    <a:pt x="105583" y="164036"/>
                  </a:cubicBezTo>
                  <a:cubicBezTo>
                    <a:pt x="103043" y="132286"/>
                    <a:pt x="128443" y="141811"/>
                    <a:pt x="150033" y="136731"/>
                  </a:cubicBezTo>
                  <a:cubicBezTo>
                    <a:pt x="148128" y="119586"/>
                    <a:pt x="111933" y="3381"/>
                    <a:pt x="143683" y="4016"/>
                  </a:cubicBezTo>
                  <a:cubicBezTo>
                    <a:pt x="226868" y="-22019"/>
                    <a:pt x="207183" y="85296"/>
                    <a:pt x="187498" y="131651"/>
                  </a:cubicBezTo>
                  <a:cubicBezTo>
                    <a:pt x="214168" y="144351"/>
                    <a:pt x="240838" y="139906"/>
                    <a:pt x="242743" y="179911"/>
                  </a:cubicBezTo>
                  <a:cubicBezTo>
                    <a:pt x="263063" y="301196"/>
                    <a:pt x="290368" y="422481"/>
                    <a:pt x="319578" y="542496"/>
                  </a:cubicBezTo>
                  <a:close/>
                  <a:moveTo>
                    <a:pt x="311323" y="649811"/>
                  </a:moveTo>
                  <a:cubicBezTo>
                    <a:pt x="294178" y="503126"/>
                    <a:pt x="253538" y="351996"/>
                    <a:pt x="217978" y="207851"/>
                  </a:cubicBezTo>
                  <a:cubicBezTo>
                    <a:pt x="200833" y="217376"/>
                    <a:pt x="197658" y="242776"/>
                    <a:pt x="186228" y="258651"/>
                  </a:cubicBezTo>
                  <a:cubicBezTo>
                    <a:pt x="236393" y="387556"/>
                    <a:pt x="258618" y="523446"/>
                    <a:pt x="311323" y="649811"/>
                  </a:cubicBezTo>
                  <a:close/>
                  <a:moveTo>
                    <a:pt x="77643" y="517731"/>
                  </a:moveTo>
                  <a:cubicBezTo>
                    <a:pt x="112568" y="444071"/>
                    <a:pt x="112568" y="363426"/>
                    <a:pt x="141778" y="288496"/>
                  </a:cubicBezTo>
                  <a:cubicBezTo>
                    <a:pt x="153208" y="259921"/>
                    <a:pt x="143048" y="230711"/>
                    <a:pt x="123998" y="208486"/>
                  </a:cubicBezTo>
                  <a:cubicBezTo>
                    <a:pt x="100503" y="312626"/>
                    <a:pt x="94788" y="412956"/>
                    <a:pt x="77643" y="517731"/>
                  </a:cubicBezTo>
                  <a:close/>
                  <a:moveTo>
                    <a:pt x="166543" y="240871"/>
                  </a:moveTo>
                  <a:cubicBezTo>
                    <a:pt x="183053" y="211026"/>
                    <a:pt x="205913" y="190706"/>
                    <a:pt x="204008" y="160861"/>
                  </a:cubicBezTo>
                  <a:cubicBezTo>
                    <a:pt x="175433" y="152606"/>
                    <a:pt x="167813" y="152606"/>
                    <a:pt x="141778" y="164671"/>
                  </a:cubicBezTo>
                  <a:cubicBezTo>
                    <a:pt x="145588" y="188801"/>
                    <a:pt x="154478" y="211661"/>
                    <a:pt x="166543" y="240871"/>
                  </a:cubicBezTo>
                  <a:close/>
                  <a:moveTo>
                    <a:pt x="171623" y="104346"/>
                  </a:moveTo>
                  <a:cubicBezTo>
                    <a:pt x="183053" y="73231"/>
                    <a:pt x="181783" y="45291"/>
                    <a:pt x="167813" y="21796"/>
                  </a:cubicBezTo>
                  <a:cubicBezTo>
                    <a:pt x="152573" y="37036"/>
                    <a:pt x="148128" y="94821"/>
                    <a:pt x="171623" y="10434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8" name="Google Shape;441;p8">
              <a:extLst>
                <a:ext uri="{FF2B5EF4-FFF2-40B4-BE49-F238E27FC236}">
                  <a16:creationId xmlns:a16="http://schemas.microsoft.com/office/drawing/2014/main" id="{B97ABDA4-9052-4F2F-BB1A-0394CE815E34}"/>
                </a:ext>
              </a:extLst>
            </p:cNvPr>
            <p:cNvSpPr/>
            <p:nvPr/>
          </p:nvSpPr>
          <p:spPr>
            <a:xfrm rot="-1967309">
              <a:off x="27613" y="549243"/>
              <a:ext cx="142154" cy="312221"/>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9" name="Google Shape;442;p8">
              <a:extLst>
                <a:ext uri="{FF2B5EF4-FFF2-40B4-BE49-F238E27FC236}">
                  <a16:creationId xmlns:a16="http://schemas.microsoft.com/office/drawing/2014/main" id="{D2C97E7C-6AA4-43D1-85F4-ED926D7BA875}"/>
                </a:ext>
              </a:extLst>
            </p:cNvPr>
            <p:cNvSpPr/>
            <p:nvPr/>
          </p:nvSpPr>
          <p:spPr>
            <a:xfrm>
              <a:off x="6508977" y="1054156"/>
              <a:ext cx="212880" cy="143991"/>
            </a:xfrm>
            <a:custGeom>
              <a:avLst/>
              <a:gdLst/>
              <a:ahLst/>
              <a:cxnLst/>
              <a:rect l="l" t="t" r="r" b="b"/>
              <a:pathLst>
                <a:path w="575352" h="389164" extrusionOk="0">
                  <a:moveTo>
                    <a:pt x="575352" y="173355"/>
                  </a:moveTo>
                  <a:cubicBezTo>
                    <a:pt x="489627" y="224155"/>
                    <a:pt x="287063" y="336550"/>
                    <a:pt x="285793" y="356235"/>
                  </a:cubicBezTo>
                  <a:cubicBezTo>
                    <a:pt x="285158" y="365760"/>
                    <a:pt x="273093" y="372745"/>
                    <a:pt x="263568" y="368935"/>
                  </a:cubicBezTo>
                  <a:cubicBezTo>
                    <a:pt x="189273" y="366395"/>
                    <a:pt x="106088" y="378460"/>
                    <a:pt x="31793" y="385445"/>
                  </a:cubicBezTo>
                  <a:cubicBezTo>
                    <a:pt x="9568" y="398145"/>
                    <a:pt x="-9482" y="375920"/>
                    <a:pt x="5123" y="354965"/>
                  </a:cubicBezTo>
                  <a:cubicBezTo>
                    <a:pt x="34333" y="295275"/>
                    <a:pt x="47033" y="213995"/>
                    <a:pt x="97198" y="170180"/>
                  </a:cubicBezTo>
                  <a:cubicBezTo>
                    <a:pt x="198163" y="112395"/>
                    <a:pt x="294683" y="47625"/>
                    <a:pt x="400727" y="0"/>
                  </a:cubicBezTo>
                  <a:cubicBezTo>
                    <a:pt x="583608" y="18415"/>
                    <a:pt x="570273" y="-16510"/>
                    <a:pt x="575352" y="173355"/>
                  </a:cubicBezTo>
                  <a:close/>
                  <a:moveTo>
                    <a:pt x="292777" y="199390"/>
                  </a:moveTo>
                  <a:cubicBezTo>
                    <a:pt x="223563" y="208915"/>
                    <a:pt x="154983" y="208280"/>
                    <a:pt x="86402" y="220980"/>
                  </a:cubicBezTo>
                  <a:cubicBezTo>
                    <a:pt x="70527" y="268605"/>
                    <a:pt x="27983" y="310515"/>
                    <a:pt x="32427" y="359410"/>
                  </a:cubicBezTo>
                  <a:cubicBezTo>
                    <a:pt x="98468" y="358775"/>
                    <a:pt x="165143" y="359410"/>
                    <a:pt x="229913" y="343535"/>
                  </a:cubicBezTo>
                  <a:cubicBezTo>
                    <a:pt x="285793" y="323215"/>
                    <a:pt x="275633" y="250190"/>
                    <a:pt x="292777" y="199390"/>
                  </a:cubicBezTo>
                  <a:close/>
                  <a:moveTo>
                    <a:pt x="398188" y="146685"/>
                  </a:moveTo>
                  <a:cubicBezTo>
                    <a:pt x="374693" y="151765"/>
                    <a:pt x="340402" y="168910"/>
                    <a:pt x="320083" y="186055"/>
                  </a:cubicBezTo>
                  <a:cubicBezTo>
                    <a:pt x="314368" y="225425"/>
                    <a:pt x="288968" y="274320"/>
                    <a:pt x="292143" y="320040"/>
                  </a:cubicBezTo>
                  <a:cubicBezTo>
                    <a:pt x="327702" y="303530"/>
                    <a:pt x="361993" y="272415"/>
                    <a:pt x="392473" y="250825"/>
                  </a:cubicBezTo>
                  <a:cubicBezTo>
                    <a:pt x="389933" y="213995"/>
                    <a:pt x="397552" y="181610"/>
                    <a:pt x="398188" y="146685"/>
                  </a:cubicBezTo>
                  <a:close/>
                  <a:moveTo>
                    <a:pt x="115613" y="186055"/>
                  </a:moveTo>
                  <a:cubicBezTo>
                    <a:pt x="167683" y="207010"/>
                    <a:pt x="302302" y="179705"/>
                    <a:pt x="346118" y="135890"/>
                  </a:cubicBezTo>
                  <a:cubicBezTo>
                    <a:pt x="266743" y="97155"/>
                    <a:pt x="180383" y="131445"/>
                    <a:pt x="115613" y="186055"/>
                  </a:cubicBezTo>
                  <a:close/>
                  <a:moveTo>
                    <a:pt x="417238" y="231775"/>
                  </a:moveTo>
                  <a:cubicBezTo>
                    <a:pt x="433748" y="227330"/>
                    <a:pt x="435018" y="226060"/>
                    <a:pt x="435018" y="215265"/>
                  </a:cubicBezTo>
                  <a:cubicBezTo>
                    <a:pt x="431843" y="191135"/>
                    <a:pt x="440733" y="163195"/>
                    <a:pt x="429302" y="140970"/>
                  </a:cubicBezTo>
                  <a:cubicBezTo>
                    <a:pt x="415333" y="166370"/>
                    <a:pt x="410252" y="204470"/>
                    <a:pt x="417238" y="231775"/>
                  </a:cubicBezTo>
                  <a:close/>
                  <a:moveTo>
                    <a:pt x="506138" y="85090"/>
                  </a:moveTo>
                  <a:cubicBezTo>
                    <a:pt x="509948" y="120650"/>
                    <a:pt x="498518" y="147955"/>
                    <a:pt x="507408" y="184785"/>
                  </a:cubicBezTo>
                  <a:cubicBezTo>
                    <a:pt x="526458" y="157480"/>
                    <a:pt x="517568" y="111125"/>
                    <a:pt x="506138" y="85090"/>
                  </a:cubicBezTo>
                  <a:close/>
                  <a:moveTo>
                    <a:pt x="482643" y="190500"/>
                  </a:moveTo>
                  <a:cubicBezTo>
                    <a:pt x="480738" y="159385"/>
                    <a:pt x="497883" y="125095"/>
                    <a:pt x="481373" y="101600"/>
                  </a:cubicBezTo>
                  <a:cubicBezTo>
                    <a:pt x="473118" y="125730"/>
                    <a:pt x="473118" y="147955"/>
                    <a:pt x="482643" y="190500"/>
                  </a:cubicBezTo>
                  <a:close/>
                  <a:moveTo>
                    <a:pt x="453433" y="168275"/>
                  </a:moveTo>
                  <a:cubicBezTo>
                    <a:pt x="445177" y="182880"/>
                    <a:pt x="440098" y="203200"/>
                    <a:pt x="457877" y="212090"/>
                  </a:cubicBezTo>
                  <a:cubicBezTo>
                    <a:pt x="462323" y="194945"/>
                    <a:pt x="461052" y="181610"/>
                    <a:pt x="453433" y="168275"/>
                  </a:cubicBezTo>
                  <a:close/>
                  <a:moveTo>
                    <a:pt x="408348" y="66675"/>
                  </a:moveTo>
                  <a:cubicBezTo>
                    <a:pt x="412158" y="80645"/>
                    <a:pt x="437558" y="79375"/>
                    <a:pt x="453433" y="74930"/>
                  </a:cubicBezTo>
                  <a:cubicBezTo>
                    <a:pt x="437558" y="62865"/>
                    <a:pt x="422952" y="67945"/>
                    <a:pt x="408348" y="66675"/>
                  </a:cubicBezTo>
                  <a:close/>
                  <a:moveTo>
                    <a:pt x="495343" y="48895"/>
                  </a:moveTo>
                  <a:cubicBezTo>
                    <a:pt x="479468" y="37465"/>
                    <a:pt x="471213" y="36195"/>
                    <a:pt x="442638" y="40640"/>
                  </a:cubicBezTo>
                  <a:cubicBezTo>
                    <a:pt x="464227" y="42545"/>
                    <a:pt x="478833" y="53340"/>
                    <a:pt x="495343" y="48895"/>
                  </a:cubicBezTo>
                  <a:close/>
                  <a:moveTo>
                    <a:pt x="335958" y="89535"/>
                  </a:moveTo>
                  <a:cubicBezTo>
                    <a:pt x="321352" y="76200"/>
                    <a:pt x="305477" y="73025"/>
                    <a:pt x="293413" y="88900"/>
                  </a:cubicBezTo>
                  <a:cubicBezTo>
                    <a:pt x="308652" y="92710"/>
                    <a:pt x="320718" y="92710"/>
                    <a:pt x="335958" y="89535"/>
                  </a:cubicBezTo>
                  <a:close/>
                  <a:moveTo>
                    <a:pt x="539793" y="65405"/>
                  </a:moveTo>
                  <a:cubicBezTo>
                    <a:pt x="527727" y="76200"/>
                    <a:pt x="528363" y="81280"/>
                    <a:pt x="540427" y="92075"/>
                  </a:cubicBezTo>
                  <a:cubicBezTo>
                    <a:pt x="543602" y="83185"/>
                    <a:pt x="544873" y="74295"/>
                    <a:pt x="539793" y="654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1" name="Google Shape;443;p8">
              <a:extLst>
                <a:ext uri="{FF2B5EF4-FFF2-40B4-BE49-F238E27FC236}">
                  <a16:creationId xmlns:a16="http://schemas.microsoft.com/office/drawing/2014/main" id="{61BB71FC-CE7D-428D-9482-F41F5618E050}"/>
                </a:ext>
              </a:extLst>
            </p:cNvPr>
            <p:cNvSpPr/>
            <p:nvPr/>
          </p:nvSpPr>
          <p:spPr>
            <a:xfrm>
              <a:off x="4683118" y="1001445"/>
              <a:ext cx="272854" cy="185024"/>
            </a:xfrm>
            <a:custGeom>
              <a:avLst/>
              <a:gdLst/>
              <a:ahLst/>
              <a:cxnLst/>
              <a:rect l="l" t="t" r="r" b="b"/>
              <a:pathLst>
                <a:path w="620122" h="420510" extrusionOk="0">
                  <a:moveTo>
                    <a:pt x="1362" y="54610"/>
                  </a:moveTo>
                  <a:cubicBezTo>
                    <a:pt x="-31023" y="-68580"/>
                    <a:pt x="523967" y="55245"/>
                    <a:pt x="605247" y="54610"/>
                  </a:cubicBezTo>
                  <a:cubicBezTo>
                    <a:pt x="675732" y="78740"/>
                    <a:pt x="469992" y="177800"/>
                    <a:pt x="522062" y="355600"/>
                  </a:cubicBezTo>
                  <a:cubicBezTo>
                    <a:pt x="492217" y="360045"/>
                    <a:pt x="461102" y="331470"/>
                    <a:pt x="433162" y="323850"/>
                  </a:cubicBezTo>
                  <a:cubicBezTo>
                    <a:pt x="398237" y="328930"/>
                    <a:pt x="342992" y="455930"/>
                    <a:pt x="327752" y="410845"/>
                  </a:cubicBezTo>
                  <a:cubicBezTo>
                    <a:pt x="228057" y="287020"/>
                    <a:pt x="113757" y="169545"/>
                    <a:pt x="1362" y="54610"/>
                  </a:cubicBezTo>
                  <a:close/>
                  <a:moveTo>
                    <a:pt x="591277" y="78740"/>
                  </a:moveTo>
                  <a:cubicBezTo>
                    <a:pt x="418557" y="50800"/>
                    <a:pt x="245837" y="13335"/>
                    <a:pt x="69942" y="28575"/>
                  </a:cubicBezTo>
                  <a:cubicBezTo>
                    <a:pt x="217262" y="83820"/>
                    <a:pt x="363947" y="134620"/>
                    <a:pt x="513807" y="186055"/>
                  </a:cubicBezTo>
                  <a:cubicBezTo>
                    <a:pt x="542382" y="154305"/>
                    <a:pt x="569052" y="120650"/>
                    <a:pt x="591277" y="78740"/>
                  </a:cubicBezTo>
                  <a:close/>
                  <a:moveTo>
                    <a:pt x="443957" y="267335"/>
                  </a:moveTo>
                  <a:cubicBezTo>
                    <a:pt x="319497" y="199390"/>
                    <a:pt x="185512" y="113665"/>
                    <a:pt x="57242" y="74930"/>
                  </a:cubicBezTo>
                  <a:cubicBezTo>
                    <a:pt x="154397" y="174625"/>
                    <a:pt x="238852" y="289560"/>
                    <a:pt x="344897" y="379095"/>
                  </a:cubicBezTo>
                  <a:cubicBezTo>
                    <a:pt x="380457" y="344170"/>
                    <a:pt x="414747" y="311150"/>
                    <a:pt x="443957" y="267335"/>
                  </a:cubicBezTo>
                  <a:close/>
                  <a:moveTo>
                    <a:pt x="494122" y="207010"/>
                  </a:moveTo>
                  <a:cubicBezTo>
                    <a:pt x="380457" y="167640"/>
                    <a:pt x="263617" y="100330"/>
                    <a:pt x="146777" y="87630"/>
                  </a:cubicBezTo>
                  <a:cubicBezTo>
                    <a:pt x="262347" y="134620"/>
                    <a:pt x="363947" y="216535"/>
                    <a:pt x="484597" y="246380"/>
                  </a:cubicBezTo>
                  <a:cubicBezTo>
                    <a:pt x="480787" y="264795"/>
                    <a:pt x="472532" y="281305"/>
                    <a:pt x="490947" y="292735"/>
                  </a:cubicBezTo>
                  <a:cubicBezTo>
                    <a:pt x="503012" y="251460"/>
                    <a:pt x="502377" y="238125"/>
                    <a:pt x="494122" y="2070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4" name="Google Shape;444;p8">
              <a:extLst>
                <a:ext uri="{FF2B5EF4-FFF2-40B4-BE49-F238E27FC236}">
                  <a16:creationId xmlns:a16="http://schemas.microsoft.com/office/drawing/2014/main" id="{B3C89014-71C5-464E-9764-AC9673DCCF52}"/>
                </a:ext>
              </a:extLst>
            </p:cNvPr>
            <p:cNvSpPr/>
            <p:nvPr/>
          </p:nvSpPr>
          <p:spPr>
            <a:xfrm rot="3663599">
              <a:off x="5966469" y="976075"/>
              <a:ext cx="204754" cy="377157"/>
            </a:xfrm>
            <a:custGeom>
              <a:avLst/>
              <a:gdLst/>
              <a:ahLst/>
              <a:cxnLst/>
              <a:rect l="l" t="t" r="r" b="b"/>
              <a:pathLst>
                <a:path w="421613" h="776612" extrusionOk="0">
                  <a:moveTo>
                    <a:pt x="99839" y="349282"/>
                  </a:moveTo>
                  <a:cubicBezTo>
                    <a:pt x="-9381" y="246412"/>
                    <a:pt x="19194" y="15272"/>
                    <a:pt x="189374" y="32"/>
                  </a:cubicBezTo>
                  <a:cubicBezTo>
                    <a:pt x="381144" y="-3143"/>
                    <a:pt x="497984" y="232442"/>
                    <a:pt x="363999" y="377222"/>
                  </a:cubicBezTo>
                  <a:cubicBezTo>
                    <a:pt x="448453" y="504222"/>
                    <a:pt x="402734" y="743617"/>
                    <a:pt x="235728" y="773462"/>
                  </a:cubicBezTo>
                  <a:cubicBezTo>
                    <a:pt x="125874" y="796957"/>
                    <a:pt x="24909" y="684562"/>
                    <a:pt x="4589" y="585502"/>
                  </a:cubicBezTo>
                  <a:cubicBezTo>
                    <a:pt x="-17001" y="491522"/>
                    <a:pt x="41419" y="414052"/>
                    <a:pt x="99839" y="349282"/>
                  </a:cubicBezTo>
                  <a:close/>
                  <a:moveTo>
                    <a:pt x="113174" y="363887"/>
                  </a:moveTo>
                  <a:cubicBezTo>
                    <a:pt x="60469" y="429927"/>
                    <a:pt x="-6206" y="502317"/>
                    <a:pt x="28084" y="594392"/>
                  </a:cubicBezTo>
                  <a:cubicBezTo>
                    <a:pt x="55389" y="680117"/>
                    <a:pt x="137939" y="773462"/>
                    <a:pt x="236999" y="755047"/>
                  </a:cubicBezTo>
                  <a:cubicBezTo>
                    <a:pt x="372253" y="724567"/>
                    <a:pt x="403369" y="568357"/>
                    <a:pt x="375428" y="450247"/>
                  </a:cubicBezTo>
                  <a:cubicBezTo>
                    <a:pt x="371619" y="427387"/>
                    <a:pt x="367809" y="403257"/>
                    <a:pt x="340503" y="395002"/>
                  </a:cubicBezTo>
                  <a:cubicBezTo>
                    <a:pt x="330344" y="400082"/>
                    <a:pt x="316374" y="404527"/>
                    <a:pt x="306214" y="412782"/>
                  </a:cubicBezTo>
                  <a:cubicBezTo>
                    <a:pt x="292244" y="424212"/>
                    <a:pt x="276369" y="408337"/>
                    <a:pt x="263669" y="418497"/>
                  </a:cubicBezTo>
                  <a:cubicBezTo>
                    <a:pt x="206519" y="425482"/>
                    <a:pt x="159528" y="398177"/>
                    <a:pt x="113174" y="363887"/>
                  </a:cubicBezTo>
                  <a:close/>
                  <a:moveTo>
                    <a:pt x="343678" y="364522"/>
                  </a:moveTo>
                  <a:cubicBezTo>
                    <a:pt x="427499" y="287052"/>
                    <a:pt x="415434" y="127032"/>
                    <a:pt x="317009" y="67342"/>
                  </a:cubicBezTo>
                  <a:cubicBezTo>
                    <a:pt x="218584" y="-10128"/>
                    <a:pt x="108728" y="4477"/>
                    <a:pt x="61739" y="125762"/>
                  </a:cubicBezTo>
                  <a:cubicBezTo>
                    <a:pt x="49039" y="190532"/>
                    <a:pt x="59199" y="321977"/>
                    <a:pt x="138574" y="332772"/>
                  </a:cubicBezTo>
                  <a:cubicBezTo>
                    <a:pt x="207789" y="290227"/>
                    <a:pt x="282719" y="322612"/>
                    <a:pt x="343678" y="364522"/>
                  </a:cubicBezTo>
                  <a:close/>
                  <a:moveTo>
                    <a:pt x="318914" y="379127"/>
                  </a:moveTo>
                  <a:cubicBezTo>
                    <a:pt x="306849" y="365792"/>
                    <a:pt x="294784" y="353727"/>
                    <a:pt x="273828" y="349282"/>
                  </a:cubicBezTo>
                  <a:cubicBezTo>
                    <a:pt x="280178" y="372777"/>
                    <a:pt x="291609" y="400717"/>
                    <a:pt x="318914" y="379127"/>
                  </a:cubicBezTo>
                  <a:close/>
                  <a:moveTo>
                    <a:pt x="211599" y="382302"/>
                  </a:moveTo>
                  <a:cubicBezTo>
                    <a:pt x="208424" y="357537"/>
                    <a:pt x="203344" y="315627"/>
                    <a:pt x="179849" y="340392"/>
                  </a:cubicBezTo>
                  <a:cubicBezTo>
                    <a:pt x="191278" y="353092"/>
                    <a:pt x="196994" y="369602"/>
                    <a:pt x="211599" y="382302"/>
                  </a:cubicBezTo>
                  <a:close/>
                  <a:moveTo>
                    <a:pt x="265574" y="395637"/>
                  </a:moveTo>
                  <a:cubicBezTo>
                    <a:pt x="251603" y="373412"/>
                    <a:pt x="248428" y="351822"/>
                    <a:pt x="233189" y="341027"/>
                  </a:cubicBezTo>
                  <a:cubicBezTo>
                    <a:pt x="229378" y="361982"/>
                    <a:pt x="236999" y="377222"/>
                    <a:pt x="265574" y="395637"/>
                  </a:cubicBezTo>
                  <a:close/>
                  <a:moveTo>
                    <a:pt x="167784" y="366427"/>
                  </a:moveTo>
                  <a:cubicBezTo>
                    <a:pt x="165244" y="354997"/>
                    <a:pt x="156989" y="341027"/>
                    <a:pt x="146828" y="349917"/>
                  </a:cubicBezTo>
                  <a:cubicBezTo>
                    <a:pt x="147464" y="361347"/>
                    <a:pt x="156989" y="368332"/>
                    <a:pt x="167784" y="36642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6" name="Google Shape;445;p8">
              <a:extLst>
                <a:ext uri="{FF2B5EF4-FFF2-40B4-BE49-F238E27FC236}">
                  <a16:creationId xmlns:a16="http://schemas.microsoft.com/office/drawing/2014/main" id="{252F527D-F23A-475F-8002-8E670D0B646E}"/>
                </a:ext>
              </a:extLst>
            </p:cNvPr>
            <p:cNvSpPr/>
            <p:nvPr/>
          </p:nvSpPr>
          <p:spPr>
            <a:xfrm rot="-3368760">
              <a:off x="5437768" y="638636"/>
              <a:ext cx="351278" cy="93987"/>
            </a:xfrm>
            <a:custGeom>
              <a:avLst/>
              <a:gdLst/>
              <a:ahLst/>
              <a:cxnLst/>
              <a:rect l="l" t="t" r="r" b="b"/>
              <a:pathLst>
                <a:path w="724776" h="193920" extrusionOk="0">
                  <a:moveTo>
                    <a:pt x="536612" y="138058"/>
                  </a:moveTo>
                  <a:cubicBezTo>
                    <a:pt x="412787" y="137423"/>
                    <a:pt x="278168" y="171713"/>
                    <a:pt x="151168" y="192033"/>
                  </a:cubicBezTo>
                  <a:cubicBezTo>
                    <a:pt x="124497" y="199653"/>
                    <a:pt x="-29807" y="184413"/>
                    <a:pt x="5118" y="142503"/>
                  </a:cubicBezTo>
                  <a:cubicBezTo>
                    <a:pt x="118783" y="37093"/>
                    <a:pt x="265468" y="56778"/>
                    <a:pt x="408978" y="32013"/>
                  </a:cubicBezTo>
                  <a:cubicBezTo>
                    <a:pt x="490258" y="33283"/>
                    <a:pt x="579158" y="-16882"/>
                    <a:pt x="655358" y="5978"/>
                  </a:cubicBezTo>
                  <a:cubicBezTo>
                    <a:pt x="675043" y="28203"/>
                    <a:pt x="713143" y="-12437"/>
                    <a:pt x="722033" y="26933"/>
                  </a:cubicBezTo>
                  <a:cubicBezTo>
                    <a:pt x="725208" y="40268"/>
                    <a:pt x="727747" y="54238"/>
                    <a:pt x="716953" y="68208"/>
                  </a:cubicBezTo>
                  <a:cubicBezTo>
                    <a:pt x="673137" y="67573"/>
                    <a:pt x="667422" y="106943"/>
                    <a:pt x="643928" y="137423"/>
                  </a:cubicBezTo>
                  <a:cubicBezTo>
                    <a:pt x="555662" y="152663"/>
                    <a:pt x="452793" y="199653"/>
                    <a:pt x="367068" y="192033"/>
                  </a:cubicBezTo>
                  <a:cubicBezTo>
                    <a:pt x="370878" y="153933"/>
                    <a:pt x="501053" y="157108"/>
                    <a:pt x="536612" y="138058"/>
                  </a:cubicBezTo>
                  <a:close/>
                  <a:moveTo>
                    <a:pt x="388658" y="121548"/>
                  </a:moveTo>
                  <a:cubicBezTo>
                    <a:pt x="450887" y="124723"/>
                    <a:pt x="612812" y="113928"/>
                    <a:pt x="651547" y="66303"/>
                  </a:cubicBezTo>
                  <a:cubicBezTo>
                    <a:pt x="658533" y="42808"/>
                    <a:pt x="636943" y="18043"/>
                    <a:pt x="613447" y="21218"/>
                  </a:cubicBezTo>
                  <a:cubicBezTo>
                    <a:pt x="537883" y="43443"/>
                    <a:pt x="438822" y="31378"/>
                    <a:pt x="374053" y="70748"/>
                  </a:cubicBezTo>
                  <a:cubicBezTo>
                    <a:pt x="377862" y="86623"/>
                    <a:pt x="382943" y="103133"/>
                    <a:pt x="388658" y="121548"/>
                  </a:cubicBezTo>
                  <a:close/>
                  <a:moveTo>
                    <a:pt x="347383" y="65668"/>
                  </a:moveTo>
                  <a:cubicBezTo>
                    <a:pt x="275628" y="73288"/>
                    <a:pt x="201968" y="68843"/>
                    <a:pt x="133387" y="91703"/>
                  </a:cubicBezTo>
                  <a:cubicBezTo>
                    <a:pt x="131483" y="119008"/>
                    <a:pt x="132753" y="145678"/>
                    <a:pt x="144818" y="169808"/>
                  </a:cubicBezTo>
                  <a:cubicBezTo>
                    <a:pt x="207047" y="142503"/>
                    <a:pt x="415962" y="182508"/>
                    <a:pt x="347383" y="65668"/>
                  </a:cubicBezTo>
                  <a:close/>
                  <a:moveTo>
                    <a:pt x="106083" y="110118"/>
                  </a:moveTo>
                  <a:cubicBezTo>
                    <a:pt x="81318" y="115198"/>
                    <a:pt x="37503" y="132978"/>
                    <a:pt x="52743" y="161553"/>
                  </a:cubicBezTo>
                  <a:cubicBezTo>
                    <a:pt x="71158" y="167903"/>
                    <a:pt x="90208" y="171078"/>
                    <a:pt x="111797" y="169808"/>
                  </a:cubicBezTo>
                  <a:cubicBezTo>
                    <a:pt x="115608" y="148218"/>
                    <a:pt x="114972" y="129803"/>
                    <a:pt x="106083" y="110118"/>
                  </a:cubicBezTo>
                  <a:close/>
                  <a:moveTo>
                    <a:pt x="680122" y="49793"/>
                  </a:moveTo>
                  <a:cubicBezTo>
                    <a:pt x="687743" y="47253"/>
                    <a:pt x="701712" y="49158"/>
                    <a:pt x="699172" y="37728"/>
                  </a:cubicBezTo>
                  <a:cubicBezTo>
                    <a:pt x="692187" y="30743"/>
                    <a:pt x="679487" y="37093"/>
                    <a:pt x="680122" y="4979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8" name="Google Shape;446;p8">
              <a:extLst>
                <a:ext uri="{FF2B5EF4-FFF2-40B4-BE49-F238E27FC236}">
                  <a16:creationId xmlns:a16="http://schemas.microsoft.com/office/drawing/2014/main" id="{5BF64132-D9D7-40EF-9591-878CEE72A697}"/>
                </a:ext>
              </a:extLst>
            </p:cNvPr>
            <p:cNvSpPr/>
            <p:nvPr/>
          </p:nvSpPr>
          <p:spPr>
            <a:xfrm rot="3013936">
              <a:off x="1856192" y="906044"/>
              <a:ext cx="112704" cy="289910"/>
            </a:xfrm>
            <a:custGeom>
              <a:avLst/>
              <a:gdLst/>
              <a:ahLst/>
              <a:cxnLst/>
              <a:rect l="l" t="t" r="r" b="b"/>
              <a:pathLst>
                <a:path w="232561" h="598221" extrusionOk="0">
                  <a:moveTo>
                    <a:pt x="113282" y="495986"/>
                  </a:moveTo>
                  <a:cubicBezTo>
                    <a:pt x="77722" y="519481"/>
                    <a:pt x="56132" y="585521"/>
                    <a:pt x="22477" y="598221"/>
                  </a:cubicBezTo>
                  <a:cubicBezTo>
                    <a:pt x="-37848" y="484556"/>
                    <a:pt x="39622" y="335966"/>
                    <a:pt x="64388" y="215316"/>
                  </a:cubicBezTo>
                  <a:cubicBezTo>
                    <a:pt x="82802" y="153086"/>
                    <a:pt x="100582" y="90856"/>
                    <a:pt x="115822" y="27991"/>
                  </a:cubicBezTo>
                  <a:cubicBezTo>
                    <a:pt x="125982" y="-24714"/>
                    <a:pt x="192657" y="10846"/>
                    <a:pt x="223772" y="23546"/>
                  </a:cubicBezTo>
                  <a:cubicBezTo>
                    <a:pt x="247268" y="47041"/>
                    <a:pt x="216788" y="92761"/>
                    <a:pt x="211707" y="121971"/>
                  </a:cubicBezTo>
                  <a:cubicBezTo>
                    <a:pt x="177418" y="245161"/>
                    <a:pt x="139952" y="370891"/>
                    <a:pt x="113282" y="495986"/>
                  </a:cubicBezTo>
                  <a:close/>
                  <a:moveTo>
                    <a:pt x="45338" y="459156"/>
                  </a:moveTo>
                  <a:cubicBezTo>
                    <a:pt x="74547" y="330886"/>
                    <a:pt x="116457" y="203886"/>
                    <a:pt x="145668" y="76886"/>
                  </a:cubicBezTo>
                  <a:cubicBezTo>
                    <a:pt x="109472" y="78156"/>
                    <a:pt x="92963" y="222301"/>
                    <a:pt x="77088" y="257861"/>
                  </a:cubicBezTo>
                  <a:cubicBezTo>
                    <a:pt x="76452" y="295961"/>
                    <a:pt x="252" y="454076"/>
                    <a:pt x="45972" y="458521"/>
                  </a:cubicBezTo>
                  <a:cubicBezTo>
                    <a:pt x="56768" y="469316"/>
                    <a:pt x="69468" y="475666"/>
                    <a:pt x="85977" y="474396"/>
                  </a:cubicBezTo>
                  <a:cubicBezTo>
                    <a:pt x="99313" y="448996"/>
                    <a:pt x="223772" y="55296"/>
                    <a:pt x="175513" y="85776"/>
                  </a:cubicBezTo>
                  <a:cubicBezTo>
                    <a:pt x="122807" y="140386"/>
                    <a:pt x="105027" y="464871"/>
                    <a:pt x="45338" y="459156"/>
                  </a:cubicBezTo>
                  <a:close/>
                  <a:moveTo>
                    <a:pt x="202818" y="67361"/>
                  </a:moveTo>
                  <a:cubicBezTo>
                    <a:pt x="204722" y="55296"/>
                    <a:pt x="205357" y="47676"/>
                    <a:pt x="206627" y="40691"/>
                  </a:cubicBezTo>
                  <a:cubicBezTo>
                    <a:pt x="183768" y="22276"/>
                    <a:pt x="139318" y="7671"/>
                    <a:pt x="136777" y="48311"/>
                  </a:cubicBezTo>
                  <a:cubicBezTo>
                    <a:pt x="156463" y="61011"/>
                    <a:pt x="178052" y="61646"/>
                    <a:pt x="202818" y="67361"/>
                  </a:cubicBezTo>
                  <a:close/>
                  <a:moveTo>
                    <a:pt x="28193" y="481381"/>
                  </a:moveTo>
                  <a:cubicBezTo>
                    <a:pt x="20572" y="551231"/>
                    <a:pt x="45338" y="558216"/>
                    <a:pt x="77088" y="497891"/>
                  </a:cubicBezTo>
                  <a:cubicBezTo>
                    <a:pt x="61847" y="488366"/>
                    <a:pt x="45972" y="487096"/>
                    <a:pt x="28193" y="48138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1" name="Google Shape;447;p8">
              <a:extLst>
                <a:ext uri="{FF2B5EF4-FFF2-40B4-BE49-F238E27FC236}">
                  <a16:creationId xmlns:a16="http://schemas.microsoft.com/office/drawing/2014/main" id="{FA94C435-6BB6-4F8B-94C4-B47608B37E79}"/>
                </a:ext>
              </a:extLst>
            </p:cNvPr>
            <p:cNvSpPr/>
            <p:nvPr/>
          </p:nvSpPr>
          <p:spPr>
            <a:xfrm rot="2198047">
              <a:off x="3510054" y="793341"/>
              <a:ext cx="140231" cy="367055"/>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2" name="Google Shape;448;p8">
              <a:extLst>
                <a:ext uri="{FF2B5EF4-FFF2-40B4-BE49-F238E27FC236}">
                  <a16:creationId xmlns:a16="http://schemas.microsoft.com/office/drawing/2014/main" id="{FFDB1028-6817-4C41-BF12-066CC1226954}"/>
                </a:ext>
              </a:extLst>
            </p:cNvPr>
            <p:cNvSpPr/>
            <p:nvPr/>
          </p:nvSpPr>
          <p:spPr>
            <a:xfrm rot="9906392">
              <a:off x="7295836" y="1033664"/>
              <a:ext cx="191420" cy="182909"/>
            </a:xfrm>
            <a:custGeom>
              <a:avLst/>
              <a:gdLst/>
              <a:ahLst/>
              <a:cxnLst/>
              <a:rect l="l" t="t" r="r" b="b"/>
              <a:pathLst>
                <a:path w="393594" h="376095" extrusionOk="0">
                  <a:moveTo>
                    <a:pt x="214418" y="305042"/>
                  </a:moveTo>
                  <a:cubicBezTo>
                    <a:pt x="268393" y="256783"/>
                    <a:pt x="326179" y="286627"/>
                    <a:pt x="373168" y="327902"/>
                  </a:cubicBezTo>
                  <a:cubicBezTo>
                    <a:pt x="334433" y="348222"/>
                    <a:pt x="287443" y="358383"/>
                    <a:pt x="242358" y="352667"/>
                  </a:cubicBezTo>
                  <a:cubicBezTo>
                    <a:pt x="242358" y="360922"/>
                    <a:pt x="242358" y="367908"/>
                    <a:pt x="242358" y="374892"/>
                  </a:cubicBezTo>
                  <a:cubicBezTo>
                    <a:pt x="208704" y="387592"/>
                    <a:pt x="190289" y="296152"/>
                    <a:pt x="189654" y="269483"/>
                  </a:cubicBezTo>
                  <a:cubicBezTo>
                    <a:pt x="-846" y="341237"/>
                    <a:pt x="-74507" y="101208"/>
                    <a:pt x="94404" y="17387"/>
                  </a:cubicBezTo>
                  <a:cubicBezTo>
                    <a:pt x="178858" y="4052"/>
                    <a:pt x="289983" y="-24523"/>
                    <a:pt x="357293" y="44058"/>
                  </a:cubicBezTo>
                  <a:cubicBezTo>
                    <a:pt x="419523" y="101208"/>
                    <a:pt x="399839" y="240272"/>
                    <a:pt x="312843" y="258687"/>
                  </a:cubicBezTo>
                  <a:cubicBezTo>
                    <a:pt x="260139" y="256147"/>
                    <a:pt x="199179" y="220587"/>
                    <a:pt x="214418" y="305042"/>
                  </a:cubicBezTo>
                  <a:close/>
                  <a:moveTo>
                    <a:pt x="369993" y="131687"/>
                  </a:moveTo>
                  <a:cubicBezTo>
                    <a:pt x="377614" y="58662"/>
                    <a:pt x="298873" y="-2298"/>
                    <a:pt x="229658" y="22467"/>
                  </a:cubicBezTo>
                  <a:cubicBezTo>
                    <a:pt x="215054" y="28817"/>
                    <a:pt x="199179" y="30722"/>
                    <a:pt x="183304" y="23737"/>
                  </a:cubicBezTo>
                  <a:cubicBezTo>
                    <a:pt x="79164" y="3417"/>
                    <a:pt x="-14182" y="120258"/>
                    <a:pt x="37254" y="217412"/>
                  </a:cubicBezTo>
                  <a:cubicBezTo>
                    <a:pt x="86148" y="318377"/>
                    <a:pt x="176954" y="218047"/>
                    <a:pt x="249979" y="231383"/>
                  </a:cubicBezTo>
                  <a:cubicBezTo>
                    <a:pt x="321098" y="265037"/>
                    <a:pt x="372533" y="203442"/>
                    <a:pt x="369993" y="131687"/>
                  </a:cubicBezTo>
                  <a:close/>
                  <a:moveTo>
                    <a:pt x="329354" y="320283"/>
                  </a:moveTo>
                  <a:cubicBezTo>
                    <a:pt x="316654" y="302502"/>
                    <a:pt x="260773" y="284087"/>
                    <a:pt x="255693" y="313297"/>
                  </a:cubicBezTo>
                  <a:cubicBezTo>
                    <a:pt x="266489" y="313297"/>
                    <a:pt x="288714" y="301233"/>
                    <a:pt x="289348" y="318377"/>
                  </a:cubicBezTo>
                  <a:cubicBezTo>
                    <a:pt x="289348" y="327902"/>
                    <a:pt x="272839" y="324092"/>
                    <a:pt x="275379" y="337427"/>
                  </a:cubicBezTo>
                  <a:cubicBezTo>
                    <a:pt x="293158" y="336158"/>
                    <a:pt x="310304" y="333617"/>
                    <a:pt x="329354" y="32028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5" name="Google Shape;449;p8">
              <a:extLst>
                <a:ext uri="{FF2B5EF4-FFF2-40B4-BE49-F238E27FC236}">
                  <a16:creationId xmlns:a16="http://schemas.microsoft.com/office/drawing/2014/main" id="{EF2C861D-D9A1-4825-83C5-0F5EFB07F73E}"/>
                </a:ext>
              </a:extLst>
            </p:cNvPr>
            <p:cNvSpPr/>
            <p:nvPr/>
          </p:nvSpPr>
          <p:spPr>
            <a:xfrm>
              <a:off x="301831" y="611168"/>
              <a:ext cx="314135" cy="349552"/>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6" name="Google Shape;450;p8">
              <a:extLst>
                <a:ext uri="{FF2B5EF4-FFF2-40B4-BE49-F238E27FC236}">
                  <a16:creationId xmlns:a16="http://schemas.microsoft.com/office/drawing/2014/main" id="{B20562EB-E505-4EA9-9BCF-37D4590C902B}"/>
                </a:ext>
              </a:extLst>
            </p:cNvPr>
            <p:cNvSpPr/>
            <p:nvPr/>
          </p:nvSpPr>
          <p:spPr>
            <a:xfrm>
              <a:off x="5200465" y="821938"/>
              <a:ext cx="313748" cy="356086"/>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7" name="Google Shape;451;p8">
              <a:extLst>
                <a:ext uri="{FF2B5EF4-FFF2-40B4-BE49-F238E27FC236}">
                  <a16:creationId xmlns:a16="http://schemas.microsoft.com/office/drawing/2014/main" id="{5F3F6FAA-3C03-4A5F-AAAE-497C4618EFD1}"/>
                </a:ext>
              </a:extLst>
            </p:cNvPr>
            <p:cNvSpPr/>
            <p:nvPr/>
          </p:nvSpPr>
          <p:spPr>
            <a:xfrm rot="-988374">
              <a:off x="8793699" y="981136"/>
              <a:ext cx="395858" cy="320125"/>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8" name="Google Shape;452;p8">
              <a:extLst>
                <a:ext uri="{FF2B5EF4-FFF2-40B4-BE49-F238E27FC236}">
                  <a16:creationId xmlns:a16="http://schemas.microsoft.com/office/drawing/2014/main" id="{7F9DACB4-0B94-4472-B627-ACE9FED261DC}"/>
                </a:ext>
              </a:extLst>
            </p:cNvPr>
            <p:cNvSpPr/>
            <p:nvPr/>
          </p:nvSpPr>
          <p:spPr>
            <a:xfrm rot="1179229">
              <a:off x="6978602" y="547675"/>
              <a:ext cx="347146" cy="378286"/>
            </a:xfrm>
            <a:custGeom>
              <a:avLst/>
              <a:gdLst/>
              <a:ahLst/>
              <a:cxnLst/>
              <a:rect l="l" t="t" r="r" b="b"/>
              <a:pathLst>
                <a:path w="718509" h="782962" extrusionOk="0">
                  <a:moveTo>
                    <a:pt x="707390" y="178442"/>
                  </a:moveTo>
                  <a:cubicBezTo>
                    <a:pt x="705485" y="163837"/>
                    <a:pt x="700405" y="154947"/>
                    <a:pt x="683895" y="153042"/>
                  </a:cubicBezTo>
                  <a:cubicBezTo>
                    <a:pt x="685800" y="135897"/>
                    <a:pt x="673100" y="127642"/>
                    <a:pt x="665480" y="114942"/>
                  </a:cubicBezTo>
                  <a:cubicBezTo>
                    <a:pt x="664845" y="85097"/>
                    <a:pt x="638810" y="88907"/>
                    <a:pt x="618490" y="95257"/>
                  </a:cubicBezTo>
                  <a:cubicBezTo>
                    <a:pt x="595630" y="74302"/>
                    <a:pt x="582295" y="68587"/>
                    <a:pt x="555625" y="88272"/>
                  </a:cubicBezTo>
                  <a:cubicBezTo>
                    <a:pt x="523875" y="100972"/>
                    <a:pt x="523240" y="30487"/>
                    <a:pt x="488315" y="60332"/>
                  </a:cubicBezTo>
                  <a:cubicBezTo>
                    <a:pt x="445135" y="96527"/>
                    <a:pt x="462915" y="-3803"/>
                    <a:pt x="385445" y="42552"/>
                  </a:cubicBezTo>
                  <a:cubicBezTo>
                    <a:pt x="359410" y="-34918"/>
                    <a:pt x="319405" y="13977"/>
                    <a:pt x="274320" y="29852"/>
                  </a:cubicBezTo>
                  <a:cubicBezTo>
                    <a:pt x="182245" y="239402"/>
                    <a:pt x="65405" y="447047"/>
                    <a:pt x="0" y="662312"/>
                  </a:cubicBezTo>
                  <a:cubicBezTo>
                    <a:pt x="161925" y="678822"/>
                    <a:pt x="313055" y="747402"/>
                    <a:pt x="471170" y="782962"/>
                  </a:cubicBezTo>
                  <a:cubicBezTo>
                    <a:pt x="532130" y="658502"/>
                    <a:pt x="575310" y="535947"/>
                    <a:pt x="636905" y="413392"/>
                  </a:cubicBezTo>
                  <a:cubicBezTo>
                    <a:pt x="664210" y="349892"/>
                    <a:pt x="688975" y="285757"/>
                    <a:pt x="714375" y="221622"/>
                  </a:cubicBezTo>
                  <a:cubicBezTo>
                    <a:pt x="718185" y="205747"/>
                    <a:pt x="723900" y="190507"/>
                    <a:pt x="707390" y="178442"/>
                  </a:cubicBezTo>
                  <a:close/>
                  <a:moveTo>
                    <a:pt x="655955" y="152407"/>
                  </a:moveTo>
                  <a:cubicBezTo>
                    <a:pt x="652780" y="161297"/>
                    <a:pt x="650240" y="170187"/>
                    <a:pt x="646430" y="180347"/>
                  </a:cubicBezTo>
                  <a:cubicBezTo>
                    <a:pt x="604520" y="162567"/>
                    <a:pt x="608330" y="116847"/>
                    <a:pt x="655955" y="152407"/>
                  </a:cubicBezTo>
                  <a:close/>
                  <a:moveTo>
                    <a:pt x="561975" y="127642"/>
                  </a:moveTo>
                  <a:cubicBezTo>
                    <a:pt x="572770" y="118117"/>
                    <a:pt x="577850" y="125737"/>
                    <a:pt x="590550" y="133992"/>
                  </a:cubicBezTo>
                  <a:cubicBezTo>
                    <a:pt x="576580" y="138437"/>
                    <a:pt x="558800" y="146057"/>
                    <a:pt x="561975" y="127642"/>
                  </a:cubicBezTo>
                  <a:close/>
                  <a:moveTo>
                    <a:pt x="353695" y="33027"/>
                  </a:moveTo>
                  <a:cubicBezTo>
                    <a:pt x="351155" y="47632"/>
                    <a:pt x="334010" y="34297"/>
                    <a:pt x="323215" y="31757"/>
                  </a:cubicBezTo>
                  <a:cubicBezTo>
                    <a:pt x="334010" y="17152"/>
                    <a:pt x="350520" y="17787"/>
                    <a:pt x="353695" y="33027"/>
                  </a:cubicBezTo>
                  <a:close/>
                  <a:moveTo>
                    <a:pt x="43180" y="618497"/>
                  </a:moveTo>
                  <a:cubicBezTo>
                    <a:pt x="46990" y="609607"/>
                    <a:pt x="54610" y="612147"/>
                    <a:pt x="59055" y="613417"/>
                  </a:cubicBezTo>
                  <a:cubicBezTo>
                    <a:pt x="99060" y="635642"/>
                    <a:pt x="160020" y="625482"/>
                    <a:pt x="189865" y="659137"/>
                  </a:cubicBezTo>
                  <a:cubicBezTo>
                    <a:pt x="140970" y="652152"/>
                    <a:pt x="87630" y="638817"/>
                    <a:pt x="43180" y="618497"/>
                  </a:cubicBezTo>
                  <a:close/>
                  <a:moveTo>
                    <a:pt x="201295" y="663582"/>
                  </a:moveTo>
                  <a:cubicBezTo>
                    <a:pt x="198755" y="662312"/>
                    <a:pt x="196215" y="661677"/>
                    <a:pt x="193675" y="660407"/>
                  </a:cubicBezTo>
                  <a:cubicBezTo>
                    <a:pt x="196215" y="660407"/>
                    <a:pt x="199390" y="659772"/>
                    <a:pt x="201930" y="659772"/>
                  </a:cubicBezTo>
                  <a:cubicBezTo>
                    <a:pt x="201295" y="661042"/>
                    <a:pt x="201295" y="662312"/>
                    <a:pt x="201295" y="663582"/>
                  </a:cubicBezTo>
                  <a:close/>
                  <a:moveTo>
                    <a:pt x="228600" y="667392"/>
                  </a:moveTo>
                  <a:cubicBezTo>
                    <a:pt x="246380" y="662312"/>
                    <a:pt x="262255" y="666122"/>
                    <a:pt x="276860" y="680727"/>
                  </a:cubicBezTo>
                  <a:cubicBezTo>
                    <a:pt x="256540" y="687077"/>
                    <a:pt x="242570" y="678822"/>
                    <a:pt x="228600" y="667392"/>
                  </a:cubicBezTo>
                  <a:close/>
                  <a:moveTo>
                    <a:pt x="434975" y="704222"/>
                  </a:moveTo>
                  <a:cubicBezTo>
                    <a:pt x="306070" y="664852"/>
                    <a:pt x="177800" y="628657"/>
                    <a:pt x="47625" y="588652"/>
                  </a:cubicBezTo>
                  <a:cubicBezTo>
                    <a:pt x="114935" y="409582"/>
                    <a:pt x="198120" y="233052"/>
                    <a:pt x="284480" y="61602"/>
                  </a:cubicBezTo>
                  <a:cubicBezTo>
                    <a:pt x="314960" y="97162"/>
                    <a:pt x="369570" y="94622"/>
                    <a:pt x="323215" y="62872"/>
                  </a:cubicBezTo>
                  <a:cubicBezTo>
                    <a:pt x="340995" y="59697"/>
                    <a:pt x="354330" y="64777"/>
                    <a:pt x="369570" y="70492"/>
                  </a:cubicBezTo>
                  <a:cubicBezTo>
                    <a:pt x="377825" y="143517"/>
                    <a:pt x="474980" y="111132"/>
                    <a:pt x="398145" y="86367"/>
                  </a:cubicBezTo>
                  <a:cubicBezTo>
                    <a:pt x="411480" y="67952"/>
                    <a:pt x="439420" y="83827"/>
                    <a:pt x="457200" y="89542"/>
                  </a:cubicBezTo>
                  <a:cubicBezTo>
                    <a:pt x="461010" y="179712"/>
                    <a:pt x="532130" y="156852"/>
                    <a:pt x="506095" y="131452"/>
                  </a:cubicBezTo>
                  <a:cubicBezTo>
                    <a:pt x="485140" y="128912"/>
                    <a:pt x="480695" y="129547"/>
                    <a:pt x="483870" y="104147"/>
                  </a:cubicBezTo>
                  <a:cubicBezTo>
                    <a:pt x="501650" y="101607"/>
                    <a:pt x="518795" y="107957"/>
                    <a:pt x="536575" y="110497"/>
                  </a:cubicBezTo>
                  <a:cubicBezTo>
                    <a:pt x="542290" y="147327"/>
                    <a:pt x="556260" y="169552"/>
                    <a:pt x="595630" y="161932"/>
                  </a:cubicBezTo>
                  <a:cubicBezTo>
                    <a:pt x="610235" y="174632"/>
                    <a:pt x="624205" y="186697"/>
                    <a:pt x="638810" y="199397"/>
                  </a:cubicBezTo>
                  <a:cubicBezTo>
                    <a:pt x="590550" y="376562"/>
                    <a:pt x="498475" y="533407"/>
                    <a:pt x="434975" y="704222"/>
                  </a:cubicBezTo>
                  <a:close/>
                  <a:moveTo>
                    <a:pt x="560705" y="508642"/>
                  </a:moveTo>
                  <a:cubicBezTo>
                    <a:pt x="560705" y="508642"/>
                    <a:pt x="560705" y="508007"/>
                    <a:pt x="560705" y="508642"/>
                  </a:cubicBezTo>
                  <a:cubicBezTo>
                    <a:pt x="561340" y="509277"/>
                    <a:pt x="561975" y="509912"/>
                    <a:pt x="562610" y="509912"/>
                  </a:cubicBezTo>
                  <a:cubicBezTo>
                    <a:pt x="561975" y="509277"/>
                    <a:pt x="561340" y="509277"/>
                    <a:pt x="560705" y="508642"/>
                  </a:cubicBezTo>
                  <a:close/>
                  <a:moveTo>
                    <a:pt x="602615" y="438792"/>
                  </a:moveTo>
                  <a:cubicBezTo>
                    <a:pt x="588010" y="457842"/>
                    <a:pt x="586740" y="504832"/>
                    <a:pt x="561340" y="508007"/>
                  </a:cubicBezTo>
                  <a:cubicBezTo>
                    <a:pt x="607695" y="405772"/>
                    <a:pt x="632460" y="297822"/>
                    <a:pt x="690245" y="201302"/>
                  </a:cubicBezTo>
                  <a:cubicBezTo>
                    <a:pt x="678180" y="284487"/>
                    <a:pt x="633730" y="360052"/>
                    <a:pt x="602615" y="438792"/>
                  </a:cubicBezTo>
                  <a:close/>
                  <a:moveTo>
                    <a:pt x="313690" y="335287"/>
                  </a:moveTo>
                  <a:cubicBezTo>
                    <a:pt x="297815" y="333382"/>
                    <a:pt x="197485" y="287027"/>
                    <a:pt x="229870" y="330842"/>
                  </a:cubicBezTo>
                  <a:cubicBezTo>
                    <a:pt x="312420" y="365767"/>
                    <a:pt x="409575" y="363862"/>
                    <a:pt x="485775" y="412757"/>
                  </a:cubicBezTo>
                  <a:cubicBezTo>
                    <a:pt x="496570" y="419107"/>
                    <a:pt x="505460" y="426092"/>
                    <a:pt x="517525" y="415297"/>
                  </a:cubicBezTo>
                  <a:cubicBezTo>
                    <a:pt x="468630" y="357512"/>
                    <a:pt x="381000" y="360052"/>
                    <a:pt x="313690" y="335287"/>
                  </a:cubicBezTo>
                  <a:close/>
                  <a:moveTo>
                    <a:pt x="247650" y="245752"/>
                  </a:moveTo>
                  <a:cubicBezTo>
                    <a:pt x="237490" y="288932"/>
                    <a:pt x="370205" y="285757"/>
                    <a:pt x="402590" y="304172"/>
                  </a:cubicBezTo>
                  <a:cubicBezTo>
                    <a:pt x="441325" y="314332"/>
                    <a:pt x="480060" y="325762"/>
                    <a:pt x="514985" y="346717"/>
                  </a:cubicBezTo>
                  <a:cubicBezTo>
                    <a:pt x="520065" y="349892"/>
                    <a:pt x="526415" y="350527"/>
                    <a:pt x="528955" y="344812"/>
                  </a:cubicBezTo>
                  <a:cubicBezTo>
                    <a:pt x="528955" y="296552"/>
                    <a:pt x="299720" y="266072"/>
                    <a:pt x="247650" y="245752"/>
                  </a:cubicBezTo>
                  <a:close/>
                  <a:moveTo>
                    <a:pt x="190500" y="440062"/>
                  </a:moveTo>
                  <a:cubicBezTo>
                    <a:pt x="114300" y="454032"/>
                    <a:pt x="260350" y="477527"/>
                    <a:pt x="276860" y="483242"/>
                  </a:cubicBezTo>
                  <a:cubicBezTo>
                    <a:pt x="335915" y="490862"/>
                    <a:pt x="387350" y="520072"/>
                    <a:pt x="443230" y="535947"/>
                  </a:cubicBezTo>
                  <a:cubicBezTo>
                    <a:pt x="503555" y="508642"/>
                    <a:pt x="214630" y="446412"/>
                    <a:pt x="190500" y="440062"/>
                  </a:cubicBezTo>
                  <a:close/>
                  <a:moveTo>
                    <a:pt x="268605" y="189237"/>
                  </a:moveTo>
                  <a:cubicBezTo>
                    <a:pt x="246380" y="228607"/>
                    <a:pt x="356870" y="221622"/>
                    <a:pt x="381000" y="234322"/>
                  </a:cubicBezTo>
                  <a:cubicBezTo>
                    <a:pt x="434340" y="241307"/>
                    <a:pt x="481330" y="267977"/>
                    <a:pt x="532130" y="281312"/>
                  </a:cubicBezTo>
                  <a:cubicBezTo>
                    <a:pt x="610870" y="260992"/>
                    <a:pt x="292735" y="193047"/>
                    <a:pt x="268605" y="189237"/>
                  </a:cubicBezTo>
                  <a:close/>
                  <a:moveTo>
                    <a:pt x="529590" y="191777"/>
                  </a:moveTo>
                  <a:cubicBezTo>
                    <a:pt x="450215" y="181617"/>
                    <a:pt x="375920" y="153042"/>
                    <a:pt x="297815" y="136532"/>
                  </a:cubicBezTo>
                  <a:cubicBezTo>
                    <a:pt x="245745" y="161932"/>
                    <a:pt x="375920" y="169552"/>
                    <a:pt x="391795" y="180982"/>
                  </a:cubicBezTo>
                  <a:cubicBezTo>
                    <a:pt x="440055" y="196222"/>
                    <a:pt x="493395" y="197492"/>
                    <a:pt x="538480" y="220352"/>
                  </a:cubicBezTo>
                  <a:cubicBezTo>
                    <a:pt x="547370" y="224797"/>
                    <a:pt x="560070" y="217177"/>
                    <a:pt x="560070" y="205747"/>
                  </a:cubicBezTo>
                  <a:cubicBezTo>
                    <a:pt x="554990" y="193682"/>
                    <a:pt x="541020" y="193682"/>
                    <a:pt x="529590" y="191777"/>
                  </a:cubicBezTo>
                  <a:close/>
                  <a:moveTo>
                    <a:pt x="210185" y="381642"/>
                  </a:moveTo>
                  <a:cubicBezTo>
                    <a:pt x="205105" y="407677"/>
                    <a:pt x="219710" y="401327"/>
                    <a:pt x="234950" y="405137"/>
                  </a:cubicBezTo>
                  <a:cubicBezTo>
                    <a:pt x="308610" y="414027"/>
                    <a:pt x="380365" y="435617"/>
                    <a:pt x="449580" y="460382"/>
                  </a:cubicBezTo>
                  <a:cubicBezTo>
                    <a:pt x="534670" y="436887"/>
                    <a:pt x="233680" y="381007"/>
                    <a:pt x="210185" y="381642"/>
                  </a:cubicBezTo>
                  <a:close/>
                  <a:moveTo>
                    <a:pt x="158115" y="502292"/>
                  </a:moveTo>
                  <a:cubicBezTo>
                    <a:pt x="135890" y="498482"/>
                    <a:pt x="132080" y="519437"/>
                    <a:pt x="150495" y="523247"/>
                  </a:cubicBezTo>
                  <a:cubicBezTo>
                    <a:pt x="202565" y="528327"/>
                    <a:pt x="250190" y="551187"/>
                    <a:pt x="300355" y="561982"/>
                  </a:cubicBezTo>
                  <a:cubicBezTo>
                    <a:pt x="330200" y="530867"/>
                    <a:pt x="177165" y="511182"/>
                    <a:pt x="158115" y="50229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9" name="Google Shape;453;p8">
              <a:extLst>
                <a:ext uri="{FF2B5EF4-FFF2-40B4-BE49-F238E27FC236}">
                  <a16:creationId xmlns:a16="http://schemas.microsoft.com/office/drawing/2014/main" id="{7BB94303-BC2A-43BC-A939-C4CB60E4C4E9}"/>
                </a:ext>
              </a:extLst>
            </p:cNvPr>
            <p:cNvSpPr/>
            <p:nvPr/>
          </p:nvSpPr>
          <p:spPr>
            <a:xfrm>
              <a:off x="980841" y="910413"/>
              <a:ext cx="326644" cy="367792"/>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0" name="Google Shape;454;p8">
              <a:extLst>
                <a:ext uri="{FF2B5EF4-FFF2-40B4-BE49-F238E27FC236}">
                  <a16:creationId xmlns:a16="http://schemas.microsoft.com/office/drawing/2014/main" id="{C214571C-56A3-4C04-A483-D8E7C2B5E88F}"/>
                </a:ext>
              </a:extLst>
            </p:cNvPr>
            <p:cNvSpPr/>
            <p:nvPr/>
          </p:nvSpPr>
          <p:spPr>
            <a:xfrm>
              <a:off x="8699186" y="523462"/>
              <a:ext cx="403969" cy="323646"/>
            </a:xfrm>
            <a:custGeom>
              <a:avLst/>
              <a:gdLst/>
              <a:ahLst/>
              <a:cxnLst/>
              <a:rect l="l" t="t" r="r" b="b"/>
              <a:pathLst>
                <a:path w="832925" h="667312" extrusionOk="0">
                  <a:moveTo>
                    <a:pt x="832654" y="510467"/>
                  </a:moveTo>
                  <a:cubicBezTo>
                    <a:pt x="829479" y="434902"/>
                    <a:pt x="811699" y="361242"/>
                    <a:pt x="802174" y="286312"/>
                  </a:cubicBezTo>
                  <a:cubicBezTo>
                    <a:pt x="772964" y="118672"/>
                    <a:pt x="808524" y="-22933"/>
                    <a:pt x="580559" y="3102"/>
                  </a:cubicBezTo>
                  <a:cubicBezTo>
                    <a:pt x="476419" y="-8963"/>
                    <a:pt x="405934" y="116132"/>
                    <a:pt x="355134" y="85652"/>
                  </a:cubicBezTo>
                  <a:cubicBezTo>
                    <a:pt x="259884" y="32312"/>
                    <a:pt x="139869" y="51362"/>
                    <a:pt x="38269" y="73587"/>
                  </a:cubicBezTo>
                  <a:cubicBezTo>
                    <a:pt x="-11261" y="84382"/>
                    <a:pt x="-2371" y="107242"/>
                    <a:pt x="8424" y="146612"/>
                  </a:cubicBezTo>
                  <a:cubicBezTo>
                    <a:pt x="29379" y="309172"/>
                    <a:pt x="48429" y="470462"/>
                    <a:pt x="82084" y="629847"/>
                  </a:cubicBezTo>
                  <a:cubicBezTo>
                    <a:pt x="83989" y="650802"/>
                    <a:pt x="107484" y="641277"/>
                    <a:pt x="120184" y="636197"/>
                  </a:cubicBezTo>
                  <a:cubicBezTo>
                    <a:pt x="129709" y="645722"/>
                    <a:pt x="124629" y="663502"/>
                    <a:pt x="143044" y="667312"/>
                  </a:cubicBezTo>
                  <a:cubicBezTo>
                    <a:pt x="237024" y="612067"/>
                    <a:pt x="358309" y="609527"/>
                    <a:pt x="463084" y="627942"/>
                  </a:cubicBezTo>
                  <a:cubicBezTo>
                    <a:pt x="553254" y="563807"/>
                    <a:pt x="668824" y="563172"/>
                    <a:pt x="774869" y="573967"/>
                  </a:cubicBezTo>
                  <a:cubicBezTo>
                    <a:pt x="792014" y="565712"/>
                    <a:pt x="786299" y="546027"/>
                    <a:pt x="793919" y="532692"/>
                  </a:cubicBezTo>
                  <a:cubicBezTo>
                    <a:pt x="810429" y="527612"/>
                    <a:pt x="835829" y="539677"/>
                    <a:pt x="832654" y="510467"/>
                  </a:cubicBezTo>
                  <a:close/>
                  <a:moveTo>
                    <a:pt x="377359" y="595557"/>
                  </a:moveTo>
                  <a:cubicBezTo>
                    <a:pt x="298619" y="600002"/>
                    <a:pt x="222419" y="601907"/>
                    <a:pt x="148759" y="633022"/>
                  </a:cubicBezTo>
                  <a:cubicBezTo>
                    <a:pt x="134789" y="583492"/>
                    <a:pt x="351959" y="558092"/>
                    <a:pt x="385614" y="586667"/>
                  </a:cubicBezTo>
                  <a:cubicBezTo>
                    <a:pt x="385614" y="594287"/>
                    <a:pt x="381804" y="595557"/>
                    <a:pt x="377359" y="595557"/>
                  </a:cubicBezTo>
                  <a:close/>
                  <a:moveTo>
                    <a:pt x="432604" y="585397"/>
                  </a:moveTo>
                  <a:cubicBezTo>
                    <a:pt x="332909" y="518722"/>
                    <a:pt x="209084" y="561267"/>
                    <a:pt x="107484" y="605717"/>
                  </a:cubicBezTo>
                  <a:cubicBezTo>
                    <a:pt x="60494" y="509832"/>
                    <a:pt x="77639" y="394897"/>
                    <a:pt x="47159" y="292662"/>
                  </a:cubicBezTo>
                  <a:cubicBezTo>
                    <a:pt x="51604" y="252022"/>
                    <a:pt x="2074" y="106607"/>
                    <a:pt x="45254" y="97082"/>
                  </a:cubicBezTo>
                  <a:cubicBezTo>
                    <a:pt x="143044" y="74857"/>
                    <a:pt x="338624" y="38027"/>
                    <a:pt x="385614" y="152962"/>
                  </a:cubicBezTo>
                  <a:cubicBezTo>
                    <a:pt x="410379" y="295837"/>
                    <a:pt x="436414" y="439347"/>
                    <a:pt x="432604" y="585397"/>
                  </a:cubicBezTo>
                  <a:close/>
                  <a:moveTo>
                    <a:pt x="766614" y="547297"/>
                  </a:moveTo>
                  <a:cubicBezTo>
                    <a:pt x="691049" y="546662"/>
                    <a:pt x="619294" y="547297"/>
                    <a:pt x="546269" y="561267"/>
                  </a:cubicBezTo>
                  <a:cubicBezTo>
                    <a:pt x="548809" y="521262"/>
                    <a:pt x="785664" y="490782"/>
                    <a:pt x="766614" y="547297"/>
                  </a:cubicBezTo>
                  <a:close/>
                  <a:moveTo>
                    <a:pt x="804714" y="505387"/>
                  </a:moveTo>
                  <a:cubicBezTo>
                    <a:pt x="673269" y="483162"/>
                    <a:pt x="569129" y="493322"/>
                    <a:pt x="464354" y="577777"/>
                  </a:cubicBezTo>
                  <a:cubicBezTo>
                    <a:pt x="442129" y="429187"/>
                    <a:pt x="440224" y="275517"/>
                    <a:pt x="403394" y="128197"/>
                  </a:cubicBezTo>
                  <a:cubicBezTo>
                    <a:pt x="464989" y="31677"/>
                    <a:pt x="617389" y="-10233"/>
                    <a:pt x="717084" y="45647"/>
                  </a:cubicBezTo>
                  <a:cubicBezTo>
                    <a:pt x="772964" y="92637"/>
                    <a:pt x="754549" y="188522"/>
                    <a:pt x="772329" y="255197"/>
                  </a:cubicBezTo>
                  <a:cubicBezTo>
                    <a:pt x="776774" y="340287"/>
                    <a:pt x="809159" y="420932"/>
                    <a:pt x="804714" y="505387"/>
                  </a:cubicBezTo>
                  <a:close/>
                  <a:moveTo>
                    <a:pt x="634534" y="306632"/>
                  </a:moveTo>
                  <a:cubicBezTo>
                    <a:pt x="633264" y="339652"/>
                    <a:pt x="643424" y="370132"/>
                    <a:pt x="639614" y="404422"/>
                  </a:cubicBezTo>
                  <a:cubicBezTo>
                    <a:pt x="447209" y="426012"/>
                    <a:pt x="456734" y="468557"/>
                    <a:pt x="644059" y="424107"/>
                  </a:cubicBezTo>
                  <a:cubicBezTo>
                    <a:pt x="648504" y="439347"/>
                    <a:pt x="652314" y="453317"/>
                    <a:pt x="656759" y="468557"/>
                  </a:cubicBezTo>
                  <a:cubicBezTo>
                    <a:pt x="692954" y="465382"/>
                    <a:pt x="738674" y="470462"/>
                    <a:pt x="767249" y="447602"/>
                  </a:cubicBezTo>
                  <a:cubicBezTo>
                    <a:pt x="737404" y="353622"/>
                    <a:pt x="781219" y="259007"/>
                    <a:pt x="634534" y="306632"/>
                  </a:cubicBezTo>
                  <a:close/>
                  <a:moveTo>
                    <a:pt x="675809" y="441887"/>
                  </a:moveTo>
                  <a:cubicBezTo>
                    <a:pt x="660569" y="405692"/>
                    <a:pt x="656759" y="376482"/>
                    <a:pt x="661839" y="327587"/>
                  </a:cubicBezTo>
                  <a:cubicBezTo>
                    <a:pt x="682159" y="317427"/>
                    <a:pt x="701844" y="319967"/>
                    <a:pt x="721529" y="322507"/>
                  </a:cubicBezTo>
                  <a:cubicBezTo>
                    <a:pt x="738039" y="356162"/>
                    <a:pt x="730419" y="395532"/>
                    <a:pt x="736134" y="433632"/>
                  </a:cubicBezTo>
                  <a:cubicBezTo>
                    <a:pt x="715814" y="436172"/>
                    <a:pt x="696129" y="443792"/>
                    <a:pt x="675809" y="441887"/>
                  </a:cubicBezTo>
                  <a:close/>
                  <a:moveTo>
                    <a:pt x="732959" y="166932"/>
                  </a:moveTo>
                  <a:cubicBezTo>
                    <a:pt x="737404" y="169472"/>
                    <a:pt x="744389" y="166932"/>
                    <a:pt x="745659" y="161217"/>
                  </a:cubicBezTo>
                  <a:cubicBezTo>
                    <a:pt x="744389" y="125657"/>
                    <a:pt x="672634" y="141532"/>
                    <a:pt x="657394" y="133912"/>
                  </a:cubicBezTo>
                  <a:cubicBezTo>
                    <a:pt x="623104" y="134547"/>
                    <a:pt x="419904" y="153597"/>
                    <a:pt x="476419" y="191697"/>
                  </a:cubicBezTo>
                  <a:cubicBezTo>
                    <a:pt x="556429" y="162487"/>
                    <a:pt x="649774" y="134547"/>
                    <a:pt x="732959" y="166932"/>
                  </a:cubicBezTo>
                  <a:close/>
                  <a:moveTo>
                    <a:pt x="726609" y="92002"/>
                  </a:moveTo>
                  <a:cubicBezTo>
                    <a:pt x="717719" y="29772"/>
                    <a:pt x="482134" y="92002"/>
                    <a:pt x="449114" y="126927"/>
                  </a:cubicBezTo>
                  <a:cubicBezTo>
                    <a:pt x="452924" y="132642"/>
                    <a:pt x="455464" y="137087"/>
                    <a:pt x="459274" y="143437"/>
                  </a:cubicBezTo>
                  <a:cubicBezTo>
                    <a:pt x="539284" y="94542"/>
                    <a:pt x="635169" y="79937"/>
                    <a:pt x="726609" y="92002"/>
                  </a:cubicBezTo>
                  <a:close/>
                  <a:moveTo>
                    <a:pt x="494199" y="248847"/>
                  </a:moveTo>
                  <a:cubicBezTo>
                    <a:pt x="562144" y="217097"/>
                    <a:pt x="643424" y="223447"/>
                    <a:pt x="716449" y="235512"/>
                  </a:cubicBezTo>
                  <a:cubicBezTo>
                    <a:pt x="743119" y="187887"/>
                    <a:pt x="480229" y="199317"/>
                    <a:pt x="478959" y="238687"/>
                  </a:cubicBezTo>
                  <a:cubicBezTo>
                    <a:pt x="478959" y="246942"/>
                    <a:pt x="487214" y="252657"/>
                    <a:pt x="494199" y="248847"/>
                  </a:cubicBezTo>
                  <a:close/>
                  <a:moveTo>
                    <a:pt x="528489" y="290122"/>
                  </a:moveTo>
                  <a:cubicBezTo>
                    <a:pt x="592624" y="271707"/>
                    <a:pt x="654854" y="280597"/>
                    <a:pt x="720259" y="272977"/>
                  </a:cubicBezTo>
                  <a:cubicBezTo>
                    <a:pt x="682159" y="245037"/>
                    <a:pt x="508804" y="252022"/>
                    <a:pt x="482769" y="285677"/>
                  </a:cubicBezTo>
                  <a:cubicBezTo>
                    <a:pt x="488484" y="303457"/>
                    <a:pt x="515154" y="290122"/>
                    <a:pt x="528489" y="290122"/>
                  </a:cubicBezTo>
                  <a:close/>
                  <a:moveTo>
                    <a:pt x="487214" y="344097"/>
                  </a:moveTo>
                  <a:cubicBezTo>
                    <a:pt x="524679" y="329492"/>
                    <a:pt x="568494" y="330762"/>
                    <a:pt x="602784" y="322507"/>
                  </a:cubicBezTo>
                  <a:cubicBezTo>
                    <a:pt x="610404" y="283772"/>
                    <a:pt x="438954" y="313617"/>
                    <a:pt x="487214" y="344097"/>
                  </a:cubicBezTo>
                  <a:close/>
                  <a:moveTo>
                    <a:pt x="570399" y="357432"/>
                  </a:moveTo>
                  <a:cubicBezTo>
                    <a:pt x="570399" y="356797"/>
                    <a:pt x="570399" y="356162"/>
                    <a:pt x="569764" y="355527"/>
                  </a:cubicBezTo>
                  <a:cubicBezTo>
                    <a:pt x="552619" y="361242"/>
                    <a:pt x="472609" y="361242"/>
                    <a:pt x="503089" y="389817"/>
                  </a:cubicBezTo>
                  <a:cubicBezTo>
                    <a:pt x="527219" y="389817"/>
                    <a:pt x="663744" y="368862"/>
                    <a:pt x="570399" y="357432"/>
                  </a:cubicBezTo>
                  <a:close/>
                  <a:moveTo>
                    <a:pt x="527219" y="465382"/>
                  </a:moveTo>
                  <a:cubicBezTo>
                    <a:pt x="531029" y="504752"/>
                    <a:pt x="577384" y="471097"/>
                    <a:pt x="599609" y="467287"/>
                  </a:cubicBezTo>
                  <a:cubicBezTo>
                    <a:pt x="643424" y="424742"/>
                    <a:pt x="545634" y="460937"/>
                    <a:pt x="527219" y="465382"/>
                  </a:cubicBezTo>
                  <a:close/>
                  <a:moveTo>
                    <a:pt x="80814" y="149152"/>
                  </a:moveTo>
                  <a:cubicBezTo>
                    <a:pt x="89069" y="207572"/>
                    <a:pt x="91609" y="268532"/>
                    <a:pt x="106849" y="325682"/>
                  </a:cubicBezTo>
                  <a:cubicBezTo>
                    <a:pt x="121454" y="349812"/>
                    <a:pt x="158284" y="325047"/>
                    <a:pt x="180509" y="323777"/>
                  </a:cubicBezTo>
                  <a:cubicBezTo>
                    <a:pt x="231944" y="314887"/>
                    <a:pt x="315129" y="299647"/>
                    <a:pt x="360849" y="323777"/>
                  </a:cubicBezTo>
                  <a:cubicBezTo>
                    <a:pt x="404029" y="299647"/>
                    <a:pt x="364024" y="247577"/>
                    <a:pt x="364024" y="210112"/>
                  </a:cubicBezTo>
                  <a:cubicBezTo>
                    <a:pt x="369104" y="76127"/>
                    <a:pt x="162729" y="123752"/>
                    <a:pt x="80814" y="149152"/>
                  </a:cubicBezTo>
                  <a:close/>
                  <a:moveTo>
                    <a:pt x="354499" y="290122"/>
                  </a:moveTo>
                  <a:cubicBezTo>
                    <a:pt x="277029" y="288852"/>
                    <a:pt x="202099" y="298377"/>
                    <a:pt x="125899" y="307902"/>
                  </a:cubicBezTo>
                  <a:cubicBezTo>
                    <a:pt x="118914" y="262817"/>
                    <a:pt x="111929" y="218367"/>
                    <a:pt x="104944" y="172647"/>
                  </a:cubicBezTo>
                  <a:cubicBezTo>
                    <a:pt x="172254" y="133277"/>
                    <a:pt x="262424" y="130102"/>
                    <a:pt x="332909" y="165662"/>
                  </a:cubicBezTo>
                  <a:cubicBezTo>
                    <a:pt x="350054" y="232337"/>
                    <a:pt x="357039" y="269802"/>
                    <a:pt x="354499" y="290122"/>
                  </a:cubicBezTo>
                  <a:close/>
                  <a:moveTo>
                    <a:pt x="227499" y="369497"/>
                  </a:moveTo>
                  <a:cubicBezTo>
                    <a:pt x="222419" y="351082"/>
                    <a:pt x="220514" y="348542"/>
                    <a:pt x="210989" y="347907"/>
                  </a:cubicBezTo>
                  <a:cubicBezTo>
                    <a:pt x="187494" y="351082"/>
                    <a:pt x="103039" y="349812"/>
                    <a:pt x="130344" y="388547"/>
                  </a:cubicBezTo>
                  <a:cubicBezTo>
                    <a:pt x="161459" y="381562"/>
                    <a:pt x="191304" y="365687"/>
                    <a:pt x="227499" y="369497"/>
                  </a:cubicBezTo>
                  <a:close/>
                  <a:moveTo>
                    <a:pt x="143679" y="431727"/>
                  </a:moveTo>
                  <a:cubicBezTo>
                    <a:pt x="177334" y="419662"/>
                    <a:pt x="207814" y="421567"/>
                    <a:pt x="243374" y="420297"/>
                  </a:cubicBezTo>
                  <a:cubicBezTo>
                    <a:pt x="233849" y="382832"/>
                    <a:pt x="99864" y="399342"/>
                    <a:pt x="143679" y="431727"/>
                  </a:cubicBezTo>
                  <a:close/>
                  <a:moveTo>
                    <a:pt x="288459" y="401882"/>
                  </a:moveTo>
                  <a:cubicBezTo>
                    <a:pt x="315764" y="406327"/>
                    <a:pt x="342434" y="389817"/>
                    <a:pt x="369739" y="399977"/>
                  </a:cubicBezTo>
                  <a:cubicBezTo>
                    <a:pt x="371644" y="400612"/>
                    <a:pt x="375454" y="395532"/>
                    <a:pt x="379899" y="392357"/>
                  </a:cubicBezTo>
                  <a:cubicBezTo>
                    <a:pt x="375454" y="363147"/>
                    <a:pt x="253534" y="375212"/>
                    <a:pt x="288459" y="401882"/>
                  </a:cubicBezTo>
                  <a:close/>
                  <a:moveTo>
                    <a:pt x="207179" y="439982"/>
                  </a:moveTo>
                  <a:cubicBezTo>
                    <a:pt x="207179" y="440617"/>
                    <a:pt x="207179" y="440617"/>
                    <a:pt x="207179" y="441252"/>
                  </a:cubicBezTo>
                  <a:cubicBezTo>
                    <a:pt x="190034" y="445697"/>
                    <a:pt x="151934" y="438077"/>
                    <a:pt x="148759" y="460302"/>
                  </a:cubicBezTo>
                  <a:cubicBezTo>
                    <a:pt x="155109" y="492687"/>
                    <a:pt x="295444" y="438712"/>
                    <a:pt x="207179" y="439982"/>
                  </a:cubicBezTo>
                  <a:close/>
                  <a:moveTo>
                    <a:pt x="297984" y="448237"/>
                  </a:moveTo>
                  <a:cubicBezTo>
                    <a:pt x="320844" y="443792"/>
                    <a:pt x="368469" y="461572"/>
                    <a:pt x="371009" y="427282"/>
                  </a:cubicBezTo>
                  <a:cubicBezTo>
                    <a:pt x="350054" y="426012"/>
                    <a:pt x="270044" y="410772"/>
                    <a:pt x="297984" y="448237"/>
                  </a:cubicBezTo>
                  <a:close/>
                  <a:moveTo>
                    <a:pt x="291634" y="359972"/>
                  </a:moveTo>
                  <a:cubicBezTo>
                    <a:pt x="311954" y="347907"/>
                    <a:pt x="353864" y="361242"/>
                    <a:pt x="362754" y="339652"/>
                  </a:cubicBezTo>
                  <a:cubicBezTo>
                    <a:pt x="350054" y="319332"/>
                    <a:pt x="244009" y="335207"/>
                    <a:pt x="291634" y="359972"/>
                  </a:cubicBezTo>
                  <a:close/>
                  <a:moveTo>
                    <a:pt x="177969" y="519357"/>
                  </a:moveTo>
                  <a:cubicBezTo>
                    <a:pt x="199559" y="512372"/>
                    <a:pt x="228134" y="521897"/>
                    <a:pt x="239564" y="497132"/>
                  </a:cubicBezTo>
                  <a:cubicBezTo>
                    <a:pt x="217974" y="490147"/>
                    <a:pt x="144314" y="494592"/>
                    <a:pt x="177969" y="519357"/>
                  </a:cubicBezTo>
                  <a:close/>
                  <a:moveTo>
                    <a:pt x="332274" y="485067"/>
                  </a:moveTo>
                  <a:cubicBezTo>
                    <a:pt x="311954" y="485702"/>
                    <a:pt x="265599" y="490782"/>
                    <a:pt x="301794" y="508562"/>
                  </a:cubicBezTo>
                  <a:cubicBezTo>
                    <a:pt x="326559" y="509832"/>
                    <a:pt x="396409" y="498402"/>
                    <a:pt x="332274" y="48506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1" name="Google Shape;455;p8">
              <a:extLst>
                <a:ext uri="{FF2B5EF4-FFF2-40B4-BE49-F238E27FC236}">
                  <a16:creationId xmlns:a16="http://schemas.microsoft.com/office/drawing/2014/main" id="{EF6D14B3-87C1-4885-A5D6-F29FED255E95}"/>
                </a:ext>
              </a:extLst>
            </p:cNvPr>
            <p:cNvSpPr/>
            <p:nvPr/>
          </p:nvSpPr>
          <p:spPr>
            <a:xfrm>
              <a:off x="6870722" y="1009504"/>
              <a:ext cx="256151" cy="229019"/>
            </a:xfrm>
            <a:custGeom>
              <a:avLst/>
              <a:gdLst/>
              <a:ahLst/>
              <a:cxnLst/>
              <a:rect l="l" t="t" r="r" b="b"/>
              <a:pathLst>
                <a:path w="528147" h="472205" extrusionOk="0">
                  <a:moveTo>
                    <a:pt x="395469" y="177165"/>
                  </a:moveTo>
                  <a:cubicBezTo>
                    <a:pt x="443094" y="36830"/>
                    <a:pt x="381499" y="-53340"/>
                    <a:pt x="264659" y="86360"/>
                  </a:cubicBezTo>
                  <a:cubicBezTo>
                    <a:pt x="239894" y="41275"/>
                    <a:pt x="195444" y="0"/>
                    <a:pt x="143374" y="0"/>
                  </a:cubicBezTo>
                  <a:cubicBezTo>
                    <a:pt x="65269" y="15240"/>
                    <a:pt x="123054" y="139065"/>
                    <a:pt x="131944" y="187325"/>
                  </a:cubicBezTo>
                  <a:cubicBezTo>
                    <a:pt x="76064" y="179070"/>
                    <a:pt x="-40776" y="242570"/>
                    <a:pt x="14469" y="300990"/>
                  </a:cubicBezTo>
                  <a:cubicBezTo>
                    <a:pt x="41774" y="327660"/>
                    <a:pt x="81144" y="321945"/>
                    <a:pt x="109719" y="344170"/>
                  </a:cubicBezTo>
                  <a:cubicBezTo>
                    <a:pt x="102734" y="370840"/>
                    <a:pt x="109084" y="399415"/>
                    <a:pt x="92574" y="423545"/>
                  </a:cubicBezTo>
                  <a:cubicBezTo>
                    <a:pt x="86859" y="433070"/>
                    <a:pt x="90034" y="441960"/>
                    <a:pt x="95749" y="450215"/>
                  </a:cubicBezTo>
                  <a:cubicBezTo>
                    <a:pt x="112259" y="475615"/>
                    <a:pt x="147819" y="474345"/>
                    <a:pt x="159249" y="450850"/>
                  </a:cubicBezTo>
                  <a:cubicBezTo>
                    <a:pt x="175759" y="424180"/>
                    <a:pt x="207509" y="409575"/>
                    <a:pt x="235449" y="397510"/>
                  </a:cubicBezTo>
                  <a:cubicBezTo>
                    <a:pt x="289424" y="513715"/>
                    <a:pt x="403724" y="490220"/>
                    <a:pt x="379594" y="355600"/>
                  </a:cubicBezTo>
                  <a:cubicBezTo>
                    <a:pt x="470399" y="330200"/>
                    <a:pt x="493259" y="345440"/>
                    <a:pt x="525009" y="245110"/>
                  </a:cubicBezTo>
                  <a:cubicBezTo>
                    <a:pt x="549139" y="182880"/>
                    <a:pt x="427219" y="204470"/>
                    <a:pt x="395469" y="177165"/>
                  </a:cubicBezTo>
                  <a:close/>
                  <a:moveTo>
                    <a:pt x="392294" y="59055"/>
                  </a:moveTo>
                  <a:cubicBezTo>
                    <a:pt x="393564" y="106680"/>
                    <a:pt x="391659" y="133985"/>
                    <a:pt x="363719" y="175260"/>
                  </a:cubicBezTo>
                  <a:cubicBezTo>
                    <a:pt x="314824" y="185420"/>
                    <a:pt x="309744" y="137795"/>
                    <a:pt x="290059" y="103505"/>
                  </a:cubicBezTo>
                  <a:cubicBezTo>
                    <a:pt x="316094" y="73025"/>
                    <a:pt x="348479" y="12065"/>
                    <a:pt x="392294" y="59055"/>
                  </a:cubicBezTo>
                  <a:close/>
                  <a:moveTo>
                    <a:pt x="347209" y="325755"/>
                  </a:moveTo>
                  <a:cubicBezTo>
                    <a:pt x="331969" y="330835"/>
                    <a:pt x="317999" y="330200"/>
                    <a:pt x="298314" y="327025"/>
                  </a:cubicBezTo>
                  <a:cubicBezTo>
                    <a:pt x="311649" y="308610"/>
                    <a:pt x="318634" y="292100"/>
                    <a:pt x="333239" y="278130"/>
                  </a:cubicBezTo>
                  <a:cubicBezTo>
                    <a:pt x="345304" y="292735"/>
                    <a:pt x="349749" y="307975"/>
                    <a:pt x="347209" y="325755"/>
                  </a:cubicBezTo>
                  <a:close/>
                  <a:moveTo>
                    <a:pt x="271009" y="130175"/>
                  </a:moveTo>
                  <a:cubicBezTo>
                    <a:pt x="287519" y="140970"/>
                    <a:pt x="288789" y="144145"/>
                    <a:pt x="293234" y="172720"/>
                  </a:cubicBezTo>
                  <a:cubicBezTo>
                    <a:pt x="277359" y="178435"/>
                    <a:pt x="262119" y="180975"/>
                    <a:pt x="244339" y="174625"/>
                  </a:cubicBezTo>
                  <a:cubicBezTo>
                    <a:pt x="247514" y="155575"/>
                    <a:pt x="259579" y="142875"/>
                    <a:pt x="271009" y="130175"/>
                  </a:cubicBezTo>
                  <a:close/>
                  <a:moveTo>
                    <a:pt x="131309" y="77470"/>
                  </a:moveTo>
                  <a:cubicBezTo>
                    <a:pt x="173854" y="74930"/>
                    <a:pt x="176394" y="73025"/>
                    <a:pt x="187189" y="26670"/>
                  </a:cubicBezTo>
                  <a:cubicBezTo>
                    <a:pt x="208779" y="61595"/>
                    <a:pt x="240529" y="69215"/>
                    <a:pt x="250689" y="109220"/>
                  </a:cubicBezTo>
                  <a:cubicBezTo>
                    <a:pt x="229099" y="140970"/>
                    <a:pt x="209414" y="200025"/>
                    <a:pt x="161154" y="180975"/>
                  </a:cubicBezTo>
                  <a:cubicBezTo>
                    <a:pt x="144644" y="148590"/>
                    <a:pt x="124324" y="116840"/>
                    <a:pt x="131309" y="77470"/>
                  </a:cubicBezTo>
                  <a:close/>
                  <a:moveTo>
                    <a:pt x="191634" y="321310"/>
                  </a:moveTo>
                  <a:cubicBezTo>
                    <a:pt x="176394" y="325755"/>
                    <a:pt x="165599" y="326390"/>
                    <a:pt x="154169" y="320040"/>
                  </a:cubicBezTo>
                  <a:cubicBezTo>
                    <a:pt x="156074" y="305435"/>
                    <a:pt x="160519" y="293370"/>
                    <a:pt x="172584" y="283210"/>
                  </a:cubicBezTo>
                  <a:cubicBezTo>
                    <a:pt x="185284" y="292735"/>
                    <a:pt x="185919" y="306070"/>
                    <a:pt x="191634" y="321310"/>
                  </a:cubicBezTo>
                  <a:close/>
                  <a:moveTo>
                    <a:pt x="23359" y="274955"/>
                  </a:moveTo>
                  <a:cubicBezTo>
                    <a:pt x="39869" y="215265"/>
                    <a:pt x="92574" y="210185"/>
                    <a:pt x="145279" y="213995"/>
                  </a:cubicBezTo>
                  <a:cubicBezTo>
                    <a:pt x="175759" y="248285"/>
                    <a:pt x="140834" y="281305"/>
                    <a:pt x="124959" y="314960"/>
                  </a:cubicBezTo>
                  <a:cubicBezTo>
                    <a:pt x="83049" y="313690"/>
                    <a:pt x="43679" y="297815"/>
                    <a:pt x="23359" y="274955"/>
                  </a:cubicBezTo>
                  <a:close/>
                  <a:moveTo>
                    <a:pt x="163059" y="412115"/>
                  </a:moveTo>
                  <a:cubicBezTo>
                    <a:pt x="152264" y="408940"/>
                    <a:pt x="142739" y="405765"/>
                    <a:pt x="131944" y="402590"/>
                  </a:cubicBezTo>
                  <a:cubicBezTo>
                    <a:pt x="125594" y="382905"/>
                    <a:pt x="126229" y="365125"/>
                    <a:pt x="143374" y="347345"/>
                  </a:cubicBezTo>
                  <a:cubicBezTo>
                    <a:pt x="170044" y="349250"/>
                    <a:pt x="208144" y="337185"/>
                    <a:pt x="214494" y="377190"/>
                  </a:cubicBezTo>
                  <a:cubicBezTo>
                    <a:pt x="196714" y="389255"/>
                    <a:pt x="180204" y="400685"/>
                    <a:pt x="163059" y="412115"/>
                  </a:cubicBezTo>
                  <a:close/>
                  <a:moveTo>
                    <a:pt x="225289" y="327025"/>
                  </a:moveTo>
                  <a:cubicBezTo>
                    <a:pt x="170679" y="248285"/>
                    <a:pt x="196079" y="189230"/>
                    <a:pt x="295139" y="198120"/>
                  </a:cubicBezTo>
                  <a:cubicBezTo>
                    <a:pt x="326254" y="193040"/>
                    <a:pt x="331969" y="241935"/>
                    <a:pt x="314824" y="260350"/>
                  </a:cubicBezTo>
                  <a:cubicBezTo>
                    <a:pt x="285614" y="290830"/>
                    <a:pt x="279264" y="341630"/>
                    <a:pt x="225289" y="327025"/>
                  </a:cubicBezTo>
                  <a:close/>
                  <a:moveTo>
                    <a:pt x="253864" y="379095"/>
                  </a:moveTo>
                  <a:cubicBezTo>
                    <a:pt x="271644" y="343535"/>
                    <a:pt x="316729" y="349885"/>
                    <a:pt x="350384" y="355600"/>
                  </a:cubicBezTo>
                  <a:cubicBezTo>
                    <a:pt x="385309" y="470535"/>
                    <a:pt x="287519" y="482600"/>
                    <a:pt x="253864" y="379095"/>
                  </a:cubicBezTo>
                  <a:close/>
                  <a:moveTo>
                    <a:pt x="377689" y="327025"/>
                  </a:moveTo>
                  <a:cubicBezTo>
                    <a:pt x="365624" y="281305"/>
                    <a:pt x="337684" y="234950"/>
                    <a:pt x="383404" y="201295"/>
                  </a:cubicBezTo>
                  <a:cubicBezTo>
                    <a:pt x="408804" y="207645"/>
                    <a:pt x="434204" y="213360"/>
                    <a:pt x="460239" y="219710"/>
                  </a:cubicBezTo>
                  <a:cubicBezTo>
                    <a:pt x="462779" y="241300"/>
                    <a:pt x="469764" y="257175"/>
                    <a:pt x="488179" y="269875"/>
                  </a:cubicBezTo>
                  <a:cubicBezTo>
                    <a:pt x="492624" y="324485"/>
                    <a:pt x="417059" y="320675"/>
                    <a:pt x="377689" y="327025"/>
                  </a:cubicBezTo>
                  <a:close/>
                  <a:moveTo>
                    <a:pt x="257039" y="222250"/>
                  </a:moveTo>
                  <a:cubicBezTo>
                    <a:pt x="196714" y="216535"/>
                    <a:pt x="185284" y="288290"/>
                    <a:pt x="248149" y="290830"/>
                  </a:cubicBezTo>
                  <a:cubicBezTo>
                    <a:pt x="289424" y="291465"/>
                    <a:pt x="307204" y="229235"/>
                    <a:pt x="257039" y="222250"/>
                  </a:cubicBezTo>
                  <a:close/>
                  <a:moveTo>
                    <a:pt x="243069" y="266700"/>
                  </a:moveTo>
                  <a:cubicBezTo>
                    <a:pt x="215764" y="264795"/>
                    <a:pt x="229099" y="242570"/>
                    <a:pt x="248149" y="240030"/>
                  </a:cubicBezTo>
                  <a:cubicBezTo>
                    <a:pt x="272279" y="237490"/>
                    <a:pt x="262119" y="269240"/>
                    <a:pt x="243069" y="26670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2" name="Google Shape;456;p8">
              <a:extLst>
                <a:ext uri="{FF2B5EF4-FFF2-40B4-BE49-F238E27FC236}">
                  <a16:creationId xmlns:a16="http://schemas.microsoft.com/office/drawing/2014/main" id="{978D7DD6-F00B-463B-87F1-330F991DB787}"/>
                </a:ext>
              </a:extLst>
            </p:cNvPr>
            <p:cNvSpPr/>
            <p:nvPr/>
          </p:nvSpPr>
          <p:spPr>
            <a:xfrm rot="-2424567">
              <a:off x="1204048" y="475241"/>
              <a:ext cx="211213" cy="278694"/>
            </a:xfrm>
            <a:custGeom>
              <a:avLst/>
              <a:gdLst/>
              <a:ahLst/>
              <a:cxnLst/>
              <a:rect l="l" t="t" r="r" b="b"/>
              <a:pathLst>
                <a:path w="434661" h="573530" extrusionOk="0">
                  <a:moveTo>
                    <a:pt x="430380" y="417373"/>
                  </a:moveTo>
                  <a:cubicBezTo>
                    <a:pt x="427840" y="354508"/>
                    <a:pt x="363705" y="334823"/>
                    <a:pt x="311635" y="329743"/>
                  </a:cubicBezTo>
                  <a:cubicBezTo>
                    <a:pt x="264010" y="315138"/>
                    <a:pt x="297665" y="236398"/>
                    <a:pt x="288775" y="197028"/>
                  </a:cubicBezTo>
                  <a:cubicBezTo>
                    <a:pt x="290680" y="118923"/>
                    <a:pt x="325605" y="15418"/>
                    <a:pt x="217655" y="178"/>
                  </a:cubicBezTo>
                  <a:cubicBezTo>
                    <a:pt x="211305" y="-1092"/>
                    <a:pt x="199875" y="4623"/>
                    <a:pt x="202415" y="11608"/>
                  </a:cubicBezTo>
                  <a:cubicBezTo>
                    <a:pt x="207495" y="87808"/>
                    <a:pt x="223370" y="169088"/>
                    <a:pt x="197335" y="242748"/>
                  </a:cubicBezTo>
                  <a:cubicBezTo>
                    <a:pt x="158600" y="220523"/>
                    <a:pt x="52555" y="59868"/>
                    <a:pt x="24615" y="87173"/>
                  </a:cubicBezTo>
                  <a:cubicBezTo>
                    <a:pt x="-68095" y="172263"/>
                    <a:pt x="127485" y="297993"/>
                    <a:pt x="175745" y="366573"/>
                  </a:cubicBezTo>
                  <a:cubicBezTo>
                    <a:pt x="205590" y="403403"/>
                    <a:pt x="41760" y="420548"/>
                    <a:pt x="141455" y="548818"/>
                  </a:cubicBezTo>
                  <a:cubicBezTo>
                    <a:pt x="221465" y="630733"/>
                    <a:pt x="298935" y="488493"/>
                    <a:pt x="240515" y="419913"/>
                  </a:cubicBezTo>
                  <a:cubicBezTo>
                    <a:pt x="234165" y="409753"/>
                    <a:pt x="241150" y="384353"/>
                    <a:pt x="256390" y="395148"/>
                  </a:cubicBezTo>
                  <a:cubicBezTo>
                    <a:pt x="288775" y="436423"/>
                    <a:pt x="313540" y="498653"/>
                    <a:pt x="379580" y="489128"/>
                  </a:cubicBezTo>
                  <a:cubicBezTo>
                    <a:pt x="412600" y="482778"/>
                    <a:pt x="446890" y="451028"/>
                    <a:pt x="430380" y="417373"/>
                  </a:cubicBezTo>
                  <a:close/>
                  <a:moveTo>
                    <a:pt x="227180" y="242748"/>
                  </a:moveTo>
                  <a:cubicBezTo>
                    <a:pt x="237975" y="171628"/>
                    <a:pt x="223370" y="100508"/>
                    <a:pt x="232260" y="30023"/>
                  </a:cubicBezTo>
                  <a:cubicBezTo>
                    <a:pt x="277980" y="26213"/>
                    <a:pt x="280520" y="81458"/>
                    <a:pt x="275440" y="113843"/>
                  </a:cubicBezTo>
                  <a:cubicBezTo>
                    <a:pt x="264645" y="171628"/>
                    <a:pt x="276075" y="233858"/>
                    <a:pt x="262105" y="290373"/>
                  </a:cubicBezTo>
                  <a:cubicBezTo>
                    <a:pt x="234800" y="280848"/>
                    <a:pt x="224640" y="268148"/>
                    <a:pt x="227180" y="242748"/>
                  </a:cubicBezTo>
                  <a:close/>
                  <a:moveTo>
                    <a:pt x="152885" y="518338"/>
                  </a:moveTo>
                  <a:cubicBezTo>
                    <a:pt x="152885" y="518338"/>
                    <a:pt x="152885" y="517703"/>
                    <a:pt x="152250" y="517703"/>
                  </a:cubicBezTo>
                  <a:cubicBezTo>
                    <a:pt x="95735" y="500558"/>
                    <a:pt x="151615" y="386258"/>
                    <a:pt x="202415" y="423088"/>
                  </a:cubicBezTo>
                  <a:cubicBezTo>
                    <a:pt x="199240" y="431978"/>
                    <a:pt x="190985" y="433883"/>
                    <a:pt x="182730" y="436423"/>
                  </a:cubicBezTo>
                  <a:cubicBezTo>
                    <a:pt x="152885" y="442773"/>
                    <a:pt x="133835" y="484683"/>
                    <a:pt x="152885" y="518338"/>
                  </a:cubicBezTo>
                  <a:cubicBezTo>
                    <a:pt x="152885" y="518338"/>
                    <a:pt x="152885" y="518338"/>
                    <a:pt x="152885" y="518338"/>
                  </a:cubicBezTo>
                  <a:close/>
                  <a:moveTo>
                    <a:pt x="211305" y="402133"/>
                  </a:moveTo>
                  <a:cubicBezTo>
                    <a:pt x="200510" y="403403"/>
                    <a:pt x="196065" y="378003"/>
                    <a:pt x="209400" y="376733"/>
                  </a:cubicBezTo>
                  <a:cubicBezTo>
                    <a:pt x="225910" y="374828"/>
                    <a:pt x="228450" y="402133"/>
                    <a:pt x="211305" y="402133"/>
                  </a:cubicBezTo>
                  <a:close/>
                  <a:moveTo>
                    <a:pt x="235435" y="458648"/>
                  </a:moveTo>
                  <a:cubicBezTo>
                    <a:pt x="227180" y="451663"/>
                    <a:pt x="220830" y="444043"/>
                    <a:pt x="220195" y="433248"/>
                  </a:cubicBezTo>
                  <a:cubicBezTo>
                    <a:pt x="237340" y="439598"/>
                    <a:pt x="237340" y="439598"/>
                    <a:pt x="235435" y="458648"/>
                  </a:cubicBezTo>
                  <a:close/>
                  <a:moveTo>
                    <a:pt x="177015" y="545008"/>
                  </a:moveTo>
                  <a:cubicBezTo>
                    <a:pt x="180825" y="545008"/>
                    <a:pt x="184000" y="545643"/>
                    <a:pt x="188445" y="545643"/>
                  </a:cubicBezTo>
                  <a:cubicBezTo>
                    <a:pt x="187175" y="555168"/>
                    <a:pt x="175110" y="553263"/>
                    <a:pt x="177015" y="545008"/>
                  </a:cubicBezTo>
                  <a:close/>
                  <a:moveTo>
                    <a:pt x="164950" y="510718"/>
                  </a:moveTo>
                  <a:cubicBezTo>
                    <a:pt x="148440" y="469443"/>
                    <a:pt x="209400" y="428803"/>
                    <a:pt x="222735" y="484048"/>
                  </a:cubicBezTo>
                  <a:cubicBezTo>
                    <a:pt x="217020" y="511988"/>
                    <a:pt x="186540" y="543738"/>
                    <a:pt x="164950" y="510718"/>
                  </a:cubicBezTo>
                  <a:close/>
                  <a:moveTo>
                    <a:pt x="241150" y="477698"/>
                  </a:moveTo>
                  <a:cubicBezTo>
                    <a:pt x="247500" y="493573"/>
                    <a:pt x="240515" y="504368"/>
                    <a:pt x="241785" y="515163"/>
                  </a:cubicBezTo>
                  <a:cubicBezTo>
                    <a:pt x="240515" y="504368"/>
                    <a:pt x="236070" y="493573"/>
                    <a:pt x="241150" y="477698"/>
                  </a:cubicBezTo>
                  <a:close/>
                  <a:moveTo>
                    <a:pt x="242420" y="515163"/>
                  </a:moveTo>
                  <a:cubicBezTo>
                    <a:pt x="237975" y="520878"/>
                    <a:pt x="233530" y="526593"/>
                    <a:pt x="228450" y="532943"/>
                  </a:cubicBezTo>
                  <a:cubicBezTo>
                    <a:pt x="229085" y="513893"/>
                    <a:pt x="229085" y="513893"/>
                    <a:pt x="242420" y="515163"/>
                  </a:cubicBezTo>
                  <a:close/>
                  <a:moveTo>
                    <a:pt x="27155" y="113208"/>
                  </a:moveTo>
                  <a:cubicBezTo>
                    <a:pt x="65890" y="91618"/>
                    <a:pt x="171300" y="284658"/>
                    <a:pt x="220195" y="293548"/>
                  </a:cubicBezTo>
                  <a:lnTo>
                    <a:pt x="219560" y="300533"/>
                  </a:lnTo>
                  <a:cubicBezTo>
                    <a:pt x="140185" y="304978"/>
                    <a:pt x="221465" y="384353"/>
                    <a:pt x="237340" y="308788"/>
                  </a:cubicBezTo>
                  <a:cubicBezTo>
                    <a:pt x="257025" y="318313"/>
                    <a:pt x="270995" y="334188"/>
                    <a:pt x="287505" y="345618"/>
                  </a:cubicBezTo>
                  <a:cubicBezTo>
                    <a:pt x="250675" y="449123"/>
                    <a:pt x="-15390" y="171628"/>
                    <a:pt x="27155" y="113208"/>
                  </a:cubicBezTo>
                  <a:close/>
                  <a:moveTo>
                    <a:pt x="361165" y="474523"/>
                  </a:moveTo>
                  <a:cubicBezTo>
                    <a:pt x="306555" y="467538"/>
                    <a:pt x="248770" y="360858"/>
                    <a:pt x="328780" y="350063"/>
                  </a:cubicBezTo>
                  <a:cubicBezTo>
                    <a:pt x="400535" y="349428"/>
                    <a:pt x="460860" y="469443"/>
                    <a:pt x="361165" y="474523"/>
                  </a:cubicBezTo>
                  <a:close/>
                  <a:moveTo>
                    <a:pt x="305285" y="380543"/>
                  </a:moveTo>
                  <a:cubicBezTo>
                    <a:pt x="314810" y="401498"/>
                    <a:pt x="324970" y="421818"/>
                    <a:pt x="340845" y="439598"/>
                  </a:cubicBezTo>
                  <a:cubicBezTo>
                    <a:pt x="368785" y="464363"/>
                    <a:pt x="409425" y="441503"/>
                    <a:pt x="387835" y="405308"/>
                  </a:cubicBezTo>
                  <a:cubicBezTo>
                    <a:pt x="365610" y="382448"/>
                    <a:pt x="336400" y="346888"/>
                    <a:pt x="305285" y="380543"/>
                  </a:cubicBezTo>
                  <a:close/>
                  <a:moveTo>
                    <a:pt x="368785" y="429438"/>
                  </a:moveTo>
                  <a:cubicBezTo>
                    <a:pt x="350370" y="433248"/>
                    <a:pt x="342115" y="409118"/>
                    <a:pt x="336400" y="390068"/>
                  </a:cubicBezTo>
                  <a:cubicBezTo>
                    <a:pt x="355450" y="395148"/>
                    <a:pt x="378310" y="411658"/>
                    <a:pt x="368785" y="42943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3" name="Google Shape;457;p8">
              <a:extLst>
                <a:ext uri="{FF2B5EF4-FFF2-40B4-BE49-F238E27FC236}">
                  <a16:creationId xmlns:a16="http://schemas.microsoft.com/office/drawing/2014/main" id="{C61C8AEB-51FF-40BE-8691-0CB957ECC753}"/>
                </a:ext>
              </a:extLst>
            </p:cNvPr>
            <p:cNvSpPr/>
            <p:nvPr/>
          </p:nvSpPr>
          <p:spPr>
            <a:xfrm>
              <a:off x="7556769" y="607048"/>
              <a:ext cx="402022" cy="236475"/>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44" name="Google Shape;458;p8">
              <a:extLst>
                <a:ext uri="{FF2B5EF4-FFF2-40B4-BE49-F238E27FC236}">
                  <a16:creationId xmlns:a16="http://schemas.microsoft.com/office/drawing/2014/main" id="{BB9E6F66-9E0A-4940-9875-1E5B4C9F8699}"/>
                </a:ext>
              </a:extLst>
            </p:cNvPr>
            <p:cNvGrpSpPr/>
            <p:nvPr/>
          </p:nvGrpSpPr>
          <p:grpSpPr>
            <a:xfrm rot="890855">
              <a:off x="3181660" y="515636"/>
              <a:ext cx="370663" cy="217580"/>
              <a:chOff x="1429156" y="1387535"/>
              <a:chExt cx="657769" cy="386112"/>
            </a:xfrm>
          </p:grpSpPr>
          <p:sp>
            <p:nvSpPr>
              <p:cNvPr id="81" name="Google Shape;459;p8">
                <a:extLst>
                  <a:ext uri="{FF2B5EF4-FFF2-40B4-BE49-F238E27FC236}">
                    <a16:creationId xmlns:a16="http://schemas.microsoft.com/office/drawing/2014/main" id="{9EAD00EF-0FD0-4066-B32C-1547289EEC60}"/>
                  </a:ext>
                </a:extLst>
              </p:cNvPr>
              <p:cNvSpPr/>
              <p:nvPr/>
            </p:nvSpPr>
            <p:spPr>
              <a:xfrm>
                <a:off x="1429156" y="1387535"/>
                <a:ext cx="657769" cy="386112"/>
              </a:xfrm>
              <a:custGeom>
                <a:avLst/>
                <a:gdLst/>
                <a:ahLst/>
                <a:cxnLst/>
                <a:rect l="l" t="t" r="r" b="b"/>
                <a:pathLst>
                  <a:path w="764848" h="448968" extrusionOk="0">
                    <a:moveTo>
                      <a:pt x="741700" y="448969"/>
                    </a:moveTo>
                    <a:cubicBezTo>
                      <a:pt x="719475" y="440079"/>
                      <a:pt x="715030" y="440714"/>
                      <a:pt x="686455" y="443889"/>
                    </a:cubicBezTo>
                    <a:cubicBezTo>
                      <a:pt x="552470" y="455319"/>
                      <a:pt x="419120" y="428649"/>
                      <a:pt x="285770" y="436269"/>
                    </a:cubicBezTo>
                    <a:cubicBezTo>
                      <a:pt x="193060" y="430554"/>
                      <a:pt x="98445" y="428649"/>
                      <a:pt x="6370" y="441349"/>
                    </a:cubicBezTo>
                    <a:cubicBezTo>
                      <a:pt x="-45700" y="400709"/>
                      <a:pt x="237510" y="281329"/>
                      <a:pt x="273070" y="259739"/>
                    </a:cubicBezTo>
                    <a:cubicBezTo>
                      <a:pt x="431820" y="183539"/>
                      <a:pt x="582950" y="91464"/>
                      <a:pt x="735985" y="3834"/>
                    </a:cubicBezTo>
                    <a:cubicBezTo>
                      <a:pt x="748685" y="-3786"/>
                      <a:pt x="759480" y="24"/>
                      <a:pt x="761385" y="14629"/>
                    </a:cubicBezTo>
                    <a:cubicBezTo>
                      <a:pt x="772180" y="114324"/>
                      <a:pt x="753765" y="215924"/>
                      <a:pt x="759480" y="316889"/>
                    </a:cubicBezTo>
                    <a:cubicBezTo>
                      <a:pt x="752495" y="359434"/>
                      <a:pt x="769640" y="414044"/>
                      <a:pt x="741700" y="448969"/>
                    </a:cubicBezTo>
                    <a:close/>
                    <a:moveTo>
                      <a:pt x="615970" y="418489"/>
                    </a:moveTo>
                    <a:cubicBezTo>
                      <a:pt x="647720" y="425474"/>
                      <a:pt x="636290" y="413409"/>
                      <a:pt x="645815" y="393724"/>
                    </a:cubicBezTo>
                    <a:cubicBezTo>
                      <a:pt x="661690" y="396264"/>
                      <a:pt x="657880" y="414044"/>
                      <a:pt x="669945" y="421029"/>
                    </a:cubicBezTo>
                    <a:cubicBezTo>
                      <a:pt x="675660" y="420394"/>
                      <a:pt x="682645" y="420394"/>
                      <a:pt x="690900" y="419759"/>
                    </a:cubicBezTo>
                    <a:cubicBezTo>
                      <a:pt x="692170" y="410234"/>
                      <a:pt x="692805" y="402614"/>
                      <a:pt x="694075" y="394994"/>
                    </a:cubicBezTo>
                    <a:cubicBezTo>
                      <a:pt x="703600" y="394994"/>
                      <a:pt x="705505" y="401979"/>
                      <a:pt x="708680" y="407059"/>
                    </a:cubicBezTo>
                    <a:cubicBezTo>
                      <a:pt x="718205" y="421664"/>
                      <a:pt x="735350" y="405154"/>
                      <a:pt x="734080" y="391819"/>
                    </a:cubicBezTo>
                    <a:cubicBezTo>
                      <a:pt x="734715" y="274344"/>
                      <a:pt x="747415" y="153059"/>
                      <a:pt x="738525" y="37489"/>
                    </a:cubicBezTo>
                    <a:cubicBezTo>
                      <a:pt x="616605" y="87019"/>
                      <a:pt x="508020" y="171474"/>
                      <a:pt x="388005" y="229259"/>
                    </a:cubicBezTo>
                    <a:cubicBezTo>
                      <a:pt x="278785" y="288314"/>
                      <a:pt x="157500" y="328954"/>
                      <a:pt x="59710" y="406424"/>
                    </a:cubicBezTo>
                    <a:cubicBezTo>
                      <a:pt x="81300" y="415949"/>
                      <a:pt x="101620" y="415949"/>
                      <a:pt x="122575" y="412139"/>
                    </a:cubicBezTo>
                    <a:cubicBezTo>
                      <a:pt x="125115" y="401344"/>
                      <a:pt x="127020" y="392454"/>
                      <a:pt x="128925" y="383564"/>
                    </a:cubicBezTo>
                    <a:cubicBezTo>
                      <a:pt x="154325" y="379119"/>
                      <a:pt x="141625" y="432459"/>
                      <a:pt x="165120" y="404519"/>
                    </a:cubicBezTo>
                    <a:cubicBezTo>
                      <a:pt x="167025" y="400074"/>
                      <a:pt x="165755" y="393724"/>
                      <a:pt x="174010" y="391819"/>
                    </a:cubicBezTo>
                    <a:cubicBezTo>
                      <a:pt x="194965" y="416584"/>
                      <a:pt x="208935" y="421664"/>
                      <a:pt x="221000" y="386104"/>
                    </a:cubicBezTo>
                    <a:cubicBezTo>
                      <a:pt x="238145" y="394994"/>
                      <a:pt x="238780" y="428649"/>
                      <a:pt x="264180" y="408964"/>
                    </a:cubicBezTo>
                    <a:cubicBezTo>
                      <a:pt x="266085" y="401344"/>
                      <a:pt x="267990" y="393724"/>
                      <a:pt x="269895" y="385469"/>
                    </a:cubicBezTo>
                    <a:cubicBezTo>
                      <a:pt x="286405" y="388644"/>
                      <a:pt x="279420" y="407059"/>
                      <a:pt x="292755" y="414044"/>
                    </a:cubicBezTo>
                    <a:cubicBezTo>
                      <a:pt x="299105" y="413409"/>
                      <a:pt x="308630" y="412774"/>
                      <a:pt x="314345" y="412139"/>
                    </a:cubicBezTo>
                    <a:cubicBezTo>
                      <a:pt x="323870" y="404519"/>
                      <a:pt x="314980" y="392454"/>
                      <a:pt x="327045" y="388644"/>
                    </a:cubicBezTo>
                    <a:cubicBezTo>
                      <a:pt x="339745" y="400709"/>
                      <a:pt x="348635" y="422934"/>
                      <a:pt x="374670" y="409599"/>
                    </a:cubicBezTo>
                    <a:cubicBezTo>
                      <a:pt x="374035" y="400709"/>
                      <a:pt x="373400" y="391819"/>
                      <a:pt x="372765" y="379119"/>
                    </a:cubicBezTo>
                    <a:cubicBezTo>
                      <a:pt x="405785" y="384199"/>
                      <a:pt x="385465" y="430554"/>
                      <a:pt x="425470" y="414679"/>
                    </a:cubicBezTo>
                    <a:cubicBezTo>
                      <a:pt x="429915" y="409599"/>
                      <a:pt x="424200" y="399439"/>
                      <a:pt x="434360" y="394994"/>
                    </a:cubicBezTo>
                    <a:cubicBezTo>
                      <a:pt x="445790" y="408329"/>
                      <a:pt x="454045" y="430554"/>
                      <a:pt x="478810" y="416584"/>
                    </a:cubicBezTo>
                    <a:cubicBezTo>
                      <a:pt x="485160" y="407694"/>
                      <a:pt x="473730" y="396264"/>
                      <a:pt x="483890" y="386739"/>
                    </a:cubicBezTo>
                    <a:cubicBezTo>
                      <a:pt x="503575" y="401344"/>
                      <a:pt x="502940" y="441984"/>
                      <a:pt x="535325" y="421029"/>
                    </a:cubicBezTo>
                    <a:cubicBezTo>
                      <a:pt x="535960" y="410234"/>
                      <a:pt x="536595" y="398804"/>
                      <a:pt x="537865" y="386739"/>
                    </a:cubicBezTo>
                    <a:cubicBezTo>
                      <a:pt x="560090" y="389914"/>
                      <a:pt x="549295" y="410869"/>
                      <a:pt x="561360" y="421029"/>
                    </a:cubicBezTo>
                    <a:cubicBezTo>
                      <a:pt x="600730" y="433094"/>
                      <a:pt x="587395" y="409599"/>
                      <a:pt x="600095" y="388009"/>
                    </a:cubicBezTo>
                    <a:cubicBezTo>
                      <a:pt x="605810" y="398169"/>
                      <a:pt x="610255" y="407059"/>
                      <a:pt x="615970" y="41848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82" name="Google Shape;460;p8">
                <a:extLst>
                  <a:ext uri="{FF2B5EF4-FFF2-40B4-BE49-F238E27FC236}">
                    <a16:creationId xmlns:a16="http://schemas.microsoft.com/office/drawing/2014/main" id="{A63ED111-8531-401B-A979-97DC3C562BC9}"/>
                  </a:ext>
                </a:extLst>
              </p:cNvPr>
              <p:cNvSpPr/>
              <p:nvPr/>
            </p:nvSpPr>
            <p:spPr>
              <a:xfrm>
                <a:off x="1703617" y="1534561"/>
                <a:ext cx="308110" cy="146566"/>
              </a:xfrm>
              <a:custGeom>
                <a:avLst/>
                <a:gdLst/>
                <a:ahLst/>
                <a:cxnLst/>
                <a:rect l="l" t="t" r="r" b="b"/>
                <a:pathLst>
                  <a:path w="358267" h="170426" extrusionOk="0">
                    <a:moveTo>
                      <a:pt x="331351" y="0"/>
                    </a:moveTo>
                    <a:cubicBezTo>
                      <a:pt x="385326" y="29845"/>
                      <a:pt x="340241" y="100330"/>
                      <a:pt x="347226" y="149860"/>
                    </a:cubicBezTo>
                    <a:cubicBezTo>
                      <a:pt x="345956" y="186690"/>
                      <a:pt x="250706" y="162560"/>
                      <a:pt x="222766" y="163830"/>
                    </a:cubicBezTo>
                    <a:cubicBezTo>
                      <a:pt x="152281" y="173990"/>
                      <a:pt x="81796" y="159385"/>
                      <a:pt x="10676" y="165735"/>
                    </a:cubicBezTo>
                    <a:cubicBezTo>
                      <a:pt x="-67429" y="148590"/>
                      <a:pt x="307856" y="15240"/>
                      <a:pt x="331351" y="0"/>
                    </a:cubicBezTo>
                    <a:close/>
                    <a:moveTo>
                      <a:pt x="331986" y="27305"/>
                    </a:moveTo>
                    <a:cubicBezTo>
                      <a:pt x="281821" y="40005"/>
                      <a:pt x="86241" y="122555"/>
                      <a:pt x="64651" y="139700"/>
                    </a:cubicBezTo>
                    <a:cubicBezTo>
                      <a:pt x="146566" y="156845"/>
                      <a:pt x="236736" y="147955"/>
                      <a:pt x="321191" y="142875"/>
                    </a:cubicBezTo>
                    <a:cubicBezTo>
                      <a:pt x="327541" y="104140"/>
                      <a:pt x="333891" y="66675"/>
                      <a:pt x="331986" y="273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45" name="Google Shape;461;p8">
              <a:extLst>
                <a:ext uri="{FF2B5EF4-FFF2-40B4-BE49-F238E27FC236}">
                  <a16:creationId xmlns:a16="http://schemas.microsoft.com/office/drawing/2014/main" id="{154BBBB0-23A4-4D0B-8B9C-2DDE257063D8}"/>
                </a:ext>
              </a:extLst>
            </p:cNvPr>
            <p:cNvSpPr/>
            <p:nvPr/>
          </p:nvSpPr>
          <p:spPr>
            <a:xfrm rot="-2499483">
              <a:off x="4165391" y="919169"/>
              <a:ext cx="428994" cy="113072"/>
            </a:xfrm>
            <a:custGeom>
              <a:avLst/>
              <a:gdLst/>
              <a:ahLst/>
              <a:cxnLst/>
              <a:rect l="l" t="t" r="r" b="b"/>
              <a:pathLst>
                <a:path w="884171" h="233045" extrusionOk="0">
                  <a:moveTo>
                    <a:pt x="857928" y="0"/>
                  </a:moveTo>
                  <a:cubicBezTo>
                    <a:pt x="574717" y="35560"/>
                    <a:pt x="287698" y="28575"/>
                    <a:pt x="3218" y="62230"/>
                  </a:cubicBezTo>
                  <a:cubicBezTo>
                    <a:pt x="6393" y="102870"/>
                    <a:pt x="-13927" y="213360"/>
                    <a:pt x="19727" y="233045"/>
                  </a:cubicBezTo>
                  <a:cubicBezTo>
                    <a:pt x="151173" y="226695"/>
                    <a:pt x="281348" y="213995"/>
                    <a:pt x="413427" y="214630"/>
                  </a:cubicBezTo>
                  <a:cubicBezTo>
                    <a:pt x="563923" y="219075"/>
                    <a:pt x="715053" y="208280"/>
                    <a:pt x="865548" y="195580"/>
                  </a:cubicBezTo>
                  <a:cubicBezTo>
                    <a:pt x="899203" y="207010"/>
                    <a:pt x="881423" y="5080"/>
                    <a:pt x="857928" y="0"/>
                  </a:cubicBezTo>
                  <a:close/>
                  <a:moveTo>
                    <a:pt x="860467" y="169545"/>
                  </a:moveTo>
                  <a:cubicBezTo>
                    <a:pt x="825542" y="180340"/>
                    <a:pt x="790617" y="177165"/>
                    <a:pt x="756328" y="185420"/>
                  </a:cubicBezTo>
                  <a:cubicBezTo>
                    <a:pt x="748707" y="175260"/>
                    <a:pt x="742357" y="167005"/>
                    <a:pt x="735373" y="157480"/>
                  </a:cubicBezTo>
                  <a:cubicBezTo>
                    <a:pt x="723942" y="175260"/>
                    <a:pt x="730928" y="186690"/>
                    <a:pt x="703623" y="183515"/>
                  </a:cubicBezTo>
                  <a:cubicBezTo>
                    <a:pt x="699813" y="175895"/>
                    <a:pt x="695367" y="168275"/>
                    <a:pt x="690923" y="160020"/>
                  </a:cubicBezTo>
                  <a:cubicBezTo>
                    <a:pt x="677588" y="164465"/>
                    <a:pt x="685842" y="179070"/>
                    <a:pt x="676317" y="184150"/>
                  </a:cubicBezTo>
                  <a:cubicBezTo>
                    <a:pt x="662982" y="182245"/>
                    <a:pt x="673778" y="159385"/>
                    <a:pt x="654092" y="161290"/>
                  </a:cubicBezTo>
                  <a:cubicBezTo>
                    <a:pt x="652188" y="168910"/>
                    <a:pt x="649648" y="177800"/>
                    <a:pt x="647742" y="186690"/>
                  </a:cubicBezTo>
                  <a:cubicBezTo>
                    <a:pt x="598213" y="209550"/>
                    <a:pt x="632503" y="132080"/>
                    <a:pt x="597578" y="128270"/>
                  </a:cubicBezTo>
                  <a:cubicBezTo>
                    <a:pt x="574717" y="146050"/>
                    <a:pt x="625517" y="198120"/>
                    <a:pt x="575988" y="194310"/>
                  </a:cubicBezTo>
                  <a:cubicBezTo>
                    <a:pt x="571542" y="184150"/>
                    <a:pt x="566463" y="172720"/>
                    <a:pt x="561382" y="160020"/>
                  </a:cubicBezTo>
                  <a:cubicBezTo>
                    <a:pt x="548682" y="168910"/>
                    <a:pt x="555667" y="180975"/>
                    <a:pt x="551223" y="189865"/>
                  </a:cubicBezTo>
                  <a:cubicBezTo>
                    <a:pt x="527727" y="199390"/>
                    <a:pt x="528363" y="180340"/>
                    <a:pt x="515663" y="167640"/>
                  </a:cubicBezTo>
                  <a:cubicBezTo>
                    <a:pt x="506138" y="172720"/>
                    <a:pt x="510582" y="179070"/>
                    <a:pt x="509948" y="184785"/>
                  </a:cubicBezTo>
                  <a:cubicBezTo>
                    <a:pt x="503598" y="211455"/>
                    <a:pt x="478832" y="184150"/>
                    <a:pt x="477563" y="168275"/>
                  </a:cubicBezTo>
                  <a:cubicBezTo>
                    <a:pt x="475657" y="168275"/>
                    <a:pt x="473118" y="168910"/>
                    <a:pt x="471213" y="168910"/>
                  </a:cubicBezTo>
                  <a:cubicBezTo>
                    <a:pt x="468673" y="176530"/>
                    <a:pt x="468038" y="185420"/>
                    <a:pt x="468673" y="192405"/>
                  </a:cubicBezTo>
                  <a:cubicBezTo>
                    <a:pt x="419143" y="222885"/>
                    <a:pt x="449623" y="139065"/>
                    <a:pt x="420413" y="134620"/>
                  </a:cubicBezTo>
                  <a:cubicBezTo>
                    <a:pt x="403268" y="157480"/>
                    <a:pt x="441368" y="204470"/>
                    <a:pt x="384852" y="194310"/>
                  </a:cubicBezTo>
                  <a:cubicBezTo>
                    <a:pt x="379773" y="186690"/>
                    <a:pt x="374057" y="178435"/>
                    <a:pt x="367707" y="168910"/>
                  </a:cubicBezTo>
                  <a:cubicBezTo>
                    <a:pt x="355643" y="175260"/>
                    <a:pt x="365802" y="188595"/>
                    <a:pt x="356277" y="194310"/>
                  </a:cubicBezTo>
                  <a:cubicBezTo>
                    <a:pt x="341038" y="190500"/>
                    <a:pt x="348023" y="171450"/>
                    <a:pt x="337227" y="164465"/>
                  </a:cubicBezTo>
                  <a:cubicBezTo>
                    <a:pt x="323893" y="161290"/>
                    <a:pt x="327702" y="179705"/>
                    <a:pt x="325798" y="187960"/>
                  </a:cubicBezTo>
                  <a:cubicBezTo>
                    <a:pt x="311827" y="185420"/>
                    <a:pt x="316907" y="161290"/>
                    <a:pt x="299763" y="167640"/>
                  </a:cubicBezTo>
                  <a:cubicBezTo>
                    <a:pt x="299127" y="175260"/>
                    <a:pt x="298493" y="183515"/>
                    <a:pt x="297857" y="193040"/>
                  </a:cubicBezTo>
                  <a:cubicBezTo>
                    <a:pt x="284523" y="198120"/>
                    <a:pt x="270552" y="196215"/>
                    <a:pt x="255313" y="193675"/>
                  </a:cubicBezTo>
                  <a:cubicBezTo>
                    <a:pt x="253407" y="123190"/>
                    <a:pt x="226102" y="121285"/>
                    <a:pt x="228643" y="193675"/>
                  </a:cubicBezTo>
                  <a:cubicBezTo>
                    <a:pt x="208957" y="210185"/>
                    <a:pt x="200068" y="191770"/>
                    <a:pt x="189907" y="181610"/>
                  </a:cubicBezTo>
                  <a:cubicBezTo>
                    <a:pt x="187368" y="183515"/>
                    <a:pt x="184827" y="184150"/>
                    <a:pt x="184193" y="185420"/>
                  </a:cubicBezTo>
                  <a:cubicBezTo>
                    <a:pt x="179748" y="215265"/>
                    <a:pt x="160063" y="195580"/>
                    <a:pt x="153713" y="178435"/>
                  </a:cubicBezTo>
                  <a:cubicBezTo>
                    <a:pt x="136568" y="176530"/>
                    <a:pt x="152443" y="219075"/>
                    <a:pt x="127043" y="200025"/>
                  </a:cubicBezTo>
                  <a:cubicBezTo>
                    <a:pt x="124502" y="193040"/>
                    <a:pt x="122598" y="184150"/>
                    <a:pt x="116248" y="179070"/>
                  </a:cubicBezTo>
                  <a:cubicBezTo>
                    <a:pt x="104818" y="182245"/>
                    <a:pt x="108627" y="191135"/>
                    <a:pt x="106088" y="197485"/>
                  </a:cubicBezTo>
                  <a:cubicBezTo>
                    <a:pt x="76877" y="236855"/>
                    <a:pt x="86402" y="157480"/>
                    <a:pt x="76877" y="144780"/>
                  </a:cubicBezTo>
                  <a:cubicBezTo>
                    <a:pt x="43857" y="125095"/>
                    <a:pt x="66718" y="187325"/>
                    <a:pt x="62273" y="203200"/>
                  </a:cubicBezTo>
                  <a:cubicBezTo>
                    <a:pt x="52113" y="213360"/>
                    <a:pt x="41318" y="208280"/>
                    <a:pt x="29888" y="208280"/>
                  </a:cubicBezTo>
                  <a:cubicBezTo>
                    <a:pt x="26077" y="177165"/>
                    <a:pt x="5123" y="95250"/>
                    <a:pt x="35602" y="78740"/>
                  </a:cubicBezTo>
                  <a:cubicBezTo>
                    <a:pt x="133393" y="58420"/>
                    <a:pt x="233723" y="57785"/>
                    <a:pt x="333418" y="53975"/>
                  </a:cubicBezTo>
                  <a:cubicBezTo>
                    <a:pt x="505502" y="41910"/>
                    <a:pt x="680763" y="26670"/>
                    <a:pt x="852213" y="30480"/>
                  </a:cubicBezTo>
                  <a:cubicBezTo>
                    <a:pt x="863007" y="74930"/>
                    <a:pt x="864913" y="125730"/>
                    <a:pt x="860467" y="169545"/>
                  </a:cubicBezTo>
                  <a:close/>
                  <a:moveTo>
                    <a:pt x="776648" y="102235"/>
                  </a:moveTo>
                  <a:cubicBezTo>
                    <a:pt x="776648" y="144780"/>
                    <a:pt x="831892" y="132080"/>
                    <a:pt x="839513" y="100965"/>
                  </a:cubicBezTo>
                  <a:cubicBezTo>
                    <a:pt x="838878" y="50800"/>
                    <a:pt x="779188" y="59055"/>
                    <a:pt x="776648" y="102235"/>
                  </a:cubicBezTo>
                  <a:close/>
                  <a:moveTo>
                    <a:pt x="796967" y="102235"/>
                  </a:moveTo>
                  <a:cubicBezTo>
                    <a:pt x="799507" y="89535"/>
                    <a:pt x="809032" y="91440"/>
                    <a:pt x="817288" y="101600"/>
                  </a:cubicBezTo>
                  <a:cubicBezTo>
                    <a:pt x="809032" y="107315"/>
                    <a:pt x="796332" y="116205"/>
                    <a:pt x="796967" y="10223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6" name="Google Shape;462;p8">
              <a:extLst>
                <a:ext uri="{FF2B5EF4-FFF2-40B4-BE49-F238E27FC236}">
                  <a16:creationId xmlns:a16="http://schemas.microsoft.com/office/drawing/2014/main" id="{F6753640-8B72-4C88-A719-3D11E873B564}"/>
                </a:ext>
              </a:extLst>
            </p:cNvPr>
            <p:cNvSpPr/>
            <p:nvPr/>
          </p:nvSpPr>
          <p:spPr>
            <a:xfrm>
              <a:off x="674582" y="523294"/>
              <a:ext cx="375105" cy="294447"/>
            </a:xfrm>
            <a:custGeom>
              <a:avLst/>
              <a:gdLst/>
              <a:ahLst/>
              <a:cxnLst/>
              <a:rect l="l" t="t" r="r" b="b"/>
              <a:pathLst>
                <a:path w="773413" h="607108" extrusionOk="0">
                  <a:moveTo>
                    <a:pt x="330200" y="266676"/>
                  </a:moveTo>
                  <a:cubicBezTo>
                    <a:pt x="311785" y="287631"/>
                    <a:pt x="356870" y="297791"/>
                    <a:pt x="365125" y="312396"/>
                  </a:cubicBezTo>
                  <a:cubicBezTo>
                    <a:pt x="452120" y="383516"/>
                    <a:pt x="374650" y="271121"/>
                    <a:pt x="330200" y="266676"/>
                  </a:cubicBezTo>
                  <a:close/>
                  <a:moveTo>
                    <a:pt x="345440" y="379706"/>
                  </a:moveTo>
                  <a:cubicBezTo>
                    <a:pt x="343535" y="361291"/>
                    <a:pt x="321945" y="360021"/>
                    <a:pt x="318770" y="343511"/>
                  </a:cubicBezTo>
                  <a:cubicBezTo>
                    <a:pt x="320675" y="320016"/>
                    <a:pt x="302260" y="323826"/>
                    <a:pt x="288925" y="317476"/>
                  </a:cubicBezTo>
                  <a:cubicBezTo>
                    <a:pt x="288290" y="309856"/>
                    <a:pt x="287655" y="302871"/>
                    <a:pt x="287020" y="295886"/>
                  </a:cubicBezTo>
                  <a:cubicBezTo>
                    <a:pt x="256540" y="302871"/>
                    <a:pt x="237490" y="313031"/>
                    <a:pt x="245745" y="340336"/>
                  </a:cubicBezTo>
                  <a:cubicBezTo>
                    <a:pt x="258445" y="358116"/>
                    <a:pt x="277495" y="337796"/>
                    <a:pt x="294005" y="347956"/>
                  </a:cubicBezTo>
                  <a:cubicBezTo>
                    <a:pt x="292100" y="368911"/>
                    <a:pt x="304800" y="377801"/>
                    <a:pt x="325120" y="377801"/>
                  </a:cubicBezTo>
                  <a:cubicBezTo>
                    <a:pt x="336550" y="404471"/>
                    <a:pt x="335915" y="405106"/>
                    <a:pt x="358775" y="416536"/>
                  </a:cubicBezTo>
                  <a:cubicBezTo>
                    <a:pt x="372110" y="422251"/>
                    <a:pt x="386715" y="457176"/>
                    <a:pt x="400050" y="436221"/>
                  </a:cubicBezTo>
                  <a:cubicBezTo>
                    <a:pt x="391795" y="396851"/>
                    <a:pt x="360680" y="405106"/>
                    <a:pt x="345440" y="379706"/>
                  </a:cubicBezTo>
                  <a:close/>
                  <a:moveTo>
                    <a:pt x="507365" y="428601"/>
                  </a:moveTo>
                  <a:cubicBezTo>
                    <a:pt x="495935" y="401296"/>
                    <a:pt x="474345" y="382881"/>
                    <a:pt x="453390" y="364466"/>
                  </a:cubicBezTo>
                  <a:cubicBezTo>
                    <a:pt x="431165" y="346051"/>
                    <a:pt x="431165" y="391136"/>
                    <a:pt x="451485" y="393676"/>
                  </a:cubicBezTo>
                  <a:cubicBezTo>
                    <a:pt x="487045" y="408916"/>
                    <a:pt x="488315" y="451461"/>
                    <a:pt x="525145" y="467336"/>
                  </a:cubicBezTo>
                  <a:cubicBezTo>
                    <a:pt x="542925" y="447651"/>
                    <a:pt x="513715" y="441301"/>
                    <a:pt x="507365" y="428601"/>
                  </a:cubicBezTo>
                  <a:close/>
                  <a:moveTo>
                    <a:pt x="504825" y="315571"/>
                  </a:moveTo>
                  <a:cubicBezTo>
                    <a:pt x="500380" y="301601"/>
                    <a:pt x="481965" y="299061"/>
                    <a:pt x="480060" y="284456"/>
                  </a:cubicBezTo>
                  <a:cubicBezTo>
                    <a:pt x="474980" y="258421"/>
                    <a:pt x="442595" y="265406"/>
                    <a:pt x="434340" y="241276"/>
                  </a:cubicBezTo>
                  <a:cubicBezTo>
                    <a:pt x="421005" y="238101"/>
                    <a:pt x="410210" y="251436"/>
                    <a:pt x="398145" y="240006"/>
                  </a:cubicBezTo>
                  <a:cubicBezTo>
                    <a:pt x="403860" y="233656"/>
                    <a:pt x="408940" y="232386"/>
                    <a:pt x="417195" y="228576"/>
                  </a:cubicBezTo>
                  <a:cubicBezTo>
                    <a:pt x="400050" y="175871"/>
                    <a:pt x="313690" y="272391"/>
                    <a:pt x="419735" y="267311"/>
                  </a:cubicBezTo>
                  <a:cubicBezTo>
                    <a:pt x="422275" y="289536"/>
                    <a:pt x="445770" y="278741"/>
                    <a:pt x="461645" y="288266"/>
                  </a:cubicBezTo>
                  <a:cubicBezTo>
                    <a:pt x="460375" y="315571"/>
                    <a:pt x="490855" y="330176"/>
                    <a:pt x="508000" y="347321"/>
                  </a:cubicBezTo>
                  <a:cubicBezTo>
                    <a:pt x="532130" y="360656"/>
                    <a:pt x="526415" y="399391"/>
                    <a:pt x="563245" y="392406"/>
                  </a:cubicBezTo>
                  <a:cubicBezTo>
                    <a:pt x="560070" y="370181"/>
                    <a:pt x="537210" y="365101"/>
                    <a:pt x="537210" y="340971"/>
                  </a:cubicBezTo>
                  <a:cubicBezTo>
                    <a:pt x="524510" y="334621"/>
                    <a:pt x="509270" y="329541"/>
                    <a:pt x="504825" y="315571"/>
                  </a:cubicBezTo>
                  <a:close/>
                  <a:moveTo>
                    <a:pt x="744220" y="156186"/>
                  </a:moveTo>
                  <a:cubicBezTo>
                    <a:pt x="658495" y="119991"/>
                    <a:pt x="573405" y="78081"/>
                    <a:pt x="509270" y="8231"/>
                  </a:cubicBezTo>
                  <a:cubicBezTo>
                    <a:pt x="478155" y="-22249"/>
                    <a:pt x="454660" y="40616"/>
                    <a:pt x="430530" y="55856"/>
                  </a:cubicBezTo>
                  <a:cubicBezTo>
                    <a:pt x="309880" y="170156"/>
                    <a:pt x="172720" y="286361"/>
                    <a:pt x="0" y="294616"/>
                  </a:cubicBezTo>
                  <a:cubicBezTo>
                    <a:pt x="14605" y="319381"/>
                    <a:pt x="14605" y="318746"/>
                    <a:pt x="29845" y="328271"/>
                  </a:cubicBezTo>
                  <a:cubicBezTo>
                    <a:pt x="91440" y="365736"/>
                    <a:pt x="144780" y="415901"/>
                    <a:pt x="205740" y="454001"/>
                  </a:cubicBezTo>
                  <a:cubicBezTo>
                    <a:pt x="279400" y="483211"/>
                    <a:pt x="368935" y="638786"/>
                    <a:pt x="440690" y="601322"/>
                  </a:cubicBezTo>
                  <a:cubicBezTo>
                    <a:pt x="623570" y="562586"/>
                    <a:pt x="855980" y="342876"/>
                    <a:pt x="744220" y="156186"/>
                  </a:cubicBezTo>
                  <a:close/>
                  <a:moveTo>
                    <a:pt x="412750" y="585447"/>
                  </a:moveTo>
                  <a:cubicBezTo>
                    <a:pt x="372110" y="579731"/>
                    <a:pt x="340995" y="535916"/>
                    <a:pt x="308610" y="511786"/>
                  </a:cubicBezTo>
                  <a:cubicBezTo>
                    <a:pt x="229235" y="438761"/>
                    <a:pt x="133985" y="389866"/>
                    <a:pt x="57150" y="314301"/>
                  </a:cubicBezTo>
                  <a:cubicBezTo>
                    <a:pt x="231140" y="271756"/>
                    <a:pt x="370840" y="152376"/>
                    <a:pt x="493395" y="26646"/>
                  </a:cubicBezTo>
                  <a:cubicBezTo>
                    <a:pt x="561975" y="90781"/>
                    <a:pt x="644525" y="126976"/>
                    <a:pt x="723265" y="173966"/>
                  </a:cubicBezTo>
                  <a:cubicBezTo>
                    <a:pt x="699135" y="203176"/>
                    <a:pt x="664210" y="216511"/>
                    <a:pt x="643255" y="243816"/>
                  </a:cubicBezTo>
                  <a:cubicBezTo>
                    <a:pt x="660400" y="283186"/>
                    <a:pt x="710565" y="292076"/>
                    <a:pt x="733425" y="327636"/>
                  </a:cubicBezTo>
                  <a:cubicBezTo>
                    <a:pt x="689610" y="466701"/>
                    <a:pt x="548005" y="554966"/>
                    <a:pt x="412750" y="585447"/>
                  </a:cubicBezTo>
                  <a:close/>
                  <a:moveTo>
                    <a:pt x="674370" y="250166"/>
                  </a:moveTo>
                  <a:cubicBezTo>
                    <a:pt x="697865" y="229211"/>
                    <a:pt x="714375" y="205716"/>
                    <a:pt x="743585" y="197461"/>
                  </a:cubicBezTo>
                  <a:cubicBezTo>
                    <a:pt x="744855" y="232386"/>
                    <a:pt x="751205" y="265406"/>
                    <a:pt x="738505" y="299061"/>
                  </a:cubicBezTo>
                  <a:cubicBezTo>
                    <a:pt x="712470" y="288266"/>
                    <a:pt x="697865" y="265406"/>
                    <a:pt x="674370" y="250166"/>
                  </a:cubicBezTo>
                  <a:close/>
                  <a:moveTo>
                    <a:pt x="641985" y="310491"/>
                  </a:moveTo>
                  <a:cubicBezTo>
                    <a:pt x="619760" y="306681"/>
                    <a:pt x="605790" y="289536"/>
                    <a:pt x="589280" y="280011"/>
                  </a:cubicBezTo>
                  <a:cubicBezTo>
                    <a:pt x="587375" y="270486"/>
                    <a:pt x="586105" y="263501"/>
                    <a:pt x="584835" y="255881"/>
                  </a:cubicBezTo>
                  <a:cubicBezTo>
                    <a:pt x="541020" y="246356"/>
                    <a:pt x="568960" y="223496"/>
                    <a:pt x="506095" y="215241"/>
                  </a:cubicBezTo>
                  <a:cubicBezTo>
                    <a:pt x="534670" y="166346"/>
                    <a:pt x="490220" y="189841"/>
                    <a:pt x="461645" y="186031"/>
                  </a:cubicBezTo>
                  <a:cubicBezTo>
                    <a:pt x="436245" y="172061"/>
                    <a:pt x="474345" y="158726"/>
                    <a:pt x="487045" y="156186"/>
                  </a:cubicBezTo>
                  <a:cubicBezTo>
                    <a:pt x="502920" y="130786"/>
                    <a:pt x="456565" y="133961"/>
                    <a:pt x="447040" y="148566"/>
                  </a:cubicBezTo>
                  <a:cubicBezTo>
                    <a:pt x="419100" y="174601"/>
                    <a:pt x="444500" y="210796"/>
                    <a:pt x="478790" y="206986"/>
                  </a:cubicBezTo>
                  <a:cubicBezTo>
                    <a:pt x="490855" y="245086"/>
                    <a:pt x="502285" y="234291"/>
                    <a:pt x="534670" y="244451"/>
                  </a:cubicBezTo>
                  <a:cubicBezTo>
                    <a:pt x="539115" y="264771"/>
                    <a:pt x="565785" y="269851"/>
                    <a:pt x="571500" y="292711"/>
                  </a:cubicBezTo>
                  <a:cubicBezTo>
                    <a:pt x="590550" y="305411"/>
                    <a:pt x="613410" y="332081"/>
                    <a:pt x="638175" y="329541"/>
                  </a:cubicBezTo>
                  <a:cubicBezTo>
                    <a:pt x="647700" y="327636"/>
                    <a:pt x="648335" y="313666"/>
                    <a:pt x="641985" y="31049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47" name="Google Shape;463;p8">
              <a:extLst>
                <a:ext uri="{FF2B5EF4-FFF2-40B4-BE49-F238E27FC236}">
                  <a16:creationId xmlns:a16="http://schemas.microsoft.com/office/drawing/2014/main" id="{CD30EE38-2FE4-474E-895F-B06B08EDBBF8}"/>
                </a:ext>
              </a:extLst>
            </p:cNvPr>
            <p:cNvGrpSpPr/>
            <p:nvPr/>
          </p:nvGrpSpPr>
          <p:grpSpPr>
            <a:xfrm>
              <a:off x="3707787" y="505390"/>
              <a:ext cx="212392" cy="256778"/>
              <a:chOff x="1010452" y="1144365"/>
              <a:chExt cx="376916" cy="455685"/>
            </a:xfrm>
          </p:grpSpPr>
          <p:sp>
            <p:nvSpPr>
              <p:cNvPr id="79" name="Google Shape;464;p8">
                <a:extLst>
                  <a:ext uri="{FF2B5EF4-FFF2-40B4-BE49-F238E27FC236}">
                    <a16:creationId xmlns:a16="http://schemas.microsoft.com/office/drawing/2014/main" id="{C25C191E-054A-4752-BCEC-289694B81E61}"/>
                  </a:ext>
                </a:extLst>
              </p:cNvPr>
              <p:cNvSpPr/>
              <p:nvPr/>
            </p:nvSpPr>
            <p:spPr>
              <a:xfrm>
                <a:off x="1010452" y="1144365"/>
                <a:ext cx="376916" cy="455685"/>
              </a:xfrm>
              <a:custGeom>
                <a:avLst/>
                <a:gdLst/>
                <a:ahLst/>
                <a:cxnLst/>
                <a:rect l="l" t="t" r="r" b="b"/>
                <a:pathLst>
                  <a:path w="438274" h="529866" extrusionOk="0">
                    <a:moveTo>
                      <a:pt x="42669" y="358775"/>
                    </a:moveTo>
                    <a:cubicBezTo>
                      <a:pt x="32509" y="365760"/>
                      <a:pt x="24889" y="370840"/>
                      <a:pt x="16634" y="376555"/>
                    </a:cubicBezTo>
                    <a:cubicBezTo>
                      <a:pt x="759" y="367030"/>
                      <a:pt x="-511" y="353060"/>
                      <a:pt x="124" y="337820"/>
                    </a:cubicBezTo>
                    <a:cubicBezTo>
                      <a:pt x="25524" y="336550"/>
                      <a:pt x="44574" y="340360"/>
                      <a:pt x="69339" y="353060"/>
                    </a:cubicBezTo>
                    <a:cubicBezTo>
                      <a:pt x="81404" y="349250"/>
                      <a:pt x="94739" y="345440"/>
                      <a:pt x="107439" y="340995"/>
                    </a:cubicBezTo>
                    <a:cubicBezTo>
                      <a:pt x="139189" y="224155"/>
                      <a:pt x="129029" y="254000"/>
                      <a:pt x="172209" y="186055"/>
                    </a:cubicBezTo>
                    <a:cubicBezTo>
                      <a:pt x="136014" y="133985"/>
                      <a:pt x="101089" y="64770"/>
                      <a:pt x="130934" y="0"/>
                    </a:cubicBezTo>
                    <a:cubicBezTo>
                      <a:pt x="181099" y="8255"/>
                      <a:pt x="230629" y="101600"/>
                      <a:pt x="237614" y="151130"/>
                    </a:cubicBezTo>
                    <a:cubicBezTo>
                      <a:pt x="282699" y="160020"/>
                      <a:pt x="330324" y="148590"/>
                      <a:pt x="366519" y="186055"/>
                    </a:cubicBezTo>
                    <a:cubicBezTo>
                      <a:pt x="391284" y="211455"/>
                      <a:pt x="430654" y="226695"/>
                      <a:pt x="438274" y="264795"/>
                    </a:cubicBezTo>
                    <a:cubicBezTo>
                      <a:pt x="363344" y="320040"/>
                      <a:pt x="256029" y="259080"/>
                      <a:pt x="195704" y="205740"/>
                    </a:cubicBezTo>
                    <a:cubicBezTo>
                      <a:pt x="153794" y="228600"/>
                      <a:pt x="141094" y="292100"/>
                      <a:pt x="136649" y="332740"/>
                    </a:cubicBezTo>
                    <a:cubicBezTo>
                      <a:pt x="143634" y="339090"/>
                      <a:pt x="151889" y="345440"/>
                      <a:pt x="160779" y="353060"/>
                    </a:cubicBezTo>
                    <a:cubicBezTo>
                      <a:pt x="169669" y="349885"/>
                      <a:pt x="178559" y="346075"/>
                      <a:pt x="188084" y="342900"/>
                    </a:cubicBezTo>
                    <a:cubicBezTo>
                      <a:pt x="193799" y="347345"/>
                      <a:pt x="199514" y="351790"/>
                      <a:pt x="205864" y="357505"/>
                    </a:cubicBezTo>
                    <a:cubicBezTo>
                      <a:pt x="238249" y="346710"/>
                      <a:pt x="275079" y="366395"/>
                      <a:pt x="310004" y="365125"/>
                    </a:cubicBezTo>
                    <a:cubicBezTo>
                      <a:pt x="348104" y="407670"/>
                      <a:pt x="245869" y="379095"/>
                      <a:pt x="227454" y="375285"/>
                    </a:cubicBezTo>
                    <a:cubicBezTo>
                      <a:pt x="220469" y="379095"/>
                      <a:pt x="212849" y="384175"/>
                      <a:pt x="203959" y="388620"/>
                    </a:cubicBezTo>
                    <a:cubicBezTo>
                      <a:pt x="196974" y="386080"/>
                      <a:pt x="188719" y="381000"/>
                      <a:pt x="184274" y="375920"/>
                    </a:cubicBezTo>
                    <a:cubicBezTo>
                      <a:pt x="167129" y="374650"/>
                      <a:pt x="151889" y="373380"/>
                      <a:pt x="134744" y="372110"/>
                    </a:cubicBezTo>
                    <a:cubicBezTo>
                      <a:pt x="134744" y="381000"/>
                      <a:pt x="139189" y="389890"/>
                      <a:pt x="145539" y="395605"/>
                    </a:cubicBezTo>
                    <a:cubicBezTo>
                      <a:pt x="186179" y="433070"/>
                      <a:pt x="166494" y="499110"/>
                      <a:pt x="128394" y="528955"/>
                    </a:cubicBezTo>
                    <a:cubicBezTo>
                      <a:pt x="69974" y="541020"/>
                      <a:pt x="67434" y="429895"/>
                      <a:pt x="99819" y="396875"/>
                    </a:cubicBezTo>
                    <a:cubicBezTo>
                      <a:pt x="113154" y="386715"/>
                      <a:pt x="109979" y="361315"/>
                      <a:pt x="90294" y="370205"/>
                    </a:cubicBezTo>
                    <a:cubicBezTo>
                      <a:pt x="71244" y="380365"/>
                      <a:pt x="57909" y="368300"/>
                      <a:pt x="42669" y="358775"/>
                    </a:cubicBezTo>
                    <a:close/>
                    <a:moveTo>
                      <a:pt x="111884" y="481965"/>
                    </a:moveTo>
                    <a:cubicBezTo>
                      <a:pt x="107439" y="512445"/>
                      <a:pt x="133474" y="506095"/>
                      <a:pt x="111249" y="482600"/>
                    </a:cubicBezTo>
                    <a:cubicBezTo>
                      <a:pt x="110614" y="470535"/>
                      <a:pt x="109979" y="458470"/>
                      <a:pt x="108709" y="446405"/>
                    </a:cubicBezTo>
                    <a:cubicBezTo>
                      <a:pt x="105534" y="458470"/>
                      <a:pt x="99184" y="471805"/>
                      <a:pt x="111884" y="481965"/>
                    </a:cubicBezTo>
                    <a:close/>
                    <a:moveTo>
                      <a:pt x="200784" y="171450"/>
                    </a:moveTo>
                    <a:cubicBezTo>
                      <a:pt x="233804" y="126365"/>
                      <a:pt x="188084" y="57785"/>
                      <a:pt x="148079" y="34290"/>
                    </a:cubicBezTo>
                    <a:cubicBezTo>
                      <a:pt x="130934" y="70485"/>
                      <a:pt x="156334" y="168910"/>
                      <a:pt x="200784" y="171450"/>
                    </a:cubicBezTo>
                    <a:lnTo>
                      <a:pt x="200784" y="171450"/>
                    </a:lnTo>
                    <a:close/>
                    <a:moveTo>
                      <a:pt x="241424" y="220980"/>
                    </a:moveTo>
                    <a:lnTo>
                      <a:pt x="242059" y="219075"/>
                    </a:lnTo>
                    <a:lnTo>
                      <a:pt x="240154" y="220345"/>
                    </a:lnTo>
                    <a:cubicBezTo>
                      <a:pt x="289684" y="245110"/>
                      <a:pt x="363979" y="292100"/>
                      <a:pt x="412239" y="248920"/>
                    </a:cubicBezTo>
                    <a:cubicBezTo>
                      <a:pt x="370964" y="205740"/>
                      <a:pt x="304289" y="149860"/>
                      <a:pt x="243964" y="186690"/>
                    </a:cubicBezTo>
                    <a:cubicBezTo>
                      <a:pt x="269999" y="217170"/>
                      <a:pt x="344294" y="203835"/>
                      <a:pt x="353819" y="244475"/>
                    </a:cubicBezTo>
                    <a:cubicBezTo>
                      <a:pt x="318259" y="237490"/>
                      <a:pt x="280159" y="214630"/>
                      <a:pt x="241424" y="220980"/>
                    </a:cubicBezTo>
                    <a:close/>
                    <a:moveTo>
                      <a:pt x="139189" y="431165"/>
                    </a:moveTo>
                    <a:cubicBezTo>
                      <a:pt x="135379" y="450215"/>
                      <a:pt x="134744" y="450215"/>
                      <a:pt x="140459" y="465455"/>
                    </a:cubicBezTo>
                    <a:cubicBezTo>
                      <a:pt x="146809" y="453390"/>
                      <a:pt x="145539" y="443230"/>
                      <a:pt x="139189" y="43116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80" name="Google Shape;465;p8">
                <a:extLst>
                  <a:ext uri="{FF2B5EF4-FFF2-40B4-BE49-F238E27FC236}">
                    <a16:creationId xmlns:a16="http://schemas.microsoft.com/office/drawing/2014/main" id="{64B367B7-53BB-4289-B50D-91C9FF246B1B}"/>
                  </a:ext>
                </a:extLst>
              </p:cNvPr>
              <p:cNvSpPr/>
              <p:nvPr/>
            </p:nvSpPr>
            <p:spPr>
              <a:xfrm>
                <a:off x="1151008" y="1222803"/>
                <a:ext cx="35003" cy="68520"/>
              </a:xfrm>
              <a:custGeom>
                <a:avLst/>
                <a:gdLst/>
                <a:ahLst/>
                <a:cxnLst/>
                <a:rect l="l" t="t" r="r" b="b"/>
                <a:pathLst>
                  <a:path w="40701" h="79674" extrusionOk="0">
                    <a:moveTo>
                      <a:pt x="38100" y="79674"/>
                    </a:moveTo>
                    <a:cubicBezTo>
                      <a:pt x="20320" y="56179"/>
                      <a:pt x="8255" y="30144"/>
                      <a:pt x="0" y="2840"/>
                    </a:cubicBezTo>
                    <a:cubicBezTo>
                      <a:pt x="24130" y="-16210"/>
                      <a:pt x="48895" y="66340"/>
                      <a:pt x="38100" y="79674"/>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48" name="Google Shape;466;p8">
              <a:extLst>
                <a:ext uri="{FF2B5EF4-FFF2-40B4-BE49-F238E27FC236}">
                  <a16:creationId xmlns:a16="http://schemas.microsoft.com/office/drawing/2014/main" id="{EC57255E-87C7-4556-8BE2-C05624E2AF57}"/>
                </a:ext>
              </a:extLst>
            </p:cNvPr>
            <p:cNvSpPr/>
            <p:nvPr/>
          </p:nvSpPr>
          <p:spPr>
            <a:xfrm rot="-1100489">
              <a:off x="8420309" y="672386"/>
              <a:ext cx="223722" cy="226855"/>
            </a:xfrm>
            <a:custGeom>
              <a:avLst/>
              <a:gdLst/>
              <a:ahLst/>
              <a:cxnLst/>
              <a:rect l="l" t="t" r="r" b="b"/>
              <a:pathLst>
                <a:path w="461644" h="468109" extrusionOk="0">
                  <a:moveTo>
                    <a:pt x="313055" y="28998"/>
                  </a:moveTo>
                  <a:cubicBezTo>
                    <a:pt x="261620" y="-13547"/>
                    <a:pt x="187960" y="-4022"/>
                    <a:pt x="131445" y="23918"/>
                  </a:cubicBezTo>
                  <a:cubicBezTo>
                    <a:pt x="158750" y="209973"/>
                    <a:pt x="74295" y="277918"/>
                    <a:pt x="0" y="435398"/>
                  </a:cubicBezTo>
                  <a:cubicBezTo>
                    <a:pt x="26670" y="495088"/>
                    <a:pt x="107314" y="453178"/>
                    <a:pt x="158750" y="461433"/>
                  </a:cubicBezTo>
                  <a:cubicBezTo>
                    <a:pt x="257810" y="439208"/>
                    <a:pt x="367664" y="470323"/>
                    <a:pt x="461645" y="435398"/>
                  </a:cubicBezTo>
                  <a:cubicBezTo>
                    <a:pt x="369570" y="280458"/>
                    <a:pt x="297814" y="222038"/>
                    <a:pt x="313055" y="28998"/>
                  </a:cubicBezTo>
                  <a:close/>
                  <a:moveTo>
                    <a:pt x="270510" y="39158"/>
                  </a:moveTo>
                  <a:cubicBezTo>
                    <a:pt x="237489" y="54398"/>
                    <a:pt x="205105" y="51858"/>
                    <a:pt x="172085" y="38523"/>
                  </a:cubicBezTo>
                  <a:cubicBezTo>
                    <a:pt x="197485" y="14393"/>
                    <a:pt x="243205" y="16933"/>
                    <a:pt x="270510" y="39158"/>
                  </a:cubicBezTo>
                  <a:close/>
                  <a:moveTo>
                    <a:pt x="160655" y="63923"/>
                  </a:moveTo>
                  <a:cubicBezTo>
                    <a:pt x="203835" y="69638"/>
                    <a:pt x="242570" y="70273"/>
                    <a:pt x="287020" y="64558"/>
                  </a:cubicBezTo>
                  <a:cubicBezTo>
                    <a:pt x="301625" y="119803"/>
                    <a:pt x="283845" y="182033"/>
                    <a:pt x="306070" y="232833"/>
                  </a:cubicBezTo>
                  <a:cubicBezTo>
                    <a:pt x="314325" y="244898"/>
                    <a:pt x="330835" y="258868"/>
                    <a:pt x="321310" y="274743"/>
                  </a:cubicBezTo>
                  <a:cubicBezTo>
                    <a:pt x="258445" y="376978"/>
                    <a:pt x="194310" y="273473"/>
                    <a:pt x="116839" y="281728"/>
                  </a:cubicBezTo>
                  <a:cubicBezTo>
                    <a:pt x="172085" y="168063"/>
                    <a:pt x="155575" y="180763"/>
                    <a:pt x="160655" y="63923"/>
                  </a:cubicBezTo>
                  <a:close/>
                  <a:moveTo>
                    <a:pt x="350520" y="430318"/>
                  </a:moveTo>
                  <a:cubicBezTo>
                    <a:pt x="243839" y="425238"/>
                    <a:pt x="137795" y="444923"/>
                    <a:pt x="31750" y="441113"/>
                  </a:cubicBezTo>
                  <a:cubicBezTo>
                    <a:pt x="123189" y="141393"/>
                    <a:pt x="212089" y="450003"/>
                    <a:pt x="340360" y="284903"/>
                  </a:cubicBezTo>
                  <a:cubicBezTo>
                    <a:pt x="373380" y="329353"/>
                    <a:pt x="400685" y="368088"/>
                    <a:pt x="425450" y="415713"/>
                  </a:cubicBezTo>
                  <a:cubicBezTo>
                    <a:pt x="418464" y="425238"/>
                    <a:pt x="368935" y="431588"/>
                    <a:pt x="350520" y="430318"/>
                  </a:cubicBezTo>
                  <a:close/>
                  <a:moveTo>
                    <a:pt x="275589" y="413173"/>
                  </a:moveTo>
                  <a:cubicBezTo>
                    <a:pt x="280670" y="396663"/>
                    <a:pt x="275589" y="382058"/>
                    <a:pt x="274320" y="363643"/>
                  </a:cubicBezTo>
                  <a:cubicBezTo>
                    <a:pt x="203200" y="347768"/>
                    <a:pt x="209550" y="449368"/>
                    <a:pt x="275589" y="413173"/>
                  </a:cubicBezTo>
                  <a:close/>
                  <a:moveTo>
                    <a:pt x="250189" y="403648"/>
                  </a:moveTo>
                  <a:cubicBezTo>
                    <a:pt x="236855" y="403013"/>
                    <a:pt x="242570" y="390313"/>
                    <a:pt x="252095" y="387773"/>
                  </a:cubicBezTo>
                  <a:cubicBezTo>
                    <a:pt x="264160" y="389678"/>
                    <a:pt x="259714" y="403013"/>
                    <a:pt x="250189" y="403648"/>
                  </a:cubicBezTo>
                  <a:close/>
                  <a:moveTo>
                    <a:pt x="160020" y="336338"/>
                  </a:moveTo>
                  <a:cubicBezTo>
                    <a:pt x="121920" y="334433"/>
                    <a:pt x="120014" y="387138"/>
                    <a:pt x="158750" y="385233"/>
                  </a:cubicBezTo>
                  <a:cubicBezTo>
                    <a:pt x="191770" y="387773"/>
                    <a:pt x="194310" y="335703"/>
                    <a:pt x="160020" y="336338"/>
                  </a:cubicBezTo>
                  <a:close/>
                  <a:moveTo>
                    <a:pt x="153035" y="363008"/>
                  </a:moveTo>
                  <a:cubicBezTo>
                    <a:pt x="160020" y="361103"/>
                    <a:pt x="163830" y="354118"/>
                    <a:pt x="167639" y="365548"/>
                  </a:cubicBezTo>
                  <a:cubicBezTo>
                    <a:pt x="161289" y="366183"/>
                    <a:pt x="155575" y="370628"/>
                    <a:pt x="153035" y="363008"/>
                  </a:cubicBezTo>
                  <a:close/>
                  <a:moveTo>
                    <a:pt x="235585" y="262678"/>
                  </a:moveTo>
                  <a:cubicBezTo>
                    <a:pt x="268605" y="265218"/>
                    <a:pt x="281305" y="215053"/>
                    <a:pt x="240030" y="211243"/>
                  </a:cubicBezTo>
                  <a:cubicBezTo>
                    <a:pt x="203200" y="206798"/>
                    <a:pt x="203835" y="257598"/>
                    <a:pt x="235585" y="262678"/>
                  </a:cubicBezTo>
                  <a:close/>
                  <a:moveTo>
                    <a:pt x="248285" y="235373"/>
                  </a:moveTo>
                  <a:cubicBezTo>
                    <a:pt x="242570" y="240453"/>
                    <a:pt x="237489" y="246803"/>
                    <a:pt x="232410" y="238548"/>
                  </a:cubicBezTo>
                  <a:cubicBezTo>
                    <a:pt x="231139" y="228388"/>
                    <a:pt x="240664" y="230293"/>
                    <a:pt x="248285" y="235373"/>
                  </a:cubicBezTo>
                  <a:close/>
                  <a:moveTo>
                    <a:pt x="224155" y="133138"/>
                  </a:moveTo>
                  <a:cubicBezTo>
                    <a:pt x="224789" y="115993"/>
                    <a:pt x="196214" y="108373"/>
                    <a:pt x="193675" y="129328"/>
                  </a:cubicBezTo>
                  <a:cubicBezTo>
                    <a:pt x="190500" y="154093"/>
                    <a:pt x="222250" y="155998"/>
                    <a:pt x="224155" y="13313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9" name="Google Shape;467;p8">
              <a:extLst>
                <a:ext uri="{FF2B5EF4-FFF2-40B4-BE49-F238E27FC236}">
                  <a16:creationId xmlns:a16="http://schemas.microsoft.com/office/drawing/2014/main" id="{9AB3571A-F25B-4186-9988-1508F146CCA9}"/>
                </a:ext>
              </a:extLst>
            </p:cNvPr>
            <p:cNvSpPr/>
            <p:nvPr/>
          </p:nvSpPr>
          <p:spPr>
            <a:xfrm>
              <a:off x="3572521" y="981550"/>
              <a:ext cx="255529" cy="288428"/>
            </a:xfrm>
            <a:custGeom>
              <a:avLst/>
              <a:gdLst/>
              <a:ahLst/>
              <a:cxnLst/>
              <a:rect l="l" t="t" r="r" b="b"/>
              <a:pathLst>
                <a:path w="526864" h="594697" extrusionOk="0">
                  <a:moveTo>
                    <a:pt x="476936" y="348155"/>
                  </a:moveTo>
                  <a:cubicBezTo>
                    <a:pt x="414706" y="390065"/>
                    <a:pt x="352476" y="373555"/>
                    <a:pt x="427406" y="306880"/>
                  </a:cubicBezTo>
                  <a:cubicBezTo>
                    <a:pt x="588696" y="206550"/>
                    <a:pt x="435661" y="-15065"/>
                    <a:pt x="280086" y="810"/>
                  </a:cubicBezTo>
                  <a:cubicBezTo>
                    <a:pt x="137211" y="13510"/>
                    <a:pt x="14656" y="153845"/>
                    <a:pt x="51" y="293545"/>
                  </a:cubicBezTo>
                  <a:cubicBezTo>
                    <a:pt x="-3759" y="510080"/>
                    <a:pt x="205791" y="675815"/>
                    <a:pt x="402641" y="552625"/>
                  </a:cubicBezTo>
                  <a:cubicBezTo>
                    <a:pt x="461061" y="528495"/>
                    <a:pt x="601396" y="353870"/>
                    <a:pt x="476936" y="348155"/>
                  </a:cubicBezTo>
                  <a:close/>
                  <a:moveTo>
                    <a:pt x="205156" y="568500"/>
                  </a:moveTo>
                  <a:cubicBezTo>
                    <a:pt x="39421" y="529765"/>
                    <a:pt x="-27254" y="296085"/>
                    <a:pt x="67996" y="162735"/>
                  </a:cubicBezTo>
                  <a:cubicBezTo>
                    <a:pt x="139116" y="53515"/>
                    <a:pt x="294691" y="-44275"/>
                    <a:pt x="410896" y="59865"/>
                  </a:cubicBezTo>
                  <a:cubicBezTo>
                    <a:pt x="457251" y="97965"/>
                    <a:pt x="501066" y="170990"/>
                    <a:pt x="469316" y="230045"/>
                  </a:cubicBezTo>
                  <a:cubicBezTo>
                    <a:pt x="447726" y="280845"/>
                    <a:pt x="340411" y="315135"/>
                    <a:pt x="379146" y="376095"/>
                  </a:cubicBezTo>
                  <a:cubicBezTo>
                    <a:pt x="412801" y="414830"/>
                    <a:pt x="457886" y="371650"/>
                    <a:pt x="497256" y="369745"/>
                  </a:cubicBezTo>
                  <a:cubicBezTo>
                    <a:pt x="507416" y="503095"/>
                    <a:pt x="323901" y="594535"/>
                    <a:pt x="205156" y="568500"/>
                  </a:cubicBezTo>
                  <a:close/>
                  <a:moveTo>
                    <a:pt x="132766" y="332915"/>
                  </a:moveTo>
                  <a:cubicBezTo>
                    <a:pt x="154991" y="341805"/>
                    <a:pt x="200076" y="333550"/>
                    <a:pt x="181026" y="301165"/>
                  </a:cubicBezTo>
                  <a:cubicBezTo>
                    <a:pt x="172136" y="286560"/>
                    <a:pt x="167691" y="270050"/>
                    <a:pt x="172771" y="252270"/>
                  </a:cubicBezTo>
                  <a:cubicBezTo>
                    <a:pt x="176581" y="210995"/>
                    <a:pt x="122606" y="217345"/>
                    <a:pt x="95936" y="212900"/>
                  </a:cubicBezTo>
                  <a:cubicBezTo>
                    <a:pt x="30531" y="204645"/>
                    <a:pt x="20371" y="327200"/>
                    <a:pt x="76886" y="346885"/>
                  </a:cubicBezTo>
                  <a:cubicBezTo>
                    <a:pt x="96571" y="336090"/>
                    <a:pt x="109906" y="322755"/>
                    <a:pt x="132766" y="332915"/>
                  </a:cubicBezTo>
                  <a:close/>
                  <a:moveTo>
                    <a:pt x="283261" y="118920"/>
                  </a:moveTo>
                  <a:cubicBezTo>
                    <a:pt x="299771" y="35735"/>
                    <a:pt x="146101" y="25575"/>
                    <a:pt x="179756" y="118920"/>
                  </a:cubicBezTo>
                  <a:cubicBezTo>
                    <a:pt x="116256" y="200835"/>
                    <a:pt x="250241" y="230045"/>
                    <a:pt x="283261" y="118920"/>
                  </a:cubicBezTo>
                  <a:close/>
                  <a:moveTo>
                    <a:pt x="263576" y="96695"/>
                  </a:moveTo>
                  <a:cubicBezTo>
                    <a:pt x="261671" y="99870"/>
                    <a:pt x="260401" y="101775"/>
                    <a:pt x="259766" y="103045"/>
                  </a:cubicBezTo>
                  <a:cubicBezTo>
                    <a:pt x="249606" y="96060"/>
                    <a:pt x="253416" y="87170"/>
                    <a:pt x="263576" y="96695"/>
                  </a:cubicBezTo>
                  <a:close/>
                  <a:moveTo>
                    <a:pt x="229286" y="144320"/>
                  </a:moveTo>
                  <a:cubicBezTo>
                    <a:pt x="232461" y="131620"/>
                    <a:pt x="239446" y="126540"/>
                    <a:pt x="255321" y="121460"/>
                  </a:cubicBezTo>
                  <a:cubicBezTo>
                    <a:pt x="248336" y="136065"/>
                    <a:pt x="245161" y="146225"/>
                    <a:pt x="229286" y="144320"/>
                  </a:cubicBezTo>
                  <a:close/>
                  <a:moveTo>
                    <a:pt x="201346" y="404035"/>
                  </a:moveTo>
                  <a:cubicBezTo>
                    <a:pt x="199441" y="358315"/>
                    <a:pt x="131496" y="364030"/>
                    <a:pt x="106731" y="386890"/>
                  </a:cubicBezTo>
                  <a:cubicBezTo>
                    <a:pt x="81331" y="451660"/>
                    <a:pt x="128956" y="520240"/>
                    <a:pt x="190551" y="461185"/>
                  </a:cubicBezTo>
                  <a:cubicBezTo>
                    <a:pt x="208966" y="445945"/>
                    <a:pt x="200076" y="424355"/>
                    <a:pt x="201346" y="404035"/>
                  </a:cubicBezTo>
                  <a:close/>
                  <a:moveTo>
                    <a:pt x="424866" y="139875"/>
                  </a:moveTo>
                  <a:cubicBezTo>
                    <a:pt x="413436" y="53515"/>
                    <a:pt x="334696" y="68120"/>
                    <a:pt x="334061" y="151305"/>
                  </a:cubicBezTo>
                  <a:cubicBezTo>
                    <a:pt x="334061" y="216075"/>
                    <a:pt x="445821" y="205915"/>
                    <a:pt x="424866" y="139875"/>
                  </a:cubicBezTo>
                  <a:close/>
                  <a:moveTo>
                    <a:pt x="259131" y="467535"/>
                  </a:moveTo>
                  <a:cubicBezTo>
                    <a:pt x="194361" y="477060"/>
                    <a:pt x="205156" y="565960"/>
                    <a:pt x="274371" y="560880"/>
                  </a:cubicBezTo>
                  <a:cubicBezTo>
                    <a:pt x="332791" y="531035"/>
                    <a:pt x="342316" y="461185"/>
                    <a:pt x="259131" y="467535"/>
                  </a:cubicBezTo>
                  <a:close/>
                  <a:moveTo>
                    <a:pt x="410261" y="407210"/>
                  </a:moveTo>
                  <a:cubicBezTo>
                    <a:pt x="370891" y="406575"/>
                    <a:pt x="327711" y="466265"/>
                    <a:pt x="364541" y="497380"/>
                  </a:cubicBezTo>
                  <a:cubicBezTo>
                    <a:pt x="418516" y="538655"/>
                    <a:pt x="504876" y="406575"/>
                    <a:pt x="410261" y="407210"/>
                  </a:cubicBezTo>
                  <a:close/>
                  <a:moveTo>
                    <a:pt x="390576" y="483410"/>
                  </a:moveTo>
                  <a:cubicBezTo>
                    <a:pt x="351206" y="484680"/>
                    <a:pt x="389306" y="425625"/>
                    <a:pt x="413436" y="428165"/>
                  </a:cubicBezTo>
                  <a:cubicBezTo>
                    <a:pt x="455346" y="434515"/>
                    <a:pt x="410261" y="476425"/>
                    <a:pt x="390576" y="4834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0" name="Google Shape;468;p8">
              <a:extLst>
                <a:ext uri="{FF2B5EF4-FFF2-40B4-BE49-F238E27FC236}">
                  <a16:creationId xmlns:a16="http://schemas.microsoft.com/office/drawing/2014/main" id="{118C1E74-9D45-4239-A520-38BDDCBA530E}"/>
                </a:ext>
              </a:extLst>
            </p:cNvPr>
            <p:cNvSpPr/>
            <p:nvPr/>
          </p:nvSpPr>
          <p:spPr>
            <a:xfrm rot="1800079">
              <a:off x="8229930" y="1002016"/>
              <a:ext cx="198020" cy="248076"/>
            </a:xfrm>
            <a:custGeom>
              <a:avLst/>
              <a:gdLst/>
              <a:ahLst/>
              <a:cxnLst/>
              <a:rect l="l" t="t" r="r" b="b"/>
              <a:pathLst>
                <a:path w="408305" h="511517" extrusionOk="0">
                  <a:moveTo>
                    <a:pt x="89536" y="14843"/>
                  </a:moveTo>
                  <a:cubicBezTo>
                    <a:pt x="68580" y="20558"/>
                    <a:pt x="76200" y="45323"/>
                    <a:pt x="70486" y="61198"/>
                  </a:cubicBezTo>
                  <a:cubicBezTo>
                    <a:pt x="48261" y="207248"/>
                    <a:pt x="12700" y="352663"/>
                    <a:pt x="0" y="499348"/>
                  </a:cubicBezTo>
                  <a:cubicBezTo>
                    <a:pt x="80011" y="540623"/>
                    <a:pt x="333375" y="470138"/>
                    <a:pt x="377190" y="389493"/>
                  </a:cubicBezTo>
                  <a:cubicBezTo>
                    <a:pt x="321945" y="291068"/>
                    <a:pt x="245111" y="207248"/>
                    <a:pt x="178436" y="117078"/>
                  </a:cubicBezTo>
                  <a:cubicBezTo>
                    <a:pt x="146050" y="88503"/>
                    <a:pt x="130811" y="26273"/>
                    <a:pt x="89536" y="14843"/>
                  </a:cubicBezTo>
                  <a:close/>
                  <a:moveTo>
                    <a:pt x="344805" y="390763"/>
                  </a:moveTo>
                  <a:cubicBezTo>
                    <a:pt x="313055" y="461248"/>
                    <a:pt x="111761" y="499348"/>
                    <a:pt x="36830" y="494268"/>
                  </a:cubicBezTo>
                  <a:cubicBezTo>
                    <a:pt x="33655" y="423148"/>
                    <a:pt x="287655" y="318373"/>
                    <a:pt x="344805" y="390763"/>
                  </a:cubicBezTo>
                  <a:close/>
                  <a:moveTo>
                    <a:pt x="184150" y="362188"/>
                  </a:moveTo>
                  <a:cubicBezTo>
                    <a:pt x="176530" y="351393"/>
                    <a:pt x="170180" y="341868"/>
                    <a:pt x="161290" y="329803"/>
                  </a:cubicBezTo>
                  <a:cubicBezTo>
                    <a:pt x="150495" y="343773"/>
                    <a:pt x="154305" y="353933"/>
                    <a:pt x="156211" y="369808"/>
                  </a:cubicBezTo>
                  <a:cubicBezTo>
                    <a:pt x="114300" y="394573"/>
                    <a:pt x="70486" y="415528"/>
                    <a:pt x="33655" y="447913"/>
                  </a:cubicBezTo>
                  <a:cubicBezTo>
                    <a:pt x="18415" y="439023"/>
                    <a:pt x="32386" y="417433"/>
                    <a:pt x="31750" y="403463"/>
                  </a:cubicBezTo>
                  <a:cubicBezTo>
                    <a:pt x="55880" y="288528"/>
                    <a:pt x="65405" y="170418"/>
                    <a:pt x="95886" y="57388"/>
                  </a:cubicBezTo>
                  <a:cubicBezTo>
                    <a:pt x="111125" y="52308"/>
                    <a:pt x="112395" y="68183"/>
                    <a:pt x="118111" y="78978"/>
                  </a:cubicBezTo>
                  <a:cubicBezTo>
                    <a:pt x="111761" y="80883"/>
                    <a:pt x="104775" y="82153"/>
                    <a:pt x="97155" y="84693"/>
                  </a:cubicBezTo>
                  <a:cubicBezTo>
                    <a:pt x="99695" y="98663"/>
                    <a:pt x="100330" y="123428"/>
                    <a:pt x="120015" y="112633"/>
                  </a:cubicBezTo>
                  <a:cubicBezTo>
                    <a:pt x="121286" y="104378"/>
                    <a:pt x="123190" y="96123"/>
                    <a:pt x="124461" y="87233"/>
                  </a:cubicBezTo>
                  <a:cubicBezTo>
                    <a:pt x="189230" y="173593"/>
                    <a:pt x="263525" y="252968"/>
                    <a:pt x="317500" y="346948"/>
                  </a:cubicBezTo>
                  <a:cubicBezTo>
                    <a:pt x="271780" y="346313"/>
                    <a:pt x="229870" y="353933"/>
                    <a:pt x="184150" y="362188"/>
                  </a:cubicBezTo>
                  <a:close/>
                  <a:moveTo>
                    <a:pt x="326390" y="268208"/>
                  </a:moveTo>
                  <a:cubicBezTo>
                    <a:pt x="326390" y="285988"/>
                    <a:pt x="349250" y="302498"/>
                    <a:pt x="354330" y="321548"/>
                  </a:cubicBezTo>
                  <a:cubicBezTo>
                    <a:pt x="360680" y="330438"/>
                    <a:pt x="370205" y="339328"/>
                    <a:pt x="382270" y="330438"/>
                  </a:cubicBezTo>
                  <a:cubicBezTo>
                    <a:pt x="373380" y="307578"/>
                    <a:pt x="350520" y="297418"/>
                    <a:pt x="344805" y="272018"/>
                  </a:cubicBezTo>
                  <a:cubicBezTo>
                    <a:pt x="341630" y="264398"/>
                    <a:pt x="332740" y="265033"/>
                    <a:pt x="326390" y="268208"/>
                  </a:cubicBezTo>
                  <a:close/>
                  <a:moveTo>
                    <a:pt x="160020" y="26908"/>
                  </a:moveTo>
                  <a:cubicBezTo>
                    <a:pt x="147320" y="1508"/>
                    <a:pt x="137161" y="-8652"/>
                    <a:pt x="119380" y="8493"/>
                  </a:cubicBezTo>
                  <a:cubicBezTo>
                    <a:pt x="132715" y="18653"/>
                    <a:pt x="144145" y="46593"/>
                    <a:pt x="160020" y="26908"/>
                  </a:cubicBezTo>
                  <a:close/>
                  <a:moveTo>
                    <a:pt x="280670" y="188198"/>
                  </a:moveTo>
                  <a:cubicBezTo>
                    <a:pt x="285115" y="164068"/>
                    <a:pt x="281305" y="158353"/>
                    <a:pt x="252730" y="155813"/>
                  </a:cubicBezTo>
                  <a:cubicBezTo>
                    <a:pt x="259080" y="172323"/>
                    <a:pt x="266700" y="182483"/>
                    <a:pt x="280670" y="188198"/>
                  </a:cubicBezTo>
                  <a:close/>
                  <a:moveTo>
                    <a:pt x="245111" y="131683"/>
                  </a:moveTo>
                  <a:cubicBezTo>
                    <a:pt x="254636" y="116443"/>
                    <a:pt x="235586" y="105648"/>
                    <a:pt x="218440" y="110093"/>
                  </a:cubicBezTo>
                  <a:cubicBezTo>
                    <a:pt x="226061" y="126603"/>
                    <a:pt x="231775" y="138033"/>
                    <a:pt x="245111" y="131683"/>
                  </a:cubicBezTo>
                  <a:close/>
                  <a:moveTo>
                    <a:pt x="290830" y="209788"/>
                  </a:moveTo>
                  <a:cubicBezTo>
                    <a:pt x="284480" y="219313"/>
                    <a:pt x="295275" y="227568"/>
                    <a:pt x="300990" y="234553"/>
                  </a:cubicBezTo>
                  <a:cubicBezTo>
                    <a:pt x="328295" y="239633"/>
                    <a:pt x="310515" y="205343"/>
                    <a:pt x="290830" y="209788"/>
                  </a:cubicBezTo>
                  <a:close/>
                  <a:moveTo>
                    <a:pt x="202565" y="76438"/>
                  </a:moveTo>
                  <a:cubicBezTo>
                    <a:pt x="202565" y="63103"/>
                    <a:pt x="183515" y="56118"/>
                    <a:pt x="176530" y="65643"/>
                  </a:cubicBezTo>
                  <a:cubicBezTo>
                    <a:pt x="174625" y="77708"/>
                    <a:pt x="193040" y="87233"/>
                    <a:pt x="202565" y="76438"/>
                  </a:cubicBezTo>
                  <a:close/>
                  <a:moveTo>
                    <a:pt x="389890" y="366633"/>
                  </a:moveTo>
                  <a:cubicBezTo>
                    <a:pt x="393700" y="375523"/>
                    <a:pt x="399415" y="371078"/>
                    <a:pt x="408305" y="366633"/>
                  </a:cubicBezTo>
                  <a:cubicBezTo>
                    <a:pt x="398145" y="357743"/>
                    <a:pt x="395605" y="355838"/>
                    <a:pt x="389890" y="366633"/>
                  </a:cubicBezTo>
                  <a:close/>
                  <a:moveTo>
                    <a:pt x="119380" y="157718"/>
                  </a:moveTo>
                  <a:cubicBezTo>
                    <a:pt x="102870" y="164703"/>
                    <a:pt x="128905" y="203438"/>
                    <a:pt x="139700" y="179308"/>
                  </a:cubicBezTo>
                  <a:cubicBezTo>
                    <a:pt x="134620" y="170418"/>
                    <a:pt x="132715" y="155178"/>
                    <a:pt x="119380" y="157718"/>
                  </a:cubicBezTo>
                  <a:close/>
                  <a:moveTo>
                    <a:pt x="146686" y="244078"/>
                  </a:moveTo>
                  <a:cubicBezTo>
                    <a:pt x="157480" y="238998"/>
                    <a:pt x="151130" y="216773"/>
                    <a:pt x="139700" y="214868"/>
                  </a:cubicBezTo>
                  <a:cubicBezTo>
                    <a:pt x="126365" y="219313"/>
                    <a:pt x="131445" y="247888"/>
                    <a:pt x="146686" y="244078"/>
                  </a:cubicBezTo>
                  <a:close/>
                  <a:moveTo>
                    <a:pt x="142875" y="287258"/>
                  </a:moveTo>
                  <a:cubicBezTo>
                    <a:pt x="142875" y="305673"/>
                    <a:pt x="164465" y="305673"/>
                    <a:pt x="163195" y="289798"/>
                  </a:cubicBezTo>
                  <a:cubicBezTo>
                    <a:pt x="161290" y="275828"/>
                    <a:pt x="147320" y="277098"/>
                    <a:pt x="142875" y="287258"/>
                  </a:cubicBezTo>
                  <a:close/>
                  <a:moveTo>
                    <a:pt x="172086" y="402193"/>
                  </a:moveTo>
                  <a:cubicBezTo>
                    <a:pt x="160655" y="407908"/>
                    <a:pt x="168911" y="423783"/>
                    <a:pt x="180975" y="426323"/>
                  </a:cubicBezTo>
                  <a:cubicBezTo>
                    <a:pt x="191136" y="415528"/>
                    <a:pt x="185420" y="402193"/>
                    <a:pt x="172086" y="402193"/>
                  </a:cubicBezTo>
                  <a:close/>
                  <a:moveTo>
                    <a:pt x="187961" y="447913"/>
                  </a:moveTo>
                  <a:cubicBezTo>
                    <a:pt x="184786" y="451088"/>
                    <a:pt x="182245" y="453628"/>
                    <a:pt x="180340" y="456168"/>
                  </a:cubicBezTo>
                  <a:cubicBezTo>
                    <a:pt x="187961" y="468868"/>
                    <a:pt x="201930" y="458073"/>
                    <a:pt x="187961" y="44791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1" name="Google Shape;469;p8">
              <a:extLst>
                <a:ext uri="{FF2B5EF4-FFF2-40B4-BE49-F238E27FC236}">
                  <a16:creationId xmlns:a16="http://schemas.microsoft.com/office/drawing/2014/main" id="{F3866FC9-0889-46C9-945D-6BBDC3E4B886}"/>
                </a:ext>
              </a:extLst>
            </p:cNvPr>
            <p:cNvSpPr/>
            <p:nvPr/>
          </p:nvSpPr>
          <p:spPr>
            <a:xfrm>
              <a:off x="3943429" y="927518"/>
              <a:ext cx="163399" cy="257295"/>
            </a:xfrm>
            <a:custGeom>
              <a:avLst/>
              <a:gdLst/>
              <a:ahLst/>
              <a:cxnLst/>
              <a:rect l="l" t="t" r="r" b="b"/>
              <a:pathLst>
                <a:path w="336906" h="530506" extrusionOk="0">
                  <a:moveTo>
                    <a:pt x="136525" y="96168"/>
                  </a:moveTo>
                  <a:cubicBezTo>
                    <a:pt x="113030" y="223803"/>
                    <a:pt x="24130" y="329848"/>
                    <a:pt x="0" y="458118"/>
                  </a:cubicBezTo>
                  <a:cubicBezTo>
                    <a:pt x="60960" y="713388"/>
                    <a:pt x="264795" y="217453"/>
                    <a:pt x="278765" y="141253"/>
                  </a:cubicBezTo>
                  <a:cubicBezTo>
                    <a:pt x="291465" y="75213"/>
                    <a:pt x="152400" y="18698"/>
                    <a:pt x="136525" y="96168"/>
                  </a:cubicBezTo>
                  <a:close/>
                  <a:moveTo>
                    <a:pt x="69850" y="504473"/>
                  </a:moveTo>
                  <a:cubicBezTo>
                    <a:pt x="-16510" y="531778"/>
                    <a:pt x="43815" y="378743"/>
                    <a:pt x="63500" y="342548"/>
                  </a:cubicBezTo>
                  <a:cubicBezTo>
                    <a:pt x="111760" y="336833"/>
                    <a:pt x="138430" y="339373"/>
                    <a:pt x="164465" y="352073"/>
                  </a:cubicBezTo>
                  <a:cubicBezTo>
                    <a:pt x="137795" y="404778"/>
                    <a:pt x="107315" y="458753"/>
                    <a:pt x="69850" y="504473"/>
                  </a:cubicBezTo>
                  <a:close/>
                  <a:moveTo>
                    <a:pt x="182245" y="318418"/>
                  </a:moveTo>
                  <a:cubicBezTo>
                    <a:pt x="149860" y="327308"/>
                    <a:pt x="116205" y="321593"/>
                    <a:pt x="80645" y="319053"/>
                  </a:cubicBezTo>
                  <a:cubicBezTo>
                    <a:pt x="100330" y="253013"/>
                    <a:pt x="133350" y="192053"/>
                    <a:pt x="159385" y="127918"/>
                  </a:cubicBezTo>
                  <a:cubicBezTo>
                    <a:pt x="189230" y="139348"/>
                    <a:pt x="217170" y="150143"/>
                    <a:pt x="245110" y="161573"/>
                  </a:cubicBezTo>
                  <a:cubicBezTo>
                    <a:pt x="244475" y="190148"/>
                    <a:pt x="216535" y="259998"/>
                    <a:pt x="182245" y="318418"/>
                  </a:cubicBezTo>
                  <a:close/>
                  <a:moveTo>
                    <a:pt x="248285" y="134268"/>
                  </a:moveTo>
                  <a:cubicBezTo>
                    <a:pt x="222885" y="140618"/>
                    <a:pt x="121920" y="93628"/>
                    <a:pt x="187960" y="80928"/>
                  </a:cubicBezTo>
                  <a:cubicBezTo>
                    <a:pt x="208915" y="83468"/>
                    <a:pt x="281940" y="105693"/>
                    <a:pt x="248285" y="134268"/>
                  </a:cubicBezTo>
                  <a:close/>
                  <a:moveTo>
                    <a:pt x="295275" y="283"/>
                  </a:moveTo>
                  <a:cubicBezTo>
                    <a:pt x="224155" y="-6067"/>
                    <a:pt x="259715" y="96803"/>
                    <a:pt x="311785" y="73308"/>
                  </a:cubicBezTo>
                  <a:cubicBezTo>
                    <a:pt x="353695" y="53623"/>
                    <a:pt x="339725" y="-1622"/>
                    <a:pt x="295275" y="283"/>
                  </a:cubicBezTo>
                  <a:close/>
                  <a:moveTo>
                    <a:pt x="274320" y="30763"/>
                  </a:moveTo>
                  <a:cubicBezTo>
                    <a:pt x="290830" y="26318"/>
                    <a:pt x="303530" y="14253"/>
                    <a:pt x="317500" y="26318"/>
                  </a:cubicBezTo>
                  <a:cubicBezTo>
                    <a:pt x="329565" y="56163"/>
                    <a:pt x="273685" y="75848"/>
                    <a:pt x="274320" y="30763"/>
                  </a:cubicBezTo>
                  <a:close/>
                  <a:moveTo>
                    <a:pt x="210820" y="187608"/>
                  </a:moveTo>
                  <a:cubicBezTo>
                    <a:pt x="212090" y="151413"/>
                    <a:pt x="158115" y="146333"/>
                    <a:pt x="156210" y="186338"/>
                  </a:cubicBezTo>
                  <a:cubicBezTo>
                    <a:pt x="155575" y="216183"/>
                    <a:pt x="209550" y="217453"/>
                    <a:pt x="210820" y="187608"/>
                  </a:cubicBezTo>
                  <a:close/>
                  <a:moveTo>
                    <a:pt x="187960" y="180623"/>
                  </a:moveTo>
                  <a:cubicBezTo>
                    <a:pt x="193040" y="185068"/>
                    <a:pt x="189230" y="186973"/>
                    <a:pt x="186055" y="190783"/>
                  </a:cubicBezTo>
                  <a:cubicBezTo>
                    <a:pt x="179705" y="185068"/>
                    <a:pt x="183515" y="184433"/>
                    <a:pt x="187960" y="180623"/>
                  </a:cubicBezTo>
                  <a:close/>
                  <a:moveTo>
                    <a:pt x="167005" y="229518"/>
                  </a:moveTo>
                  <a:cubicBezTo>
                    <a:pt x="139700" y="230153"/>
                    <a:pt x="128270" y="275873"/>
                    <a:pt x="164465" y="276508"/>
                  </a:cubicBezTo>
                  <a:cubicBezTo>
                    <a:pt x="196215" y="277143"/>
                    <a:pt x="193675" y="232058"/>
                    <a:pt x="167005" y="22951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2" name="Google Shape;470;p8">
              <a:extLst>
                <a:ext uri="{FF2B5EF4-FFF2-40B4-BE49-F238E27FC236}">
                  <a16:creationId xmlns:a16="http://schemas.microsoft.com/office/drawing/2014/main" id="{9AA6CF04-0BC9-479A-91B1-32631F197678}"/>
                </a:ext>
              </a:extLst>
            </p:cNvPr>
            <p:cNvSpPr/>
            <p:nvPr/>
          </p:nvSpPr>
          <p:spPr>
            <a:xfrm>
              <a:off x="4038156" y="505004"/>
              <a:ext cx="340006" cy="361563"/>
            </a:xfrm>
            <a:custGeom>
              <a:avLst/>
              <a:gdLst/>
              <a:ahLst/>
              <a:cxnLst/>
              <a:rect l="l" t="t" r="r" b="b"/>
              <a:pathLst>
                <a:path w="701044" h="745490" extrusionOk="0">
                  <a:moveTo>
                    <a:pt x="690343" y="116840"/>
                  </a:moveTo>
                  <a:cubicBezTo>
                    <a:pt x="663037" y="55245"/>
                    <a:pt x="674468" y="90170"/>
                    <a:pt x="624302" y="72390"/>
                  </a:cubicBezTo>
                  <a:cubicBezTo>
                    <a:pt x="483968" y="55880"/>
                    <a:pt x="352522" y="0"/>
                    <a:pt x="209647" y="0"/>
                  </a:cubicBezTo>
                  <a:cubicBezTo>
                    <a:pt x="-38003" y="735330"/>
                    <a:pt x="-186592" y="579120"/>
                    <a:pt x="475712" y="745490"/>
                  </a:cubicBezTo>
                  <a:cubicBezTo>
                    <a:pt x="548102" y="622935"/>
                    <a:pt x="579218" y="475615"/>
                    <a:pt x="631922" y="342900"/>
                  </a:cubicBezTo>
                  <a:cubicBezTo>
                    <a:pt x="640812" y="299720"/>
                    <a:pt x="731618" y="134620"/>
                    <a:pt x="690343" y="116840"/>
                  </a:cubicBezTo>
                  <a:close/>
                  <a:moveTo>
                    <a:pt x="219172" y="41275"/>
                  </a:moveTo>
                  <a:cubicBezTo>
                    <a:pt x="230602" y="-11430"/>
                    <a:pt x="585568" y="92075"/>
                    <a:pt x="641447" y="107950"/>
                  </a:cubicBezTo>
                  <a:cubicBezTo>
                    <a:pt x="585568" y="295910"/>
                    <a:pt x="517622" y="479425"/>
                    <a:pt x="438247" y="658495"/>
                  </a:cubicBezTo>
                  <a:cubicBezTo>
                    <a:pt x="294102" y="639445"/>
                    <a:pt x="169643" y="583565"/>
                    <a:pt x="30577" y="553085"/>
                  </a:cubicBezTo>
                  <a:cubicBezTo>
                    <a:pt x="79472" y="377190"/>
                    <a:pt x="160118" y="213995"/>
                    <a:pt x="219172" y="41275"/>
                  </a:cubicBezTo>
                  <a:close/>
                  <a:moveTo>
                    <a:pt x="612872" y="333375"/>
                  </a:moveTo>
                  <a:cubicBezTo>
                    <a:pt x="569058" y="462280"/>
                    <a:pt x="518893" y="588010"/>
                    <a:pt x="469997" y="715645"/>
                  </a:cubicBezTo>
                  <a:cubicBezTo>
                    <a:pt x="320772" y="690245"/>
                    <a:pt x="174087" y="657860"/>
                    <a:pt x="30577" y="610235"/>
                  </a:cubicBezTo>
                  <a:cubicBezTo>
                    <a:pt x="24227" y="600710"/>
                    <a:pt x="22958" y="591820"/>
                    <a:pt x="30577" y="581660"/>
                  </a:cubicBezTo>
                  <a:cubicBezTo>
                    <a:pt x="151227" y="589915"/>
                    <a:pt x="265527" y="648335"/>
                    <a:pt x="384272" y="674370"/>
                  </a:cubicBezTo>
                  <a:cubicBezTo>
                    <a:pt x="461108" y="708025"/>
                    <a:pt x="464283" y="661035"/>
                    <a:pt x="487143" y="600710"/>
                  </a:cubicBezTo>
                  <a:cubicBezTo>
                    <a:pt x="563343" y="445770"/>
                    <a:pt x="599537" y="280035"/>
                    <a:pt x="664943" y="121920"/>
                  </a:cubicBezTo>
                  <a:cubicBezTo>
                    <a:pt x="691612" y="187960"/>
                    <a:pt x="622397" y="264795"/>
                    <a:pt x="612872" y="333375"/>
                  </a:cubicBezTo>
                  <a:close/>
                  <a:moveTo>
                    <a:pt x="533497" y="298450"/>
                  </a:moveTo>
                  <a:cubicBezTo>
                    <a:pt x="540483" y="255270"/>
                    <a:pt x="596362" y="196850"/>
                    <a:pt x="565883" y="157480"/>
                  </a:cubicBezTo>
                  <a:cubicBezTo>
                    <a:pt x="503018" y="130810"/>
                    <a:pt x="431262" y="120650"/>
                    <a:pt x="363952" y="105410"/>
                  </a:cubicBezTo>
                  <a:cubicBezTo>
                    <a:pt x="329662" y="93980"/>
                    <a:pt x="291562" y="78105"/>
                    <a:pt x="254733" y="90805"/>
                  </a:cubicBezTo>
                  <a:cubicBezTo>
                    <a:pt x="231872" y="146685"/>
                    <a:pt x="221712" y="208280"/>
                    <a:pt x="191233" y="264160"/>
                  </a:cubicBezTo>
                  <a:cubicBezTo>
                    <a:pt x="285847" y="318135"/>
                    <a:pt x="410308" y="321310"/>
                    <a:pt x="511908" y="368300"/>
                  </a:cubicBezTo>
                  <a:cubicBezTo>
                    <a:pt x="534768" y="354965"/>
                    <a:pt x="522702" y="320040"/>
                    <a:pt x="533497" y="298450"/>
                  </a:cubicBezTo>
                  <a:close/>
                  <a:moveTo>
                    <a:pt x="224252" y="257175"/>
                  </a:moveTo>
                  <a:cubicBezTo>
                    <a:pt x="268702" y="73025"/>
                    <a:pt x="257272" y="105410"/>
                    <a:pt x="427452" y="140335"/>
                  </a:cubicBezTo>
                  <a:cubicBezTo>
                    <a:pt x="619222" y="183515"/>
                    <a:pt x="536037" y="178435"/>
                    <a:pt x="504287" y="334010"/>
                  </a:cubicBezTo>
                  <a:cubicBezTo>
                    <a:pt x="408402" y="320040"/>
                    <a:pt x="312518" y="288290"/>
                    <a:pt x="224252" y="257175"/>
                  </a:cubicBezTo>
                  <a:close/>
                  <a:moveTo>
                    <a:pt x="297912" y="153670"/>
                  </a:moveTo>
                  <a:cubicBezTo>
                    <a:pt x="239493" y="175260"/>
                    <a:pt x="427452" y="197485"/>
                    <a:pt x="442693" y="207645"/>
                  </a:cubicBezTo>
                  <a:cubicBezTo>
                    <a:pt x="456662" y="171450"/>
                    <a:pt x="325218" y="168275"/>
                    <a:pt x="297912" y="153670"/>
                  </a:cubicBezTo>
                  <a:close/>
                  <a:moveTo>
                    <a:pt x="280768" y="226060"/>
                  </a:moveTo>
                  <a:cubicBezTo>
                    <a:pt x="305533" y="227965"/>
                    <a:pt x="325852" y="247650"/>
                    <a:pt x="348077" y="226695"/>
                  </a:cubicBezTo>
                  <a:cubicBezTo>
                    <a:pt x="327122" y="221615"/>
                    <a:pt x="259812" y="190500"/>
                    <a:pt x="280768" y="22606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3" name="Google Shape;471;p8">
              <a:extLst>
                <a:ext uri="{FF2B5EF4-FFF2-40B4-BE49-F238E27FC236}">
                  <a16:creationId xmlns:a16="http://schemas.microsoft.com/office/drawing/2014/main" id="{93B36B87-C362-49B2-AE33-DF3A69BF6FEC}"/>
                </a:ext>
              </a:extLst>
            </p:cNvPr>
            <p:cNvSpPr/>
            <p:nvPr/>
          </p:nvSpPr>
          <p:spPr>
            <a:xfrm>
              <a:off x="2854633" y="688547"/>
              <a:ext cx="416637" cy="259709"/>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4" name="Google Shape;472;p8">
              <a:extLst>
                <a:ext uri="{FF2B5EF4-FFF2-40B4-BE49-F238E27FC236}">
                  <a16:creationId xmlns:a16="http://schemas.microsoft.com/office/drawing/2014/main" id="{5232E626-21DC-46E2-8546-B3EC4B93DEB3}"/>
                </a:ext>
              </a:extLst>
            </p:cNvPr>
            <p:cNvSpPr/>
            <p:nvPr/>
          </p:nvSpPr>
          <p:spPr>
            <a:xfrm rot="-1252057">
              <a:off x="6497159" y="534061"/>
              <a:ext cx="204722" cy="302187"/>
            </a:xfrm>
            <a:custGeom>
              <a:avLst/>
              <a:gdLst/>
              <a:ahLst/>
              <a:cxnLst/>
              <a:rect l="l" t="t" r="r" b="b"/>
              <a:pathLst>
                <a:path w="422747" h="624012" extrusionOk="0">
                  <a:moveTo>
                    <a:pt x="410845" y="259621"/>
                  </a:moveTo>
                  <a:cubicBezTo>
                    <a:pt x="398145" y="183421"/>
                    <a:pt x="422275" y="81821"/>
                    <a:pt x="377825" y="18321"/>
                  </a:cubicBezTo>
                  <a:cubicBezTo>
                    <a:pt x="294640" y="-22319"/>
                    <a:pt x="191770" y="15781"/>
                    <a:pt x="103505" y="26576"/>
                  </a:cubicBezTo>
                  <a:cubicBezTo>
                    <a:pt x="76836" y="36101"/>
                    <a:pt x="38100" y="32291"/>
                    <a:pt x="17780" y="51976"/>
                  </a:cubicBezTo>
                  <a:cubicBezTo>
                    <a:pt x="17145" y="62771"/>
                    <a:pt x="5715" y="62771"/>
                    <a:pt x="0" y="72931"/>
                  </a:cubicBezTo>
                  <a:cubicBezTo>
                    <a:pt x="19686" y="229776"/>
                    <a:pt x="7620" y="389161"/>
                    <a:pt x="13970" y="547276"/>
                  </a:cubicBezTo>
                  <a:cubicBezTo>
                    <a:pt x="-6350" y="657766"/>
                    <a:pt x="162561" y="615856"/>
                    <a:pt x="227330" y="617761"/>
                  </a:cubicBezTo>
                  <a:cubicBezTo>
                    <a:pt x="270511" y="592361"/>
                    <a:pt x="426086" y="628556"/>
                    <a:pt x="422275" y="570771"/>
                  </a:cubicBezTo>
                  <a:cubicBezTo>
                    <a:pt x="424815" y="467266"/>
                    <a:pt x="416561" y="363126"/>
                    <a:pt x="410845" y="259621"/>
                  </a:cubicBezTo>
                  <a:close/>
                  <a:moveTo>
                    <a:pt x="353061" y="579026"/>
                  </a:moveTo>
                  <a:cubicBezTo>
                    <a:pt x="288925" y="577121"/>
                    <a:pt x="60961" y="637446"/>
                    <a:pt x="38736" y="575851"/>
                  </a:cubicBezTo>
                  <a:cubicBezTo>
                    <a:pt x="143511" y="579026"/>
                    <a:pt x="248286" y="572676"/>
                    <a:pt x="353061" y="574581"/>
                  </a:cubicBezTo>
                  <a:cubicBezTo>
                    <a:pt x="353061" y="575851"/>
                    <a:pt x="353061" y="577121"/>
                    <a:pt x="353061" y="579026"/>
                  </a:cubicBezTo>
                  <a:close/>
                  <a:moveTo>
                    <a:pt x="361315" y="547911"/>
                  </a:moveTo>
                  <a:cubicBezTo>
                    <a:pt x="252095" y="555531"/>
                    <a:pt x="144145" y="561881"/>
                    <a:pt x="35561" y="551086"/>
                  </a:cubicBezTo>
                  <a:cubicBezTo>
                    <a:pt x="39370" y="392971"/>
                    <a:pt x="33020" y="236761"/>
                    <a:pt x="27305" y="79281"/>
                  </a:cubicBezTo>
                  <a:cubicBezTo>
                    <a:pt x="112395" y="27846"/>
                    <a:pt x="231775" y="25941"/>
                    <a:pt x="329565" y="25941"/>
                  </a:cubicBezTo>
                  <a:cubicBezTo>
                    <a:pt x="369570" y="197391"/>
                    <a:pt x="365761" y="373286"/>
                    <a:pt x="361315" y="547911"/>
                  </a:cubicBezTo>
                  <a:close/>
                  <a:moveTo>
                    <a:pt x="377190" y="141511"/>
                  </a:moveTo>
                  <a:cubicBezTo>
                    <a:pt x="360045" y="110396"/>
                    <a:pt x="364490" y="76106"/>
                    <a:pt x="356870" y="41816"/>
                  </a:cubicBezTo>
                  <a:cubicBezTo>
                    <a:pt x="381000" y="13241"/>
                    <a:pt x="381000" y="121826"/>
                    <a:pt x="377190" y="141511"/>
                  </a:cubicBezTo>
                  <a:close/>
                  <a:moveTo>
                    <a:pt x="397511" y="544736"/>
                  </a:moveTo>
                  <a:cubicBezTo>
                    <a:pt x="372745" y="497746"/>
                    <a:pt x="394336" y="431071"/>
                    <a:pt x="387350" y="376461"/>
                  </a:cubicBezTo>
                  <a:cubicBezTo>
                    <a:pt x="401955" y="370746"/>
                    <a:pt x="402590" y="530766"/>
                    <a:pt x="397511" y="544736"/>
                  </a:cubicBezTo>
                  <a:close/>
                  <a:moveTo>
                    <a:pt x="302895" y="182786"/>
                  </a:moveTo>
                  <a:cubicBezTo>
                    <a:pt x="313690" y="183421"/>
                    <a:pt x="331470" y="173896"/>
                    <a:pt x="320675" y="162466"/>
                  </a:cubicBezTo>
                  <a:cubicBezTo>
                    <a:pt x="297180" y="138336"/>
                    <a:pt x="309880" y="104046"/>
                    <a:pt x="300355" y="74836"/>
                  </a:cubicBezTo>
                  <a:cubicBezTo>
                    <a:pt x="307340" y="35466"/>
                    <a:pt x="90170" y="76741"/>
                    <a:pt x="59690" y="81821"/>
                  </a:cubicBezTo>
                  <a:cubicBezTo>
                    <a:pt x="48261" y="119921"/>
                    <a:pt x="77470" y="152941"/>
                    <a:pt x="62865" y="194851"/>
                  </a:cubicBezTo>
                  <a:cubicBezTo>
                    <a:pt x="148590" y="206916"/>
                    <a:pt x="211455" y="177071"/>
                    <a:pt x="302895" y="182786"/>
                  </a:cubicBezTo>
                  <a:close/>
                  <a:moveTo>
                    <a:pt x="282575" y="83091"/>
                  </a:moveTo>
                  <a:cubicBezTo>
                    <a:pt x="292100" y="105316"/>
                    <a:pt x="287655" y="127541"/>
                    <a:pt x="290830" y="149131"/>
                  </a:cubicBezTo>
                  <a:cubicBezTo>
                    <a:pt x="227965" y="172626"/>
                    <a:pt x="154940" y="172626"/>
                    <a:pt x="87630" y="174531"/>
                  </a:cubicBezTo>
                  <a:cubicBezTo>
                    <a:pt x="75565" y="151671"/>
                    <a:pt x="83820" y="128176"/>
                    <a:pt x="72390" y="104046"/>
                  </a:cubicBezTo>
                  <a:cubicBezTo>
                    <a:pt x="140970" y="86266"/>
                    <a:pt x="212725" y="81821"/>
                    <a:pt x="282575" y="83091"/>
                  </a:cubicBezTo>
                  <a:close/>
                  <a:moveTo>
                    <a:pt x="274955" y="383446"/>
                  </a:moveTo>
                  <a:cubicBezTo>
                    <a:pt x="257811" y="411386"/>
                    <a:pt x="281305" y="441866"/>
                    <a:pt x="268605" y="477426"/>
                  </a:cubicBezTo>
                  <a:cubicBezTo>
                    <a:pt x="244475" y="452026"/>
                    <a:pt x="215900" y="479331"/>
                    <a:pt x="189865" y="461551"/>
                  </a:cubicBezTo>
                  <a:cubicBezTo>
                    <a:pt x="175261" y="454566"/>
                    <a:pt x="163195" y="458376"/>
                    <a:pt x="153036" y="471076"/>
                  </a:cubicBezTo>
                  <a:cubicBezTo>
                    <a:pt x="159386" y="509176"/>
                    <a:pt x="156845" y="525686"/>
                    <a:pt x="204470" y="518066"/>
                  </a:cubicBezTo>
                  <a:cubicBezTo>
                    <a:pt x="208280" y="509811"/>
                    <a:pt x="212725" y="500921"/>
                    <a:pt x="218440" y="490761"/>
                  </a:cubicBezTo>
                  <a:cubicBezTo>
                    <a:pt x="223520" y="501556"/>
                    <a:pt x="227330" y="510446"/>
                    <a:pt x="232411" y="521241"/>
                  </a:cubicBezTo>
                  <a:cubicBezTo>
                    <a:pt x="243840" y="517431"/>
                    <a:pt x="253365" y="513621"/>
                    <a:pt x="263525" y="510446"/>
                  </a:cubicBezTo>
                  <a:cubicBezTo>
                    <a:pt x="290195" y="526321"/>
                    <a:pt x="290195" y="526321"/>
                    <a:pt x="328295" y="509811"/>
                  </a:cubicBezTo>
                  <a:cubicBezTo>
                    <a:pt x="327661" y="468536"/>
                    <a:pt x="347345" y="349791"/>
                    <a:pt x="274955" y="383446"/>
                  </a:cubicBezTo>
                  <a:close/>
                  <a:moveTo>
                    <a:pt x="193040" y="500921"/>
                  </a:moveTo>
                  <a:cubicBezTo>
                    <a:pt x="177800" y="500921"/>
                    <a:pt x="173990" y="498381"/>
                    <a:pt x="173355" y="489491"/>
                  </a:cubicBezTo>
                  <a:cubicBezTo>
                    <a:pt x="176530" y="469806"/>
                    <a:pt x="203836" y="475521"/>
                    <a:pt x="193040" y="500921"/>
                  </a:cubicBezTo>
                  <a:close/>
                  <a:moveTo>
                    <a:pt x="309245" y="497111"/>
                  </a:moveTo>
                  <a:cubicBezTo>
                    <a:pt x="302261" y="498381"/>
                    <a:pt x="296545" y="499016"/>
                    <a:pt x="290830" y="499651"/>
                  </a:cubicBezTo>
                  <a:cubicBezTo>
                    <a:pt x="267970" y="379636"/>
                    <a:pt x="323215" y="357411"/>
                    <a:pt x="309245" y="497111"/>
                  </a:cubicBezTo>
                  <a:close/>
                  <a:moveTo>
                    <a:pt x="296545" y="210091"/>
                  </a:moveTo>
                  <a:cubicBezTo>
                    <a:pt x="233680" y="208186"/>
                    <a:pt x="267970" y="301531"/>
                    <a:pt x="319405" y="275496"/>
                  </a:cubicBezTo>
                  <a:cubicBezTo>
                    <a:pt x="336550" y="264066"/>
                    <a:pt x="332740" y="203741"/>
                    <a:pt x="296545" y="210091"/>
                  </a:cubicBezTo>
                  <a:close/>
                  <a:moveTo>
                    <a:pt x="297815" y="259621"/>
                  </a:moveTo>
                  <a:cubicBezTo>
                    <a:pt x="281940" y="260891"/>
                    <a:pt x="273050" y="230411"/>
                    <a:pt x="294640" y="229141"/>
                  </a:cubicBezTo>
                  <a:cubicBezTo>
                    <a:pt x="314961" y="225331"/>
                    <a:pt x="313690" y="259621"/>
                    <a:pt x="297815" y="259621"/>
                  </a:cubicBezTo>
                  <a:close/>
                  <a:moveTo>
                    <a:pt x="244475" y="359316"/>
                  </a:moveTo>
                  <a:cubicBezTo>
                    <a:pt x="244475" y="342171"/>
                    <a:pt x="245111" y="327566"/>
                    <a:pt x="244475" y="312961"/>
                  </a:cubicBezTo>
                  <a:cubicBezTo>
                    <a:pt x="243205" y="288196"/>
                    <a:pt x="198120" y="286926"/>
                    <a:pt x="201930" y="315501"/>
                  </a:cubicBezTo>
                  <a:cubicBezTo>
                    <a:pt x="203836" y="344076"/>
                    <a:pt x="207645" y="372651"/>
                    <a:pt x="244475" y="359316"/>
                  </a:cubicBezTo>
                  <a:close/>
                  <a:moveTo>
                    <a:pt x="89536" y="305976"/>
                  </a:moveTo>
                  <a:cubicBezTo>
                    <a:pt x="83186" y="326296"/>
                    <a:pt x="95886" y="344711"/>
                    <a:pt x="95250" y="365666"/>
                  </a:cubicBezTo>
                  <a:cubicBezTo>
                    <a:pt x="164465" y="385986"/>
                    <a:pt x="142240" y="276131"/>
                    <a:pt x="89536" y="305976"/>
                  </a:cubicBezTo>
                  <a:close/>
                  <a:moveTo>
                    <a:pt x="111125" y="321851"/>
                  </a:moveTo>
                  <a:cubicBezTo>
                    <a:pt x="123190" y="324391"/>
                    <a:pt x="117475" y="335186"/>
                    <a:pt x="118745" y="345346"/>
                  </a:cubicBezTo>
                  <a:cubicBezTo>
                    <a:pt x="105411" y="341536"/>
                    <a:pt x="100965" y="326931"/>
                    <a:pt x="111125" y="321851"/>
                  </a:cubicBezTo>
                  <a:close/>
                  <a:moveTo>
                    <a:pt x="136525" y="446946"/>
                  </a:moveTo>
                  <a:cubicBezTo>
                    <a:pt x="143511" y="375191"/>
                    <a:pt x="60961" y="365031"/>
                    <a:pt x="86995" y="447581"/>
                  </a:cubicBezTo>
                  <a:cubicBezTo>
                    <a:pt x="114300" y="460916"/>
                    <a:pt x="114300" y="460916"/>
                    <a:pt x="136525" y="446946"/>
                  </a:cubicBezTo>
                  <a:close/>
                  <a:moveTo>
                    <a:pt x="100330" y="420911"/>
                  </a:moveTo>
                  <a:cubicBezTo>
                    <a:pt x="104775" y="394876"/>
                    <a:pt x="135255" y="420276"/>
                    <a:pt x="120650" y="436151"/>
                  </a:cubicBezTo>
                  <a:cubicBezTo>
                    <a:pt x="109220" y="446946"/>
                    <a:pt x="99061" y="432976"/>
                    <a:pt x="100330" y="420911"/>
                  </a:cubicBezTo>
                  <a:close/>
                  <a:moveTo>
                    <a:pt x="195580" y="443136"/>
                  </a:moveTo>
                  <a:cubicBezTo>
                    <a:pt x="203200" y="439961"/>
                    <a:pt x="205105" y="432341"/>
                    <a:pt x="201295" y="418371"/>
                  </a:cubicBezTo>
                  <a:cubicBezTo>
                    <a:pt x="196850" y="387891"/>
                    <a:pt x="176530" y="387891"/>
                    <a:pt x="149861" y="392336"/>
                  </a:cubicBezTo>
                  <a:cubicBezTo>
                    <a:pt x="140336" y="422181"/>
                    <a:pt x="160655" y="461551"/>
                    <a:pt x="195580" y="443136"/>
                  </a:cubicBezTo>
                  <a:close/>
                  <a:moveTo>
                    <a:pt x="167640" y="418371"/>
                  </a:moveTo>
                  <a:cubicBezTo>
                    <a:pt x="172086" y="406306"/>
                    <a:pt x="187961" y="408846"/>
                    <a:pt x="187961" y="424086"/>
                  </a:cubicBezTo>
                  <a:cubicBezTo>
                    <a:pt x="182245" y="432341"/>
                    <a:pt x="165736" y="429801"/>
                    <a:pt x="167640" y="418371"/>
                  </a:cubicBezTo>
                  <a:close/>
                  <a:moveTo>
                    <a:pt x="153670" y="298356"/>
                  </a:moveTo>
                  <a:cubicBezTo>
                    <a:pt x="156211" y="323756"/>
                    <a:pt x="149861" y="351696"/>
                    <a:pt x="179705" y="368206"/>
                  </a:cubicBezTo>
                  <a:cubicBezTo>
                    <a:pt x="205105" y="341536"/>
                    <a:pt x="201930" y="284386"/>
                    <a:pt x="153670" y="298356"/>
                  </a:cubicBezTo>
                  <a:close/>
                  <a:moveTo>
                    <a:pt x="281940" y="293276"/>
                  </a:moveTo>
                  <a:cubicBezTo>
                    <a:pt x="253365" y="305341"/>
                    <a:pt x="274955" y="359951"/>
                    <a:pt x="304165" y="356141"/>
                  </a:cubicBezTo>
                  <a:cubicBezTo>
                    <a:pt x="340995" y="335186"/>
                    <a:pt x="321311" y="295181"/>
                    <a:pt x="281940" y="293276"/>
                  </a:cubicBezTo>
                  <a:close/>
                  <a:moveTo>
                    <a:pt x="295911" y="331376"/>
                  </a:moveTo>
                  <a:cubicBezTo>
                    <a:pt x="282575" y="330741"/>
                    <a:pt x="287020" y="317406"/>
                    <a:pt x="297180" y="311691"/>
                  </a:cubicBezTo>
                  <a:cubicBezTo>
                    <a:pt x="304800" y="321216"/>
                    <a:pt x="306070" y="326931"/>
                    <a:pt x="295911" y="331376"/>
                  </a:cubicBezTo>
                  <a:close/>
                  <a:moveTo>
                    <a:pt x="123825" y="282481"/>
                  </a:moveTo>
                  <a:cubicBezTo>
                    <a:pt x="137795" y="226601"/>
                    <a:pt x="78740" y="200566"/>
                    <a:pt x="79375" y="252001"/>
                  </a:cubicBezTo>
                  <a:cubicBezTo>
                    <a:pt x="79375" y="279306"/>
                    <a:pt x="96520" y="290101"/>
                    <a:pt x="123825" y="282481"/>
                  </a:cubicBezTo>
                  <a:close/>
                  <a:moveTo>
                    <a:pt x="98425" y="248826"/>
                  </a:moveTo>
                  <a:cubicBezTo>
                    <a:pt x="99695" y="250096"/>
                    <a:pt x="100330" y="251366"/>
                    <a:pt x="101600" y="252636"/>
                  </a:cubicBezTo>
                  <a:cubicBezTo>
                    <a:pt x="100330" y="253906"/>
                    <a:pt x="99061" y="254541"/>
                    <a:pt x="97155" y="255811"/>
                  </a:cubicBezTo>
                  <a:cubicBezTo>
                    <a:pt x="94615" y="252636"/>
                    <a:pt x="97155" y="250731"/>
                    <a:pt x="98425" y="248826"/>
                  </a:cubicBezTo>
                  <a:close/>
                  <a:moveTo>
                    <a:pt x="92075" y="494571"/>
                  </a:moveTo>
                  <a:cubicBezTo>
                    <a:pt x="85090" y="528861"/>
                    <a:pt x="130811" y="542831"/>
                    <a:pt x="140336" y="509176"/>
                  </a:cubicBezTo>
                  <a:cubicBezTo>
                    <a:pt x="157480" y="470441"/>
                    <a:pt x="92075" y="442501"/>
                    <a:pt x="92075" y="494571"/>
                  </a:cubicBezTo>
                  <a:close/>
                  <a:moveTo>
                    <a:pt x="120650" y="509176"/>
                  </a:moveTo>
                  <a:cubicBezTo>
                    <a:pt x="103505" y="511081"/>
                    <a:pt x="111125" y="487586"/>
                    <a:pt x="123190" y="483141"/>
                  </a:cubicBezTo>
                  <a:cubicBezTo>
                    <a:pt x="133986" y="490126"/>
                    <a:pt x="130811" y="503461"/>
                    <a:pt x="120650" y="509176"/>
                  </a:cubicBezTo>
                  <a:close/>
                  <a:moveTo>
                    <a:pt x="202565" y="236126"/>
                  </a:moveTo>
                  <a:cubicBezTo>
                    <a:pt x="179070" y="285656"/>
                    <a:pt x="231140" y="297721"/>
                    <a:pt x="239395" y="257716"/>
                  </a:cubicBezTo>
                  <a:cubicBezTo>
                    <a:pt x="245111" y="238666"/>
                    <a:pt x="234315" y="207551"/>
                    <a:pt x="211455" y="216441"/>
                  </a:cubicBezTo>
                  <a:cubicBezTo>
                    <a:pt x="207011" y="231046"/>
                    <a:pt x="232411" y="231046"/>
                    <a:pt x="218440" y="250731"/>
                  </a:cubicBezTo>
                  <a:cubicBezTo>
                    <a:pt x="213995" y="245651"/>
                    <a:pt x="210186" y="242476"/>
                    <a:pt x="202565" y="236126"/>
                  </a:cubicBezTo>
                  <a:close/>
                  <a:moveTo>
                    <a:pt x="168911" y="271686"/>
                  </a:moveTo>
                  <a:cubicBezTo>
                    <a:pt x="217805" y="236126"/>
                    <a:pt x="125730" y="175801"/>
                    <a:pt x="143511" y="248826"/>
                  </a:cubicBezTo>
                  <a:cubicBezTo>
                    <a:pt x="134620" y="267241"/>
                    <a:pt x="151765" y="288831"/>
                    <a:pt x="168911" y="271686"/>
                  </a:cubicBezTo>
                  <a:close/>
                  <a:moveTo>
                    <a:pt x="161925" y="243111"/>
                  </a:moveTo>
                  <a:cubicBezTo>
                    <a:pt x="161290" y="244381"/>
                    <a:pt x="161290" y="245016"/>
                    <a:pt x="160655" y="246921"/>
                  </a:cubicBezTo>
                  <a:cubicBezTo>
                    <a:pt x="159386" y="243746"/>
                    <a:pt x="158750" y="243111"/>
                    <a:pt x="161925" y="243111"/>
                  </a:cubicBezTo>
                  <a:close/>
                  <a:moveTo>
                    <a:pt x="238125" y="450121"/>
                  </a:moveTo>
                  <a:cubicBezTo>
                    <a:pt x="280036" y="441866"/>
                    <a:pt x="257811" y="388526"/>
                    <a:pt x="221615" y="387256"/>
                  </a:cubicBezTo>
                  <a:cubicBezTo>
                    <a:pt x="212725" y="409481"/>
                    <a:pt x="210820" y="448216"/>
                    <a:pt x="238125" y="450121"/>
                  </a:cubicBezTo>
                  <a:close/>
                  <a:moveTo>
                    <a:pt x="241936" y="415831"/>
                  </a:moveTo>
                  <a:cubicBezTo>
                    <a:pt x="243840" y="417736"/>
                    <a:pt x="245745" y="419641"/>
                    <a:pt x="248920" y="422816"/>
                  </a:cubicBezTo>
                  <a:cubicBezTo>
                    <a:pt x="245111" y="425991"/>
                    <a:pt x="241936" y="427896"/>
                    <a:pt x="239395" y="429801"/>
                  </a:cubicBezTo>
                  <a:cubicBezTo>
                    <a:pt x="235586" y="424086"/>
                    <a:pt x="235586" y="420276"/>
                    <a:pt x="241936" y="415831"/>
                  </a:cubicBezTo>
                  <a:close/>
                  <a:moveTo>
                    <a:pt x="272415" y="107856"/>
                  </a:moveTo>
                  <a:cubicBezTo>
                    <a:pt x="263525" y="83091"/>
                    <a:pt x="234315" y="98966"/>
                    <a:pt x="234950" y="120556"/>
                  </a:cubicBezTo>
                  <a:cubicBezTo>
                    <a:pt x="233045" y="161196"/>
                    <a:pt x="292736" y="142781"/>
                    <a:pt x="272415" y="10785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5" name="Google Shape;473;p8">
              <a:extLst>
                <a:ext uri="{FF2B5EF4-FFF2-40B4-BE49-F238E27FC236}">
                  <a16:creationId xmlns:a16="http://schemas.microsoft.com/office/drawing/2014/main" id="{37DFD3D7-1C45-4C53-9D97-B5748054A699}"/>
                </a:ext>
              </a:extLst>
            </p:cNvPr>
            <p:cNvSpPr/>
            <p:nvPr/>
          </p:nvSpPr>
          <p:spPr>
            <a:xfrm>
              <a:off x="2537776" y="539860"/>
              <a:ext cx="230803" cy="290180"/>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6" name="Google Shape;474;p8">
              <a:extLst>
                <a:ext uri="{FF2B5EF4-FFF2-40B4-BE49-F238E27FC236}">
                  <a16:creationId xmlns:a16="http://schemas.microsoft.com/office/drawing/2014/main" id="{C499AB88-10B4-445A-9C25-81CF10E12D3F}"/>
                </a:ext>
              </a:extLst>
            </p:cNvPr>
            <p:cNvSpPr/>
            <p:nvPr/>
          </p:nvSpPr>
          <p:spPr>
            <a:xfrm>
              <a:off x="5713194" y="743996"/>
              <a:ext cx="256984" cy="244039"/>
            </a:xfrm>
            <a:custGeom>
              <a:avLst/>
              <a:gdLst/>
              <a:ahLst/>
              <a:cxnLst/>
              <a:rect l="l" t="t" r="r" b="b"/>
              <a:pathLst>
                <a:path w="529863" h="503173" extrusionOk="0">
                  <a:moveTo>
                    <a:pt x="284791" y="7"/>
                  </a:moveTo>
                  <a:cubicBezTo>
                    <a:pt x="128581" y="-1263"/>
                    <a:pt x="-16834" y="165107"/>
                    <a:pt x="1581" y="320047"/>
                  </a:cubicBezTo>
                  <a:cubicBezTo>
                    <a:pt x="39046" y="421647"/>
                    <a:pt x="142551" y="523247"/>
                    <a:pt x="258756" y="499752"/>
                  </a:cubicBezTo>
                  <a:cubicBezTo>
                    <a:pt x="592766" y="480702"/>
                    <a:pt x="637216" y="23502"/>
                    <a:pt x="284791" y="7"/>
                  </a:cubicBezTo>
                  <a:close/>
                  <a:moveTo>
                    <a:pt x="19996" y="279407"/>
                  </a:moveTo>
                  <a:cubicBezTo>
                    <a:pt x="54921" y="-23488"/>
                    <a:pt x="481641" y="-98418"/>
                    <a:pt x="510216" y="240037"/>
                  </a:cubicBezTo>
                  <a:cubicBezTo>
                    <a:pt x="498786" y="520707"/>
                    <a:pt x="47936" y="583572"/>
                    <a:pt x="19996" y="279407"/>
                  </a:cubicBezTo>
                  <a:close/>
                  <a:moveTo>
                    <a:pt x="420681" y="98432"/>
                  </a:moveTo>
                  <a:cubicBezTo>
                    <a:pt x="381311" y="71127"/>
                    <a:pt x="348926" y="18422"/>
                    <a:pt x="295586" y="25407"/>
                  </a:cubicBezTo>
                  <a:cubicBezTo>
                    <a:pt x="53651" y="36837"/>
                    <a:pt x="-66364" y="403867"/>
                    <a:pt x="216211" y="458477"/>
                  </a:cubicBezTo>
                  <a:cubicBezTo>
                    <a:pt x="395916" y="493402"/>
                    <a:pt x="611181" y="219082"/>
                    <a:pt x="420681" y="98432"/>
                  </a:cubicBezTo>
                  <a:close/>
                  <a:moveTo>
                    <a:pt x="448621" y="292742"/>
                  </a:moveTo>
                  <a:cubicBezTo>
                    <a:pt x="448621" y="321952"/>
                    <a:pt x="428301" y="340367"/>
                    <a:pt x="413061" y="361957"/>
                  </a:cubicBezTo>
                  <a:cubicBezTo>
                    <a:pt x="404171" y="358782"/>
                    <a:pt x="396551" y="356242"/>
                    <a:pt x="385756" y="353067"/>
                  </a:cubicBezTo>
                  <a:cubicBezTo>
                    <a:pt x="387026" y="363227"/>
                    <a:pt x="387661" y="371482"/>
                    <a:pt x="388931" y="381007"/>
                  </a:cubicBezTo>
                  <a:cubicBezTo>
                    <a:pt x="376866" y="389262"/>
                    <a:pt x="363531" y="398152"/>
                    <a:pt x="354006" y="405137"/>
                  </a:cubicBezTo>
                  <a:cubicBezTo>
                    <a:pt x="338131" y="406407"/>
                    <a:pt x="337496" y="387357"/>
                    <a:pt x="321621" y="391167"/>
                  </a:cubicBezTo>
                  <a:cubicBezTo>
                    <a:pt x="324796" y="427362"/>
                    <a:pt x="291776" y="441967"/>
                    <a:pt x="249231" y="436887"/>
                  </a:cubicBezTo>
                  <a:cubicBezTo>
                    <a:pt x="251771" y="392437"/>
                    <a:pt x="220656" y="385452"/>
                    <a:pt x="220656" y="434982"/>
                  </a:cubicBezTo>
                  <a:cubicBezTo>
                    <a:pt x="184461" y="439427"/>
                    <a:pt x="133661" y="422917"/>
                    <a:pt x="131121" y="384182"/>
                  </a:cubicBezTo>
                  <a:cubicBezTo>
                    <a:pt x="123501" y="374022"/>
                    <a:pt x="104451" y="381007"/>
                    <a:pt x="100641" y="363862"/>
                  </a:cubicBezTo>
                  <a:cubicBezTo>
                    <a:pt x="126676" y="342907"/>
                    <a:pt x="106356" y="340367"/>
                    <a:pt x="84131" y="337192"/>
                  </a:cubicBezTo>
                  <a:cubicBezTo>
                    <a:pt x="71431" y="309887"/>
                    <a:pt x="63176" y="283217"/>
                    <a:pt x="75241" y="253372"/>
                  </a:cubicBezTo>
                  <a:cubicBezTo>
                    <a:pt x="119691" y="255277"/>
                    <a:pt x="140011" y="238132"/>
                    <a:pt x="83496" y="227972"/>
                  </a:cubicBezTo>
                  <a:cubicBezTo>
                    <a:pt x="84131" y="196857"/>
                    <a:pt x="95561" y="172092"/>
                    <a:pt x="115246" y="151137"/>
                  </a:cubicBezTo>
                  <a:cubicBezTo>
                    <a:pt x="136836" y="150502"/>
                    <a:pt x="150171" y="158122"/>
                    <a:pt x="136201" y="127642"/>
                  </a:cubicBezTo>
                  <a:cubicBezTo>
                    <a:pt x="174301" y="55252"/>
                    <a:pt x="207321" y="129547"/>
                    <a:pt x="205416" y="75572"/>
                  </a:cubicBezTo>
                  <a:cubicBezTo>
                    <a:pt x="230181" y="48267"/>
                    <a:pt x="263201" y="50172"/>
                    <a:pt x="297491" y="50172"/>
                  </a:cubicBezTo>
                  <a:cubicBezTo>
                    <a:pt x="295586" y="66682"/>
                    <a:pt x="308921" y="107957"/>
                    <a:pt x="323526" y="78747"/>
                  </a:cubicBezTo>
                  <a:cubicBezTo>
                    <a:pt x="319716" y="17152"/>
                    <a:pt x="382581" y="87637"/>
                    <a:pt x="399726" y="104147"/>
                  </a:cubicBezTo>
                  <a:cubicBezTo>
                    <a:pt x="394646" y="118117"/>
                    <a:pt x="385121" y="125102"/>
                    <a:pt x="399726" y="135262"/>
                  </a:cubicBezTo>
                  <a:cubicBezTo>
                    <a:pt x="409251" y="131452"/>
                    <a:pt x="417506" y="128277"/>
                    <a:pt x="427031" y="124467"/>
                  </a:cubicBezTo>
                  <a:cubicBezTo>
                    <a:pt x="440366" y="138437"/>
                    <a:pt x="451161" y="153042"/>
                    <a:pt x="461956" y="168917"/>
                  </a:cubicBezTo>
                  <a:cubicBezTo>
                    <a:pt x="451796" y="175267"/>
                    <a:pt x="444176" y="179712"/>
                    <a:pt x="436556" y="184157"/>
                  </a:cubicBezTo>
                  <a:cubicBezTo>
                    <a:pt x="444176" y="199397"/>
                    <a:pt x="459416" y="190507"/>
                    <a:pt x="470846" y="199397"/>
                  </a:cubicBezTo>
                  <a:cubicBezTo>
                    <a:pt x="475926" y="240037"/>
                    <a:pt x="467036" y="281947"/>
                    <a:pt x="416871" y="266707"/>
                  </a:cubicBezTo>
                  <a:cubicBezTo>
                    <a:pt x="388931" y="285757"/>
                    <a:pt x="434651" y="288297"/>
                    <a:pt x="448621" y="292742"/>
                  </a:cubicBezTo>
                  <a:close/>
                  <a:moveTo>
                    <a:pt x="304476" y="222892"/>
                  </a:moveTo>
                  <a:cubicBezTo>
                    <a:pt x="320351" y="55887"/>
                    <a:pt x="287966" y="104782"/>
                    <a:pt x="251771" y="225432"/>
                  </a:cubicBezTo>
                  <a:cubicBezTo>
                    <a:pt x="240341" y="251467"/>
                    <a:pt x="258121" y="281312"/>
                    <a:pt x="287966" y="270517"/>
                  </a:cubicBezTo>
                  <a:cubicBezTo>
                    <a:pt x="318446" y="260357"/>
                    <a:pt x="343846" y="239402"/>
                    <a:pt x="374961" y="232417"/>
                  </a:cubicBezTo>
                  <a:cubicBezTo>
                    <a:pt x="383216" y="231147"/>
                    <a:pt x="386391" y="223527"/>
                    <a:pt x="384486" y="215272"/>
                  </a:cubicBezTo>
                  <a:cubicBezTo>
                    <a:pt x="370516" y="186062"/>
                    <a:pt x="329241" y="220987"/>
                    <a:pt x="304476" y="222892"/>
                  </a:cubicBezTo>
                  <a:close/>
                  <a:moveTo>
                    <a:pt x="273996" y="229242"/>
                  </a:moveTo>
                  <a:cubicBezTo>
                    <a:pt x="273996" y="219717"/>
                    <a:pt x="273996" y="209557"/>
                    <a:pt x="282886" y="201937"/>
                  </a:cubicBezTo>
                  <a:cubicBezTo>
                    <a:pt x="282251" y="220352"/>
                    <a:pt x="282251" y="220987"/>
                    <a:pt x="273996" y="22924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7" name="Google Shape;475;p8">
              <a:extLst>
                <a:ext uri="{FF2B5EF4-FFF2-40B4-BE49-F238E27FC236}">
                  <a16:creationId xmlns:a16="http://schemas.microsoft.com/office/drawing/2014/main" id="{7C8C8ACF-A9E7-44F8-B9B2-F986FFE927D4}"/>
                </a:ext>
              </a:extLst>
            </p:cNvPr>
            <p:cNvSpPr/>
            <p:nvPr/>
          </p:nvSpPr>
          <p:spPr>
            <a:xfrm>
              <a:off x="2507283" y="945803"/>
              <a:ext cx="99390" cy="211075"/>
            </a:xfrm>
            <a:custGeom>
              <a:avLst/>
              <a:gdLst/>
              <a:ahLst/>
              <a:cxnLst/>
              <a:rect l="l" t="t" r="r" b="b"/>
              <a:pathLst>
                <a:path w="342723" h="727844" extrusionOk="0">
                  <a:moveTo>
                    <a:pt x="45039" y="381062"/>
                  </a:moveTo>
                  <a:cubicBezTo>
                    <a:pt x="-1317" y="378522"/>
                    <a:pt x="-11476" y="360107"/>
                    <a:pt x="12653" y="325182"/>
                  </a:cubicBezTo>
                  <a:cubicBezTo>
                    <a:pt x="39958" y="272477"/>
                    <a:pt x="46308" y="211517"/>
                    <a:pt x="66628" y="156272"/>
                  </a:cubicBezTo>
                  <a:cubicBezTo>
                    <a:pt x="88853" y="99757"/>
                    <a:pt x="95203" y="15302"/>
                    <a:pt x="167594" y="3237"/>
                  </a:cubicBezTo>
                  <a:cubicBezTo>
                    <a:pt x="221569" y="-5653"/>
                    <a:pt x="288878" y="2602"/>
                    <a:pt x="328249" y="42607"/>
                  </a:cubicBezTo>
                  <a:cubicBezTo>
                    <a:pt x="373333" y="154367"/>
                    <a:pt x="300944" y="280097"/>
                    <a:pt x="276178" y="390587"/>
                  </a:cubicBezTo>
                  <a:cubicBezTo>
                    <a:pt x="243158" y="499807"/>
                    <a:pt x="232999" y="643317"/>
                    <a:pt x="145369" y="722058"/>
                  </a:cubicBezTo>
                  <a:cubicBezTo>
                    <a:pt x="-64181" y="765872"/>
                    <a:pt x="59008" y="549972"/>
                    <a:pt x="74883" y="441387"/>
                  </a:cubicBezTo>
                  <a:cubicBezTo>
                    <a:pt x="96474" y="381062"/>
                    <a:pt x="117428" y="174052"/>
                    <a:pt x="175849" y="160082"/>
                  </a:cubicBezTo>
                  <a:cubicBezTo>
                    <a:pt x="205058" y="153097"/>
                    <a:pt x="234269" y="157542"/>
                    <a:pt x="230458" y="194372"/>
                  </a:cubicBezTo>
                  <a:cubicBezTo>
                    <a:pt x="240619" y="221677"/>
                    <a:pt x="129494" y="694752"/>
                    <a:pt x="133303" y="503617"/>
                  </a:cubicBezTo>
                  <a:cubicBezTo>
                    <a:pt x="150449" y="416622"/>
                    <a:pt x="184103" y="330262"/>
                    <a:pt x="181564" y="240727"/>
                  </a:cubicBezTo>
                  <a:cubicBezTo>
                    <a:pt x="130764" y="306132"/>
                    <a:pt x="137749" y="399477"/>
                    <a:pt x="109174" y="476312"/>
                  </a:cubicBezTo>
                  <a:cubicBezTo>
                    <a:pt x="105999" y="530922"/>
                    <a:pt x="19639" y="685862"/>
                    <a:pt x="116158" y="683957"/>
                  </a:cubicBezTo>
                  <a:cubicBezTo>
                    <a:pt x="208869" y="661732"/>
                    <a:pt x="231094" y="334707"/>
                    <a:pt x="270464" y="240092"/>
                  </a:cubicBezTo>
                  <a:cubicBezTo>
                    <a:pt x="276178" y="187387"/>
                    <a:pt x="298403" y="109917"/>
                    <a:pt x="252683" y="71182"/>
                  </a:cubicBezTo>
                  <a:cubicBezTo>
                    <a:pt x="213314" y="45147"/>
                    <a:pt x="172674" y="52767"/>
                    <a:pt x="144099" y="91502"/>
                  </a:cubicBezTo>
                  <a:cubicBezTo>
                    <a:pt x="95203" y="181037"/>
                    <a:pt x="85678" y="287717"/>
                    <a:pt x="45039" y="381062"/>
                  </a:cubicBezTo>
                  <a:close/>
                  <a:moveTo>
                    <a:pt x="300944" y="198182"/>
                  </a:moveTo>
                  <a:cubicBezTo>
                    <a:pt x="321899" y="177227"/>
                    <a:pt x="309833" y="138492"/>
                    <a:pt x="314914" y="110552"/>
                  </a:cubicBezTo>
                  <a:cubicBezTo>
                    <a:pt x="319358" y="81342"/>
                    <a:pt x="322533" y="48322"/>
                    <a:pt x="288878" y="37527"/>
                  </a:cubicBezTo>
                  <a:cubicBezTo>
                    <a:pt x="246969" y="18477"/>
                    <a:pt x="137749" y="1332"/>
                    <a:pt x="133303" y="62292"/>
                  </a:cubicBezTo>
                  <a:cubicBezTo>
                    <a:pt x="243794" y="-24703"/>
                    <a:pt x="324439" y="87692"/>
                    <a:pt x="300944" y="200722"/>
                  </a:cubicBezTo>
                  <a:cubicBezTo>
                    <a:pt x="300944" y="200087"/>
                    <a:pt x="300944" y="199452"/>
                    <a:pt x="300944" y="198182"/>
                  </a:cubicBezTo>
                  <a:close/>
                  <a:moveTo>
                    <a:pt x="124414" y="705547"/>
                  </a:moveTo>
                  <a:cubicBezTo>
                    <a:pt x="92028" y="697927"/>
                    <a:pt x="73614" y="690942"/>
                    <a:pt x="47578" y="676972"/>
                  </a:cubicBezTo>
                  <a:cubicBezTo>
                    <a:pt x="39958" y="705547"/>
                    <a:pt x="97744" y="711897"/>
                    <a:pt x="124414" y="70554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8" name="Google Shape;476;p8">
              <a:extLst>
                <a:ext uri="{FF2B5EF4-FFF2-40B4-BE49-F238E27FC236}">
                  <a16:creationId xmlns:a16="http://schemas.microsoft.com/office/drawing/2014/main" id="{4666F59F-B50E-438F-83C8-A9A32DA9A0BC}"/>
                </a:ext>
              </a:extLst>
            </p:cNvPr>
            <p:cNvSpPr/>
            <p:nvPr/>
          </p:nvSpPr>
          <p:spPr>
            <a:xfrm>
              <a:off x="8045390" y="829868"/>
              <a:ext cx="135793" cy="114511"/>
            </a:xfrm>
            <a:custGeom>
              <a:avLst/>
              <a:gdLst/>
              <a:ahLst/>
              <a:cxnLst/>
              <a:rect l="l" t="t" r="r" b="b"/>
              <a:pathLst>
                <a:path w="279985" h="236105" extrusionOk="0">
                  <a:moveTo>
                    <a:pt x="224300" y="47511"/>
                  </a:moveTo>
                  <a:cubicBezTo>
                    <a:pt x="226204" y="79261"/>
                    <a:pt x="221125" y="105931"/>
                    <a:pt x="208425" y="131331"/>
                  </a:cubicBezTo>
                  <a:cubicBezTo>
                    <a:pt x="221759" y="154826"/>
                    <a:pt x="285895" y="220866"/>
                    <a:pt x="279545" y="236106"/>
                  </a:cubicBezTo>
                  <a:cubicBezTo>
                    <a:pt x="240175" y="235471"/>
                    <a:pt x="211600" y="195466"/>
                    <a:pt x="177309" y="177686"/>
                  </a:cubicBezTo>
                  <a:cubicBezTo>
                    <a:pt x="143654" y="201816"/>
                    <a:pt x="92220" y="247536"/>
                    <a:pt x="79520" y="180226"/>
                  </a:cubicBezTo>
                  <a:cubicBezTo>
                    <a:pt x="76979" y="116091"/>
                    <a:pt x="-26525" y="129426"/>
                    <a:pt x="6495" y="57671"/>
                  </a:cubicBezTo>
                  <a:cubicBezTo>
                    <a:pt x="60470" y="-73774"/>
                    <a:pt x="91584" y="62116"/>
                    <a:pt x="169054" y="51321"/>
                  </a:cubicBezTo>
                  <a:cubicBezTo>
                    <a:pt x="187470" y="48781"/>
                    <a:pt x="205884" y="39891"/>
                    <a:pt x="224300" y="47511"/>
                  </a:cubicBezTo>
                  <a:close/>
                  <a:moveTo>
                    <a:pt x="217950" y="187211"/>
                  </a:moveTo>
                  <a:cubicBezTo>
                    <a:pt x="218584" y="187211"/>
                    <a:pt x="218584" y="186576"/>
                    <a:pt x="219220" y="186576"/>
                  </a:cubicBezTo>
                  <a:cubicBezTo>
                    <a:pt x="218584" y="186576"/>
                    <a:pt x="217950" y="187211"/>
                    <a:pt x="217315" y="187211"/>
                  </a:cubicBezTo>
                  <a:cubicBezTo>
                    <a:pt x="224300" y="172606"/>
                    <a:pt x="211600" y="156096"/>
                    <a:pt x="196995" y="158636"/>
                  </a:cubicBezTo>
                  <a:cubicBezTo>
                    <a:pt x="196359" y="171336"/>
                    <a:pt x="210329" y="177686"/>
                    <a:pt x="217950" y="187211"/>
                  </a:cubicBezTo>
                  <a:close/>
                  <a:moveTo>
                    <a:pt x="87140" y="47511"/>
                  </a:moveTo>
                  <a:cubicBezTo>
                    <a:pt x="75075" y="65926"/>
                    <a:pt x="63009" y="84341"/>
                    <a:pt x="50945" y="103391"/>
                  </a:cubicBezTo>
                  <a:cubicBezTo>
                    <a:pt x="66820" y="119901"/>
                    <a:pt x="82059" y="135776"/>
                    <a:pt x="96665" y="151016"/>
                  </a:cubicBezTo>
                  <a:cubicBezTo>
                    <a:pt x="125875" y="135776"/>
                    <a:pt x="153815" y="112281"/>
                    <a:pt x="149370" y="78626"/>
                  </a:cubicBezTo>
                  <a:cubicBezTo>
                    <a:pt x="129684" y="69101"/>
                    <a:pt x="110634" y="59576"/>
                    <a:pt x="87140" y="47511"/>
                  </a:cubicBezTo>
                  <a:close/>
                  <a:moveTo>
                    <a:pt x="202075" y="76721"/>
                  </a:moveTo>
                  <a:cubicBezTo>
                    <a:pt x="174770" y="65291"/>
                    <a:pt x="153179" y="156096"/>
                    <a:pt x="103650" y="180861"/>
                  </a:cubicBezTo>
                  <a:cubicBezTo>
                    <a:pt x="118890" y="218961"/>
                    <a:pt x="213504" y="108471"/>
                    <a:pt x="202075" y="76721"/>
                  </a:cubicBezTo>
                  <a:close/>
                  <a:moveTo>
                    <a:pt x="22370" y="86246"/>
                  </a:moveTo>
                  <a:cubicBezTo>
                    <a:pt x="54120" y="77356"/>
                    <a:pt x="60470" y="54496"/>
                    <a:pt x="67454" y="32271"/>
                  </a:cubicBezTo>
                  <a:cubicBezTo>
                    <a:pt x="47134" y="4331"/>
                    <a:pt x="24909" y="63386"/>
                    <a:pt x="22370" y="8624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9" name="Google Shape;477;p8">
              <a:extLst>
                <a:ext uri="{FF2B5EF4-FFF2-40B4-BE49-F238E27FC236}">
                  <a16:creationId xmlns:a16="http://schemas.microsoft.com/office/drawing/2014/main" id="{F03E59D6-68D4-4335-87BD-B6C0185CCA60}"/>
                </a:ext>
              </a:extLst>
            </p:cNvPr>
            <p:cNvSpPr/>
            <p:nvPr/>
          </p:nvSpPr>
          <p:spPr>
            <a:xfrm>
              <a:off x="5019180" y="1018026"/>
              <a:ext cx="99190" cy="98538"/>
            </a:xfrm>
            <a:custGeom>
              <a:avLst/>
              <a:gdLst/>
              <a:ahLst/>
              <a:cxnLst/>
              <a:rect l="l" t="t" r="r" b="b"/>
              <a:pathLst>
                <a:path w="204516" h="203172" extrusionOk="0">
                  <a:moveTo>
                    <a:pt x="139555" y="137768"/>
                  </a:moveTo>
                  <a:cubicBezTo>
                    <a:pt x="146541" y="154278"/>
                    <a:pt x="194166" y="201903"/>
                    <a:pt x="157971" y="203173"/>
                  </a:cubicBezTo>
                  <a:cubicBezTo>
                    <a:pt x="139555" y="186028"/>
                    <a:pt x="135746" y="163168"/>
                    <a:pt x="112250" y="148563"/>
                  </a:cubicBezTo>
                  <a:cubicBezTo>
                    <a:pt x="-110000" y="230478"/>
                    <a:pt x="44941" y="-27967"/>
                    <a:pt x="173210" y="2513"/>
                  </a:cubicBezTo>
                  <a:cubicBezTo>
                    <a:pt x="245600" y="34898"/>
                    <a:pt x="174480" y="104113"/>
                    <a:pt x="139555" y="137768"/>
                  </a:cubicBezTo>
                  <a:close/>
                  <a:moveTo>
                    <a:pt x="184005" y="29183"/>
                  </a:moveTo>
                  <a:cubicBezTo>
                    <a:pt x="117330" y="1243"/>
                    <a:pt x="46846" y="67283"/>
                    <a:pt x="20175" y="123163"/>
                  </a:cubicBezTo>
                  <a:cubicBezTo>
                    <a:pt x="32875" y="190473"/>
                    <a:pt x="196705" y="83158"/>
                    <a:pt x="184005" y="2918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0" name="Google Shape;478;p8">
              <a:extLst>
                <a:ext uri="{FF2B5EF4-FFF2-40B4-BE49-F238E27FC236}">
                  <a16:creationId xmlns:a16="http://schemas.microsoft.com/office/drawing/2014/main" id="{46C7DACC-0742-4122-BBA8-DCB91932CBDA}"/>
                </a:ext>
              </a:extLst>
            </p:cNvPr>
            <p:cNvSpPr/>
            <p:nvPr/>
          </p:nvSpPr>
          <p:spPr>
            <a:xfrm rot="9301126">
              <a:off x="6297718" y="732778"/>
              <a:ext cx="123698" cy="266216"/>
            </a:xfrm>
            <a:custGeom>
              <a:avLst/>
              <a:gdLst/>
              <a:ahLst/>
              <a:cxnLst/>
              <a:rect l="l" t="t" r="r" b="b"/>
              <a:pathLst>
                <a:path w="254831" h="548433" extrusionOk="0">
                  <a:moveTo>
                    <a:pt x="1225" y="243944"/>
                  </a:moveTo>
                  <a:cubicBezTo>
                    <a:pt x="-2584" y="153774"/>
                    <a:pt x="42500" y="76304"/>
                    <a:pt x="97110" y="7724"/>
                  </a:cubicBezTo>
                  <a:cubicBezTo>
                    <a:pt x="171406" y="-39901"/>
                    <a:pt x="226016" y="146154"/>
                    <a:pt x="245700" y="198859"/>
                  </a:cubicBezTo>
                  <a:cubicBezTo>
                    <a:pt x="276816" y="301729"/>
                    <a:pt x="217125" y="404599"/>
                    <a:pt x="233000" y="508104"/>
                  </a:cubicBezTo>
                  <a:cubicBezTo>
                    <a:pt x="238716" y="550014"/>
                    <a:pt x="205696" y="569064"/>
                    <a:pt x="201250" y="516359"/>
                  </a:cubicBezTo>
                  <a:cubicBezTo>
                    <a:pt x="164421" y="394439"/>
                    <a:pt x="-16554" y="432539"/>
                    <a:pt x="1225" y="243944"/>
                  </a:cubicBezTo>
                  <a:close/>
                  <a:moveTo>
                    <a:pt x="114891" y="236959"/>
                  </a:moveTo>
                  <a:cubicBezTo>
                    <a:pt x="103460" y="228704"/>
                    <a:pt x="21546" y="208384"/>
                    <a:pt x="57741" y="193144"/>
                  </a:cubicBezTo>
                  <a:cubicBezTo>
                    <a:pt x="78060" y="196954"/>
                    <a:pt x="88856" y="214734"/>
                    <a:pt x="111081" y="216639"/>
                  </a:cubicBezTo>
                  <a:cubicBezTo>
                    <a:pt x="108541" y="178539"/>
                    <a:pt x="97110" y="143614"/>
                    <a:pt x="105366" y="106784"/>
                  </a:cubicBezTo>
                  <a:cubicBezTo>
                    <a:pt x="111081" y="107419"/>
                    <a:pt x="116160" y="108054"/>
                    <a:pt x="120606" y="108054"/>
                  </a:cubicBezTo>
                  <a:cubicBezTo>
                    <a:pt x="123781" y="120754"/>
                    <a:pt x="126321" y="131549"/>
                    <a:pt x="129496" y="144249"/>
                  </a:cubicBezTo>
                  <a:cubicBezTo>
                    <a:pt x="182200" y="111229"/>
                    <a:pt x="146641" y="163934"/>
                    <a:pt x="130766" y="183619"/>
                  </a:cubicBezTo>
                  <a:cubicBezTo>
                    <a:pt x="135210" y="210924"/>
                    <a:pt x="135846" y="238229"/>
                    <a:pt x="149181" y="265534"/>
                  </a:cubicBezTo>
                  <a:cubicBezTo>
                    <a:pt x="163785" y="256009"/>
                    <a:pt x="167596" y="243309"/>
                    <a:pt x="186646" y="248389"/>
                  </a:cubicBezTo>
                  <a:cubicBezTo>
                    <a:pt x="175216" y="271249"/>
                    <a:pt x="149181" y="286489"/>
                    <a:pt x="154896" y="311254"/>
                  </a:cubicBezTo>
                  <a:cubicBezTo>
                    <a:pt x="171406" y="348719"/>
                    <a:pt x="172675" y="392534"/>
                    <a:pt x="204425" y="422379"/>
                  </a:cubicBezTo>
                  <a:cubicBezTo>
                    <a:pt x="252050" y="285219"/>
                    <a:pt x="233635" y="137264"/>
                    <a:pt x="136481" y="27409"/>
                  </a:cubicBezTo>
                  <a:cubicBezTo>
                    <a:pt x="86950" y="-1166"/>
                    <a:pt x="19006" y="177269"/>
                    <a:pt x="24721" y="219814"/>
                  </a:cubicBezTo>
                  <a:cubicBezTo>
                    <a:pt x="8846" y="328399"/>
                    <a:pt x="72346" y="405869"/>
                    <a:pt x="175216" y="431269"/>
                  </a:cubicBezTo>
                  <a:cubicBezTo>
                    <a:pt x="170135" y="362689"/>
                    <a:pt x="112350" y="366499"/>
                    <a:pt x="80600" y="323954"/>
                  </a:cubicBezTo>
                  <a:cubicBezTo>
                    <a:pt x="106635" y="317604"/>
                    <a:pt x="118700" y="347449"/>
                    <a:pt x="140925" y="338559"/>
                  </a:cubicBezTo>
                  <a:cubicBezTo>
                    <a:pt x="128225" y="305539"/>
                    <a:pt x="128860" y="270614"/>
                    <a:pt x="114891" y="23695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1" name="Google Shape;479;p8">
              <a:extLst>
                <a:ext uri="{FF2B5EF4-FFF2-40B4-BE49-F238E27FC236}">
                  <a16:creationId xmlns:a16="http://schemas.microsoft.com/office/drawing/2014/main" id="{E3F87579-F460-4D58-B88B-C9A048BA465B}"/>
                </a:ext>
              </a:extLst>
            </p:cNvPr>
            <p:cNvSpPr/>
            <p:nvPr/>
          </p:nvSpPr>
          <p:spPr>
            <a:xfrm>
              <a:off x="1756780" y="575182"/>
              <a:ext cx="134585" cy="137354"/>
            </a:xfrm>
            <a:custGeom>
              <a:avLst/>
              <a:gdLst/>
              <a:ahLst/>
              <a:cxnLst/>
              <a:rect l="l" t="t" r="r" b="b"/>
              <a:pathLst>
                <a:path w="277495" h="283204" extrusionOk="0">
                  <a:moveTo>
                    <a:pt x="208280" y="49133"/>
                  </a:moveTo>
                  <a:cubicBezTo>
                    <a:pt x="137795" y="91043"/>
                    <a:pt x="68580" y="136763"/>
                    <a:pt x="0" y="179943"/>
                  </a:cubicBezTo>
                  <a:cubicBezTo>
                    <a:pt x="8890" y="202168"/>
                    <a:pt x="26670" y="266938"/>
                    <a:pt x="57150" y="247888"/>
                  </a:cubicBezTo>
                  <a:cubicBezTo>
                    <a:pt x="130175" y="204708"/>
                    <a:pt x="208280" y="168513"/>
                    <a:pt x="277495" y="120888"/>
                  </a:cubicBezTo>
                  <a:cubicBezTo>
                    <a:pt x="258445" y="97393"/>
                    <a:pt x="247650" y="28178"/>
                    <a:pt x="208280" y="49133"/>
                  </a:cubicBezTo>
                  <a:close/>
                  <a:moveTo>
                    <a:pt x="46355" y="226933"/>
                  </a:moveTo>
                  <a:cubicBezTo>
                    <a:pt x="33655" y="218043"/>
                    <a:pt x="29210" y="206613"/>
                    <a:pt x="25400" y="192643"/>
                  </a:cubicBezTo>
                  <a:cubicBezTo>
                    <a:pt x="88265" y="150733"/>
                    <a:pt x="149225" y="105648"/>
                    <a:pt x="218440" y="71358"/>
                  </a:cubicBezTo>
                  <a:cubicBezTo>
                    <a:pt x="236220" y="75803"/>
                    <a:pt x="240030" y="91678"/>
                    <a:pt x="247015" y="107553"/>
                  </a:cubicBezTo>
                  <a:cubicBezTo>
                    <a:pt x="186055" y="158353"/>
                    <a:pt x="114300" y="189468"/>
                    <a:pt x="46355" y="226933"/>
                  </a:cubicBezTo>
                  <a:close/>
                  <a:moveTo>
                    <a:pt x="181610" y="200898"/>
                  </a:moveTo>
                  <a:cubicBezTo>
                    <a:pt x="130810" y="200898"/>
                    <a:pt x="120650" y="289798"/>
                    <a:pt x="181610" y="282813"/>
                  </a:cubicBezTo>
                  <a:cubicBezTo>
                    <a:pt x="240665" y="284083"/>
                    <a:pt x="243840" y="201533"/>
                    <a:pt x="181610" y="200898"/>
                  </a:cubicBezTo>
                  <a:close/>
                  <a:moveTo>
                    <a:pt x="163830" y="259318"/>
                  </a:moveTo>
                  <a:cubicBezTo>
                    <a:pt x="159385" y="227568"/>
                    <a:pt x="184785" y="232013"/>
                    <a:pt x="205105" y="234553"/>
                  </a:cubicBezTo>
                  <a:cubicBezTo>
                    <a:pt x="208280" y="258683"/>
                    <a:pt x="182245" y="268843"/>
                    <a:pt x="163830" y="259318"/>
                  </a:cubicBezTo>
                  <a:close/>
                  <a:moveTo>
                    <a:pt x="123190" y="32623"/>
                  </a:moveTo>
                  <a:cubicBezTo>
                    <a:pt x="104140" y="-16272"/>
                    <a:pt x="28575" y="-9922"/>
                    <a:pt x="29210" y="49768"/>
                  </a:cubicBezTo>
                  <a:cubicBezTo>
                    <a:pt x="38735" y="111998"/>
                    <a:pt x="126365" y="90408"/>
                    <a:pt x="123190" y="32623"/>
                  </a:cubicBezTo>
                  <a:close/>
                  <a:moveTo>
                    <a:pt x="81280" y="20558"/>
                  </a:moveTo>
                  <a:cubicBezTo>
                    <a:pt x="127635" y="19923"/>
                    <a:pt x="81915" y="87868"/>
                    <a:pt x="55880" y="63103"/>
                  </a:cubicBezTo>
                  <a:cubicBezTo>
                    <a:pt x="37465" y="47228"/>
                    <a:pt x="61595" y="16748"/>
                    <a:pt x="81280" y="2055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2" name="Google Shape;480;p8">
              <a:extLst>
                <a:ext uri="{FF2B5EF4-FFF2-40B4-BE49-F238E27FC236}">
                  <a16:creationId xmlns:a16="http://schemas.microsoft.com/office/drawing/2014/main" id="{AE301D7C-FC26-4EE6-9AB9-76FC64F4DAD2}"/>
                </a:ext>
              </a:extLst>
            </p:cNvPr>
            <p:cNvSpPr/>
            <p:nvPr/>
          </p:nvSpPr>
          <p:spPr>
            <a:xfrm>
              <a:off x="4716478" y="737980"/>
              <a:ext cx="145419" cy="160635"/>
            </a:xfrm>
            <a:custGeom>
              <a:avLst/>
              <a:gdLst/>
              <a:ahLst/>
              <a:cxnLst/>
              <a:rect l="l" t="t" r="r" b="b"/>
              <a:pathLst>
                <a:path w="299833" h="331207" extrusionOk="0">
                  <a:moveTo>
                    <a:pt x="209405" y="209687"/>
                  </a:moveTo>
                  <a:cubicBezTo>
                    <a:pt x="197340" y="292237"/>
                    <a:pt x="224645" y="334782"/>
                    <a:pt x="116695" y="330972"/>
                  </a:cubicBezTo>
                  <a:cubicBezTo>
                    <a:pt x="76690" y="318272"/>
                    <a:pt x="105900" y="251597"/>
                    <a:pt x="82405" y="221752"/>
                  </a:cubicBezTo>
                  <a:cubicBezTo>
                    <a:pt x="-9670" y="236992"/>
                    <a:pt x="-780" y="222387"/>
                    <a:pt x="1125" y="136662"/>
                  </a:cubicBezTo>
                  <a:cubicBezTo>
                    <a:pt x="15730" y="118882"/>
                    <a:pt x="46210" y="123327"/>
                    <a:pt x="67800" y="118247"/>
                  </a:cubicBezTo>
                  <a:cubicBezTo>
                    <a:pt x="113520" y="107452"/>
                    <a:pt x="65895" y="38872"/>
                    <a:pt x="89390" y="5852"/>
                  </a:cubicBezTo>
                  <a:cubicBezTo>
                    <a:pt x="202420" y="-15103"/>
                    <a:pt x="175750" y="20457"/>
                    <a:pt x="194165" y="108722"/>
                  </a:cubicBezTo>
                  <a:cubicBezTo>
                    <a:pt x="225280" y="118247"/>
                    <a:pt x="286240" y="96022"/>
                    <a:pt x="293225" y="135392"/>
                  </a:cubicBezTo>
                  <a:cubicBezTo>
                    <a:pt x="318625" y="214767"/>
                    <a:pt x="266555" y="199527"/>
                    <a:pt x="209405" y="209687"/>
                  </a:cubicBezTo>
                  <a:close/>
                  <a:moveTo>
                    <a:pt x="27795" y="202067"/>
                  </a:moveTo>
                  <a:cubicBezTo>
                    <a:pt x="155430" y="169682"/>
                    <a:pt x="92565" y="223657"/>
                    <a:pt x="125585" y="302397"/>
                  </a:cubicBezTo>
                  <a:cubicBezTo>
                    <a:pt x="140190" y="304302"/>
                    <a:pt x="156065" y="306842"/>
                    <a:pt x="171305" y="301127"/>
                  </a:cubicBezTo>
                  <a:cubicBezTo>
                    <a:pt x="195435" y="266202"/>
                    <a:pt x="166860" y="221752"/>
                    <a:pt x="189720" y="188097"/>
                  </a:cubicBezTo>
                  <a:cubicBezTo>
                    <a:pt x="215755" y="184287"/>
                    <a:pt x="243695" y="179842"/>
                    <a:pt x="271635" y="175397"/>
                  </a:cubicBezTo>
                  <a:cubicBezTo>
                    <a:pt x="276715" y="160792"/>
                    <a:pt x="276715" y="149362"/>
                    <a:pt x="267825" y="137932"/>
                  </a:cubicBezTo>
                  <a:cubicBezTo>
                    <a:pt x="176385" y="125867"/>
                    <a:pt x="163050" y="146187"/>
                    <a:pt x="160510" y="40142"/>
                  </a:cubicBezTo>
                  <a:cubicBezTo>
                    <a:pt x="158605" y="17917"/>
                    <a:pt x="136380" y="21092"/>
                    <a:pt x="120505" y="26172"/>
                  </a:cubicBezTo>
                  <a:cubicBezTo>
                    <a:pt x="85580" y="45857"/>
                    <a:pt x="120505" y="101737"/>
                    <a:pt x="108440" y="134757"/>
                  </a:cubicBezTo>
                  <a:cubicBezTo>
                    <a:pt x="77325" y="141742"/>
                    <a:pt x="53195" y="136662"/>
                    <a:pt x="23350" y="153172"/>
                  </a:cubicBezTo>
                  <a:cubicBezTo>
                    <a:pt x="23350" y="172857"/>
                    <a:pt x="23350" y="182382"/>
                    <a:pt x="27795" y="20206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3" name="Google Shape;481;p8">
              <a:extLst>
                <a:ext uri="{FF2B5EF4-FFF2-40B4-BE49-F238E27FC236}">
                  <a16:creationId xmlns:a16="http://schemas.microsoft.com/office/drawing/2014/main" id="{6FD28BB7-1233-454C-A358-3B547C2B893E}"/>
                </a:ext>
              </a:extLst>
            </p:cNvPr>
            <p:cNvSpPr/>
            <p:nvPr/>
          </p:nvSpPr>
          <p:spPr>
            <a:xfrm>
              <a:off x="1639378" y="819333"/>
              <a:ext cx="126045" cy="135687"/>
            </a:xfrm>
            <a:custGeom>
              <a:avLst/>
              <a:gdLst/>
              <a:ahLst/>
              <a:cxnLst/>
              <a:rect l="l" t="t" r="r" b="b"/>
              <a:pathLst>
                <a:path w="259887" h="279767" extrusionOk="0">
                  <a:moveTo>
                    <a:pt x="226736" y="166830"/>
                  </a:moveTo>
                  <a:cubicBezTo>
                    <a:pt x="228641" y="137620"/>
                    <a:pt x="231180" y="110950"/>
                    <a:pt x="233086" y="83010"/>
                  </a:cubicBezTo>
                  <a:cubicBezTo>
                    <a:pt x="187366" y="68405"/>
                    <a:pt x="153711" y="96345"/>
                    <a:pt x="111166" y="110315"/>
                  </a:cubicBezTo>
                  <a:cubicBezTo>
                    <a:pt x="97195" y="152860"/>
                    <a:pt x="133391" y="210010"/>
                    <a:pt x="90211" y="242395"/>
                  </a:cubicBezTo>
                  <a:cubicBezTo>
                    <a:pt x="-25359" y="349710"/>
                    <a:pt x="-34250" y="191595"/>
                    <a:pt x="88941" y="193500"/>
                  </a:cubicBezTo>
                  <a:cubicBezTo>
                    <a:pt x="97195" y="143970"/>
                    <a:pt x="63541" y="67135"/>
                    <a:pt x="101005" y="31575"/>
                  </a:cubicBezTo>
                  <a:cubicBezTo>
                    <a:pt x="208320" y="6175"/>
                    <a:pt x="274995" y="-51610"/>
                    <a:pt x="252770" y="105870"/>
                  </a:cubicBezTo>
                  <a:cubicBezTo>
                    <a:pt x="241975" y="140160"/>
                    <a:pt x="264200" y="170005"/>
                    <a:pt x="259120" y="201120"/>
                  </a:cubicBezTo>
                  <a:cubicBezTo>
                    <a:pt x="198161" y="328120"/>
                    <a:pt x="109261" y="242395"/>
                    <a:pt x="226736" y="166830"/>
                  </a:cubicBezTo>
                  <a:close/>
                  <a:moveTo>
                    <a:pt x="115611" y="79835"/>
                  </a:moveTo>
                  <a:cubicBezTo>
                    <a:pt x="146091" y="80470"/>
                    <a:pt x="172125" y="56975"/>
                    <a:pt x="203875" y="58245"/>
                  </a:cubicBezTo>
                  <a:cubicBezTo>
                    <a:pt x="229275" y="60150"/>
                    <a:pt x="238800" y="46180"/>
                    <a:pt x="229911" y="22050"/>
                  </a:cubicBezTo>
                  <a:cubicBezTo>
                    <a:pt x="198161" y="38560"/>
                    <a:pt x="97195" y="29035"/>
                    <a:pt x="115611" y="7983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4" name="Google Shape;482;p8">
              <a:extLst>
                <a:ext uri="{FF2B5EF4-FFF2-40B4-BE49-F238E27FC236}">
                  <a16:creationId xmlns:a16="http://schemas.microsoft.com/office/drawing/2014/main" id="{E08738A7-C995-413A-B919-F70A0D341858}"/>
                </a:ext>
              </a:extLst>
            </p:cNvPr>
            <p:cNvSpPr/>
            <p:nvPr/>
          </p:nvSpPr>
          <p:spPr>
            <a:xfrm>
              <a:off x="8172573" y="555140"/>
              <a:ext cx="115263" cy="157296"/>
            </a:xfrm>
            <a:custGeom>
              <a:avLst/>
              <a:gdLst/>
              <a:ahLst/>
              <a:cxnLst/>
              <a:rect l="l" t="t" r="r" b="b"/>
              <a:pathLst>
                <a:path w="237655" h="324321" extrusionOk="0">
                  <a:moveTo>
                    <a:pt x="103670" y="224422"/>
                  </a:moveTo>
                  <a:cubicBezTo>
                    <a:pt x="118910" y="164097"/>
                    <a:pt x="80810" y="37097"/>
                    <a:pt x="129070" y="1537"/>
                  </a:cubicBezTo>
                  <a:cubicBezTo>
                    <a:pt x="197650" y="-13703"/>
                    <a:pt x="200190" y="88532"/>
                    <a:pt x="237655" y="124092"/>
                  </a:cubicBezTo>
                  <a:cubicBezTo>
                    <a:pt x="219875" y="178702"/>
                    <a:pt x="165900" y="59957"/>
                    <a:pt x="132245" y="71387"/>
                  </a:cubicBezTo>
                  <a:cubicBezTo>
                    <a:pt x="115735" y="135522"/>
                    <a:pt x="151930" y="215532"/>
                    <a:pt x="110655" y="271412"/>
                  </a:cubicBezTo>
                  <a:cubicBezTo>
                    <a:pt x="-25235" y="413017"/>
                    <a:pt x="-45555" y="225692"/>
                    <a:pt x="103670" y="224422"/>
                  </a:cubicBezTo>
                  <a:close/>
                  <a:moveTo>
                    <a:pt x="176060" y="65672"/>
                  </a:moveTo>
                  <a:cubicBezTo>
                    <a:pt x="170980" y="47892"/>
                    <a:pt x="167170" y="29477"/>
                    <a:pt x="146850" y="25032"/>
                  </a:cubicBezTo>
                  <a:cubicBezTo>
                    <a:pt x="136690" y="33922"/>
                    <a:pt x="136690" y="33922"/>
                    <a:pt x="134785" y="44082"/>
                  </a:cubicBezTo>
                  <a:cubicBezTo>
                    <a:pt x="148755" y="51067"/>
                    <a:pt x="162090" y="58687"/>
                    <a:pt x="176060" y="6567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5" name="Google Shape;483;p8">
              <a:extLst>
                <a:ext uri="{FF2B5EF4-FFF2-40B4-BE49-F238E27FC236}">
                  <a16:creationId xmlns:a16="http://schemas.microsoft.com/office/drawing/2014/main" id="{A02D9596-A614-4DFE-A914-E51FDEA50659}"/>
                </a:ext>
              </a:extLst>
            </p:cNvPr>
            <p:cNvSpPr/>
            <p:nvPr/>
          </p:nvSpPr>
          <p:spPr>
            <a:xfrm>
              <a:off x="4481735" y="547509"/>
              <a:ext cx="87093" cy="153839"/>
            </a:xfrm>
            <a:custGeom>
              <a:avLst/>
              <a:gdLst/>
              <a:ahLst/>
              <a:cxnLst/>
              <a:rect l="l" t="t" r="r" b="b"/>
              <a:pathLst>
                <a:path w="179573" h="317193" extrusionOk="0">
                  <a:moveTo>
                    <a:pt x="48300" y="7056"/>
                  </a:moveTo>
                  <a:cubicBezTo>
                    <a:pt x="85130" y="8961"/>
                    <a:pt x="155616" y="-21519"/>
                    <a:pt x="159425" y="31186"/>
                  </a:cubicBezTo>
                  <a:cubicBezTo>
                    <a:pt x="167680" y="121356"/>
                    <a:pt x="186096" y="212796"/>
                    <a:pt x="177205" y="302966"/>
                  </a:cubicBezTo>
                  <a:cubicBezTo>
                    <a:pt x="142280" y="316301"/>
                    <a:pt x="114975" y="320111"/>
                    <a:pt x="85766" y="315031"/>
                  </a:cubicBezTo>
                  <a:cubicBezTo>
                    <a:pt x="69255" y="264231"/>
                    <a:pt x="90211" y="208351"/>
                    <a:pt x="78780" y="154376"/>
                  </a:cubicBezTo>
                  <a:cubicBezTo>
                    <a:pt x="-62189" y="192476"/>
                    <a:pt x="24171" y="74366"/>
                    <a:pt x="48300" y="7056"/>
                  </a:cubicBezTo>
                  <a:close/>
                  <a:moveTo>
                    <a:pt x="109261" y="290901"/>
                  </a:moveTo>
                  <a:cubicBezTo>
                    <a:pt x="134025" y="291536"/>
                    <a:pt x="134025" y="291536"/>
                    <a:pt x="154346" y="278836"/>
                  </a:cubicBezTo>
                  <a:cubicBezTo>
                    <a:pt x="153075" y="219781"/>
                    <a:pt x="167680" y="54046"/>
                    <a:pt x="118786" y="24201"/>
                  </a:cubicBezTo>
                  <a:cubicBezTo>
                    <a:pt x="53380" y="10231"/>
                    <a:pt x="40046" y="82621"/>
                    <a:pt x="20996" y="128976"/>
                  </a:cubicBezTo>
                  <a:cubicBezTo>
                    <a:pt x="48936" y="149931"/>
                    <a:pt x="55921" y="133421"/>
                    <a:pt x="69891" y="115641"/>
                  </a:cubicBezTo>
                  <a:cubicBezTo>
                    <a:pt x="135296" y="72461"/>
                    <a:pt x="83861" y="261691"/>
                    <a:pt x="109261" y="29090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6" name="Google Shape;484;p8">
              <a:extLst>
                <a:ext uri="{FF2B5EF4-FFF2-40B4-BE49-F238E27FC236}">
                  <a16:creationId xmlns:a16="http://schemas.microsoft.com/office/drawing/2014/main" id="{00FF19D6-5FC0-4321-BF5A-D7E353731F6A}"/>
                </a:ext>
              </a:extLst>
            </p:cNvPr>
            <p:cNvSpPr/>
            <p:nvPr/>
          </p:nvSpPr>
          <p:spPr>
            <a:xfrm>
              <a:off x="2048182" y="505004"/>
              <a:ext cx="126077" cy="173483"/>
            </a:xfrm>
            <a:custGeom>
              <a:avLst/>
              <a:gdLst/>
              <a:ahLst/>
              <a:cxnLst/>
              <a:rect l="l" t="t" r="r" b="b"/>
              <a:pathLst>
                <a:path w="283319" h="389850" extrusionOk="0">
                  <a:moveTo>
                    <a:pt x="215764" y="169337"/>
                  </a:moveTo>
                  <a:cubicBezTo>
                    <a:pt x="302124" y="27097"/>
                    <a:pt x="90669" y="-68153"/>
                    <a:pt x="11294" y="60752"/>
                  </a:cubicBezTo>
                  <a:cubicBezTo>
                    <a:pt x="-7756" y="89962"/>
                    <a:pt x="-3946" y="100757"/>
                    <a:pt x="32249" y="114092"/>
                  </a:cubicBezTo>
                  <a:cubicBezTo>
                    <a:pt x="71619" y="115997"/>
                    <a:pt x="97019" y="51862"/>
                    <a:pt x="145279" y="76627"/>
                  </a:cubicBezTo>
                  <a:cubicBezTo>
                    <a:pt x="215764" y="123617"/>
                    <a:pt x="108449" y="154732"/>
                    <a:pt x="109719" y="185212"/>
                  </a:cubicBezTo>
                  <a:cubicBezTo>
                    <a:pt x="111624" y="209342"/>
                    <a:pt x="220844" y="209977"/>
                    <a:pt x="165599" y="293162"/>
                  </a:cubicBezTo>
                  <a:cubicBezTo>
                    <a:pt x="115434" y="342057"/>
                    <a:pt x="90669" y="265222"/>
                    <a:pt x="53204" y="286812"/>
                  </a:cubicBezTo>
                  <a:cubicBezTo>
                    <a:pt x="41774" y="293797"/>
                    <a:pt x="19549" y="293162"/>
                    <a:pt x="19549" y="310942"/>
                  </a:cubicBezTo>
                  <a:cubicBezTo>
                    <a:pt x="44949" y="470962"/>
                    <a:pt x="437379" y="369362"/>
                    <a:pt x="215764" y="169337"/>
                  </a:cubicBezTo>
                  <a:close/>
                  <a:moveTo>
                    <a:pt x="255769" y="311577"/>
                  </a:moveTo>
                  <a:cubicBezTo>
                    <a:pt x="230369" y="375712"/>
                    <a:pt x="58919" y="393492"/>
                    <a:pt x="43679" y="321102"/>
                  </a:cubicBezTo>
                  <a:cubicBezTo>
                    <a:pt x="53204" y="313482"/>
                    <a:pt x="60189" y="310942"/>
                    <a:pt x="70984" y="308402"/>
                  </a:cubicBezTo>
                  <a:cubicBezTo>
                    <a:pt x="145914" y="381427"/>
                    <a:pt x="251959" y="274112"/>
                    <a:pt x="178299" y="199817"/>
                  </a:cubicBezTo>
                  <a:cubicBezTo>
                    <a:pt x="157344" y="184577"/>
                    <a:pt x="144644" y="190927"/>
                    <a:pt x="171314" y="159812"/>
                  </a:cubicBezTo>
                  <a:cubicBezTo>
                    <a:pt x="239259" y="61387"/>
                    <a:pt x="99559" y="5507"/>
                    <a:pt x="35424" y="93772"/>
                  </a:cubicBezTo>
                  <a:cubicBezTo>
                    <a:pt x="-5851" y="29002"/>
                    <a:pt x="261484" y="-44023"/>
                    <a:pt x="204334" y="148382"/>
                  </a:cubicBezTo>
                  <a:cubicBezTo>
                    <a:pt x="201159" y="161082"/>
                    <a:pt x="201159" y="165527"/>
                    <a:pt x="188459" y="178227"/>
                  </a:cubicBezTo>
                  <a:cubicBezTo>
                    <a:pt x="227829" y="190292"/>
                    <a:pt x="275454" y="281097"/>
                    <a:pt x="255769" y="31157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7" name="Google Shape;485;p8">
              <a:extLst>
                <a:ext uri="{FF2B5EF4-FFF2-40B4-BE49-F238E27FC236}">
                  <a16:creationId xmlns:a16="http://schemas.microsoft.com/office/drawing/2014/main" id="{4A9F416A-81D9-4A56-86CD-9246A9BD1391}"/>
                </a:ext>
              </a:extLst>
            </p:cNvPr>
            <p:cNvSpPr/>
            <p:nvPr/>
          </p:nvSpPr>
          <p:spPr>
            <a:xfrm>
              <a:off x="126658" y="1006747"/>
              <a:ext cx="126356" cy="163706"/>
            </a:xfrm>
            <a:custGeom>
              <a:avLst/>
              <a:gdLst/>
              <a:ahLst/>
              <a:cxnLst/>
              <a:rect l="l" t="t" r="r" b="b"/>
              <a:pathLst>
                <a:path w="260527" h="337538" extrusionOk="0">
                  <a:moveTo>
                    <a:pt x="70965" y="150214"/>
                  </a:moveTo>
                  <a:cubicBezTo>
                    <a:pt x="-31905" y="199744"/>
                    <a:pt x="-8410" y="53058"/>
                    <a:pt x="50010" y="19403"/>
                  </a:cubicBezTo>
                  <a:cubicBezTo>
                    <a:pt x="99540" y="-21237"/>
                    <a:pt x="175740" y="6703"/>
                    <a:pt x="204315" y="59408"/>
                  </a:cubicBezTo>
                  <a:cubicBezTo>
                    <a:pt x="234160" y="115923"/>
                    <a:pt x="183360" y="176248"/>
                    <a:pt x="162405" y="228953"/>
                  </a:cubicBezTo>
                  <a:cubicBezTo>
                    <a:pt x="222730" y="254353"/>
                    <a:pt x="280515" y="204189"/>
                    <a:pt x="253845" y="309598"/>
                  </a:cubicBezTo>
                  <a:cubicBezTo>
                    <a:pt x="202410" y="340078"/>
                    <a:pt x="118590" y="320394"/>
                    <a:pt x="56360" y="337539"/>
                  </a:cubicBezTo>
                  <a:cubicBezTo>
                    <a:pt x="-5235" y="325473"/>
                    <a:pt x="102715" y="185139"/>
                    <a:pt x="110970" y="145133"/>
                  </a:cubicBezTo>
                  <a:cubicBezTo>
                    <a:pt x="160500" y="75919"/>
                    <a:pt x="55725" y="82269"/>
                    <a:pt x="70965" y="150214"/>
                  </a:cubicBezTo>
                  <a:close/>
                  <a:moveTo>
                    <a:pt x="123670" y="254353"/>
                  </a:moveTo>
                  <a:cubicBezTo>
                    <a:pt x="140180" y="194664"/>
                    <a:pt x="211935" y="137514"/>
                    <a:pt x="182725" y="75283"/>
                  </a:cubicBezTo>
                  <a:cubicBezTo>
                    <a:pt x="171930" y="39088"/>
                    <a:pt x="127480" y="13053"/>
                    <a:pt x="92555" y="25119"/>
                  </a:cubicBezTo>
                  <a:cubicBezTo>
                    <a:pt x="36040" y="25119"/>
                    <a:pt x="-10315" y="170533"/>
                    <a:pt x="46200" y="130528"/>
                  </a:cubicBezTo>
                  <a:cubicBezTo>
                    <a:pt x="49375" y="47978"/>
                    <a:pt x="174470" y="60678"/>
                    <a:pt x="140180" y="141958"/>
                  </a:cubicBezTo>
                  <a:cubicBezTo>
                    <a:pt x="119225" y="196569"/>
                    <a:pt x="72870" y="253083"/>
                    <a:pt x="69060" y="309598"/>
                  </a:cubicBezTo>
                  <a:cubicBezTo>
                    <a:pt x="109065" y="316583"/>
                    <a:pt x="193520" y="307694"/>
                    <a:pt x="232890" y="291183"/>
                  </a:cubicBezTo>
                  <a:cubicBezTo>
                    <a:pt x="234795" y="282928"/>
                    <a:pt x="236700" y="274039"/>
                    <a:pt x="238605" y="264514"/>
                  </a:cubicBezTo>
                  <a:cubicBezTo>
                    <a:pt x="197330" y="251178"/>
                    <a:pt x="166215" y="267689"/>
                    <a:pt x="123670" y="25435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68" name="Google Shape;486;p8">
              <a:extLst>
                <a:ext uri="{FF2B5EF4-FFF2-40B4-BE49-F238E27FC236}">
                  <a16:creationId xmlns:a16="http://schemas.microsoft.com/office/drawing/2014/main" id="{92ED82A6-3A3E-404A-A61E-72FFF9E6C63C}"/>
                </a:ext>
              </a:extLst>
            </p:cNvPr>
            <p:cNvGrpSpPr/>
            <p:nvPr/>
          </p:nvGrpSpPr>
          <p:grpSpPr>
            <a:xfrm>
              <a:off x="7836651" y="987182"/>
              <a:ext cx="121750" cy="155749"/>
              <a:chOff x="6422295" y="3351500"/>
              <a:chExt cx="252856" cy="323399"/>
            </a:xfrm>
          </p:grpSpPr>
          <p:sp>
            <p:nvSpPr>
              <p:cNvPr id="77" name="Google Shape;487;p8">
                <a:extLst>
                  <a:ext uri="{FF2B5EF4-FFF2-40B4-BE49-F238E27FC236}">
                    <a16:creationId xmlns:a16="http://schemas.microsoft.com/office/drawing/2014/main" id="{84C69326-5853-4DB0-8ECE-C2BFADAEEBDB}"/>
                  </a:ext>
                </a:extLst>
              </p:cNvPr>
              <p:cNvSpPr/>
              <p:nvPr/>
            </p:nvSpPr>
            <p:spPr>
              <a:xfrm>
                <a:off x="6422295" y="3351500"/>
                <a:ext cx="252856" cy="323399"/>
              </a:xfrm>
              <a:custGeom>
                <a:avLst/>
                <a:gdLst/>
                <a:ahLst/>
                <a:cxnLst/>
                <a:rect l="l" t="t" r="r" b="b"/>
                <a:pathLst>
                  <a:path w="294019" h="376045" extrusionOk="0">
                    <a:moveTo>
                      <a:pt x="172720" y="274801"/>
                    </a:moveTo>
                    <a:cubicBezTo>
                      <a:pt x="154940" y="268451"/>
                      <a:pt x="140970" y="274801"/>
                      <a:pt x="126365" y="278611"/>
                    </a:cubicBezTo>
                    <a:cubicBezTo>
                      <a:pt x="109855" y="304011"/>
                      <a:pt x="109220" y="334491"/>
                      <a:pt x="99695" y="364336"/>
                    </a:cubicBezTo>
                    <a:cubicBezTo>
                      <a:pt x="71755" y="359256"/>
                      <a:pt x="0" y="392911"/>
                      <a:pt x="0" y="352906"/>
                    </a:cubicBezTo>
                    <a:cubicBezTo>
                      <a:pt x="38100" y="239241"/>
                      <a:pt x="70485" y="123671"/>
                      <a:pt x="102235" y="8101"/>
                    </a:cubicBezTo>
                    <a:cubicBezTo>
                      <a:pt x="248920" y="-26189"/>
                      <a:pt x="236855" y="52551"/>
                      <a:pt x="264160" y="165581"/>
                    </a:cubicBezTo>
                    <a:cubicBezTo>
                      <a:pt x="262255" y="201776"/>
                      <a:pt x="322580" y="359256"/>
                      <a:pt x="276860" y="358621"/>
                    </a:cubicBezTo>
                    <a:cubicBezTo>
                      <a:pt x="153670" y="357986"/>
                      <a:pt x="184150" y="433551"/>
                      <a:pt x="172720" y="274801"/>
                    </a:cubicBezTo>
                    <a:close/>
                    <a:moveTo>
                      <a:pt x="266700" y="331316"/>
                    </a:moveTo>
                    <a:cubicBezTo>
                      <a:pt x="262255" y="229081"/>
                      <a:pt x="236220" y="119861"/>
                      <a:pt x="201295" y="23341"/>
                    </a:cubicBezTo>
                    <a:cubicBezTo>
                      <a:pt x="175895" y="22071"/>
                      <a:pt x="129540" y="8736"/>
                      <a:pt x="120015" y="41121"/>
                    </a:cubicBezTo>
                    <a:cubicBezTo>
                      <a:pt x="86995" y="139546"/>
                      <a:pt x="53975" y="239876"/>
                      <a:pt x="33655" y="341476"/>
                    </a:cubicBezTo>
                    <a:cubicBezTo>
                      <a:pt x="90805" y="367511"/>
                      <a:pt x="90805" y="291946"/>
                      <a:pt x="106680" y="256386"/>
                    </a:cubicBezTo>
                    <a:cubicBezTo>
                      <a:pt x="290195" y="214476"/>
                      <a:pt x="113665" y="389736"/>
                      <a:pt x="266700" y="33131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78" name="Google Shape;488;p8">
                <a:extLst>
                  <a:ext uri="{FF2B5EF4-FFF2-40B4-BE49-F238E27FC236}">
                    <a16:creationId xmlns:a16="http://schemas.microsoft.com/office/drawing/2014/main" id="{64824167-785B-42AC-AF3A-07701DC3DBC0}"/>
                  </a:ext>
                </a:extLst>
              </p:cNvPr>
              <p:cNvSpPr/>
              <p:nvPr/>
            </p:nvSpPr>
            <p:spPr>
              <a:xfrm>
                <a:off x="6523827" y="3405472"/>
                <a:ext cx="67661" cy="140626"/>
              </a:xfrm>
              <a:custGeom>
                <a:avLst/>
                <a:gdLst/>
                <a:ahLst/>
                <a:cxnLst/>
                <a:rect l="l" t="t" r="r" b="b"/>
                <a:pathLst>
                  <a:path w="78676" h="163519" extrusionOk="0">
                    <a:moveTo>
                      <a:pt x="47759" y="0"/>
                    </a:moveTo>
                    <a:cubicBezTo>
                      <a:pt x="77604" y="36830"/>
                      <a:pt x="59824" y="93345"/>
                      <a:pt x="76969" y="137160"/>
                    </a:cubicBezTo>
                    <a:cubicBezTo>
                      <a:pt x="82049" y="150495"/>
                      <a:pt x="75699" y="170180"/>
                      <a:pt x="59189" y="161290"/>
                    </a:cubicBezTo>
                    <a:cubicBezTo>
                      <a:pt x="38869" y="149860"/>
                      <a:pt x="-8756" y="165735"/>
                      <a:pt x="1404" y="127635"/>
                    </a:cubicBezTo>
                    <a:cubicBezTo>
                      <a:pt x="15374" y="83820"/>
                      <a:pt x="14104" y="35560"/>
                      <a:pt x="47759" y="0"/>
                    </a:cubicBezTo>
                    <a:close/>
                    <a:moveTo>
                      <a:pt x="25534" y="130810"/>
                    </a:moveTo>
                    <a:cubicBezTo>
                      <a:pt x="68714" y="151130"/>
                      <a:pt x="47124" y="101600"/>
                      <a:pt x="44584" y="77470"/>
                    </a:cubicBezTo>
                    <a:cubicBezTo>
                      <a:pt x="31249" y="97155"/>
                      <a:pt x="26804" y="113665"/>
                      <a:pt x="25534" y="1308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69" name="Google Shape;489;p8">
              <a:extLst>
                <a:ext uri="{FF2B5EF4-FFF2-40B4-BE49-F238E27FC236}">
                  <a16:creationId xmlns:a16="http://schemas.microsoft.com/office/drawing/2014/main" id="{8D5E07F0-FC5A-49DB-81F8-DEC0076730EA}"/>
                </a:ext>
              </a:extLst>
            </p:cNvPr>
            <p:cNvSpPr/>
            <p:nvPr/>
          </p:nvSpPr>
          <p:spPr>
            <a:xfrm>
              <a:off x="1353734" y="881315"/>
              <a:ext cx="187420" cy="190001"/>
            </a:xfrm>
            <a:custGeom>
              <a:avLst/>
              <a:gdLst/>
              <a:ahLst/>
              <a:cxnLst/>
              <a:rect l="l" t="t" r="r" b="b"/>
              <a:pathLst>
                <a:path w="386433" h="391754" extrusionOk="0">
                  <a:moveTo>
                    <a:pt x="22225" y="106004"/>
                  </a:moveTo>
                  <a:cubicBezTo>
                    <a:pt x="40640" y="82509"/>
                    <a:pt x="84455" y="92670"/>
                    <a:pt x="109855" y="76795"/>
                  </a:cubicBezTo>
                  <a:cubicBezTo>
                    <a:pt x="113030" y="58379"/>
                    <a:pt x="107315" y="43139"/>
                    <a:pt x="98425" y="27264"/>
                  </a:cubicBezTo>
                  <a:cubicBezTo>
                    <a:pt x="122555" y="8850"/>
                    <a:pt x="153035" y="-7661"/>
                    <a:pt x="182880" y="3770"/>
                  </a:cubicBezTo>
                  <a:cubicBezTo>
                    <a:pt x="186690" y="19645"/>
                    <a:pt x="190500" y="36789"/>
                    <a:pt x="194945" y="55839"/>
                  </a:cubicBezTo>
                  <a:cubicBezTo>
                    <a:pt x="226695" y="60284"/>
                    <a:pt x="256540" y="42504"/>
                    <a:pt x="287020" y="52664"/>
                  </a:cubicBezTo>
                  <a:cubicBezTo>
                    <a:pt x="300355" y="119339"/>
                    <a:pt x="327660" y="186014"/>
                    <a:pt x="373380" y="237450"/>
                  </a:cubicBezTo>
                  <a:cubicBezTo>
                    <a:pt x="386080" y="250150"/>
                    <a:pt x="388620" y="262850"/>
                    <a:pt x="384810" y="280629"/>
                  </a:cubicBezTo>
                  <a:cubicBezTo>
                    <a:pt x="356870" y="380325"/>
                    <a:pt x="198755" y="356195"/>
                    <a:pt x="115570" y="391754"/>
                  </a:cubicBezTo>
                  <a:cubicBezTo>
                    <a:pt x="31115" y="324445"/>
                    <a:pt x="4445" y="213320"/>
                    <a:pt x="0" y="108545"/>
                  </a:cubicBezTo>
                  <a:cubicBezTo>
                    <a:pt x="8890" y="107275"/>
                    <a:pt x="15875" y="106004"/>
                    <a:pt x="22860" y="105370"/>
                  </a:cubicBezTo>
                  <a:cubicBezTo>
                    <a:pt x="16510" y="199984"/>
                    <a:pt x="46990" y="300314"/>
                    <a:pt x="115570" y="368259"/>
                  </a:cubicBezTo>
                  <a:cubicBezTo>
                    <a:pt x="184150" y="354925"/>
                    <a:pt x="258445" y="348575"/>
                    <a:pt x="323215" y="320634"/>
                  </a:cubicBezTo>
                  <a:cubicBezTo>
                    <a:pt x="316865" y="290789"/>
                    <a:pt x="302895" y="271104"/>
                    <a:pt x="309245" y="243164"/>
                  </a:cubicBezTo>
                  <a:cubicBezTo>
                    <a:pt x="322580" y="243164"/>
                    <a:pt x="333375" y="243164"/>
                    <a:pt x="347980" y="243164"/>
                  </a:cubicBezTo>
                  <a:cubicBezTo>
                    <a:pt x="325755" y="189825"/>
                    <a:pt x="288290" y="147279"/>
                    <a:pt x="278765" y="88225"/>
                  </a:cubicBezTo>
                  <a:cubicBezTo>
                    <a:pt x="273685" y="48220"/>
                    <a:pt x="226695" y="69809"/>
                    <a:pt x="203835" y="81875"/>
                  </a:cubicBezTo>
                  <a:cubicBezTo>
                    <a:pt x="206375" y="93304"/>
                    <a:pt x="208280" y="102829"/>
                    <a:pt x="210185" y="112354"/>
                  </a:cubicBezTo>
                  <a:cubicBezTo>
                    <a:pt x="182245" y="123784"/>
                    <a:pt x="158115" y="145375"/>
                    <a:pt x="128270" y="132675"/>
                  </a:cubicBezTo>
                  <a:cubicBezTo>
                    <a:pt x="121285" y="63459"/>
                    <a:pt x="57150" y="126325"/>
                    <a:pt x="22225" y="106004"/>
                  </a:cubicBezTo>
                  <a:close/>
                  <a:moveTo>
                    <a:pt x="165100" y="21550"/>
                  </a:moveTo>
                  <a:cubicBezTo>
                    <a:pt x="107315" y="11389"/>
                    <a:pt x="133350" y="88225"/>
                    <a:pt x="145415" y="118070"/>
                  </a:cubicBezTo>
                  <a:cubicBezTo>
                    <a:pt x="163195" y="119975"/>
                    <a:pt x="173355" y="109814"/>
                    <a:pt x="185420" y="100289"/>
                  </a:cubicBezTo>
                  <a:cubicBezTo>
                    <a:pt x="179070" y="72984"/>
                    <a:pt x="172720" y="46314"/>
                    <a:pt x="165100" y="21550"/>
                  </a:cubicBezTo>
                  <a:close/>
                  <a:moveTo>
                    <a:pt x="327660" y="266025"/>
                  </a:moveTo>
                  <a:cubicBezTo>
                    <a:pt x="328930" y="337145"/>
                    <a:pt x="368300" y="313014"/>
                    <a:pt x="357505" y="266025"/>
                  </a:cubicBezTo>
                  <a:cubicBezTo>
                    <a:pt x="349885" y="266025"/>
                    <a:pt x="340360" y="266025"/>
                    <a:pt x="327660" y="26602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70" name="Google Shape;490;p8">
              <a:extLst>
                <a:ext uri="{FF2B5EF4-FFF2-40B4-BE49-F238E27FC236}">
                  <a16:creationId xmlns:a16="http://schemas.microsoft.com/office/drawing/2014/main" id="{941A1965-8542-48FD-8AA5-A8B547BCC109}"/>
                </a:ext>
              </a:extLst>
            </p:cNvPr>
            <p:cNvSpPr/>
            <p:nvPr/>
          </p:nvSpPr>
          <p:spPr>
            <a:xfrm>
              <a:off x="6088369" y="586056"/>
              <a:ext cx="149720" cy="115699"/>
            </a:xfrm>
            <a:custGeom>
              <a:avLst/>
              <a:gdLst/>
              <a:ahLst/>
              <a:cxnLst/>
              <a:rect l="l" t="t" r="r" b="b"/>
              <a:pathLst>
                <a:path w="308702" h="238555" extrusionOk="0">
                  <a:moveTo>
                    <a:pt x="275682" y="130540"/>
                  </a:moveTo>
                  <a:cubicBezTo>
                    <a:pt x="186782" y="134985"/>
                    <a:pt x="95977" y="143875"/>
                    <a:pt x="7712" y="150225"/>
                  </a:cubicBezTo>
                  <a:cubicBezTo>
                    <a:pt x="-8798" y="168640"/>
                    <a:pt x="1997" y="241030"/>
                    <a:pt x="32477" y="238490"/>
                  </a:cubicBezTo>
                  <a:cubicBezTo>
                    <a:pt x="126457" y="218805"/>
                    <a:pt x="214087" y="238490"/>
                    <a:pt x="308702" y="211820"/>
                  </a:cubicBezTo>
                  <a:cubicBezTo>
                    <a:pt x="278857" y="185150"/>
                    <a:pt x="322672" y="132445"/>
                    <a:pt x="275682" y="130540"/>
                  </a:cubicBezTo>
                  <a:close/>
                  <a:moveTo>
                    <a:pt x="271872" y="187690"/>
                  </a:moveTo>
                  <a:cubicBezTo>
                    <a:pt x="200752" y="219440"/>
                    <a:pt x="111217" y="202930"/>
                    <a:pt x="33112" y="211185"/>
                  </a:cubicBezTo>
                  <a:cubicBezTo>
                    <a:pt x="25492" y="195310"/>
                    <a:pt x="24857" y="195310"/>
                    <a:pt x="29302" y="175625"/>
                  </a:cubicBezTo>
                  <a:cubicBezTo>
                    <a:pt x="108677" y="166100"/>
                    <a:pt x="196307" y="146415"/>
                    <a:pt x="274412" y="159750"/>
                  </a:cubicBezTo>
                  <a:cubicBezTo>
                    <a:pt x="273777" y="169275"/>
                    <a:pt x="272507" y="179435"/>
                    <a:pt x="271872" y="187690"/>
                  </a:cubicBezTo>
                  <a:close/>
                  <a:moveTo>
                    <a:pt x="3902" y="80375"/>
                  </a:moveTo>
                  <a:cubicBezTo>
                    <a:pt x="10252" y="126095"/>
                    <a:pt x="181067" y="83550"/>
                    <a:pt x="218532" y="87995"/>
                  </a:cubicBezTo>
                  <a:cubicBezTo>
                    <a:pt x="295367" y="95615"/>
                    <a:pt x="307432" y="97520"/>
                    <a:pt x="293462" y="19415"/>
                  </a:cubicBezTo>
                  <a:cubicBezTo>
                    <a:pt x="285842" y="-17415"/>
                    <a:pt x="73117" y="11160"/>
                    <a:pt x="28032" y="2270"/>
                  </a:cubicBezTo>
                  <a:cubicBezTo>
                    <a:pt x="-10068" y="1635"/>
                    <a:pt x="6442" y="55610"/>
                    <a:pt x="3902" y="80375"/>
                  </a:cubicBezTo>
                  <a:close/>
                  <a:moveTo>
                    <a:pt x="40097" y="25130"/>
                  </a:moveTo>
                  <a:cubicBezTo>
                    <a:pt x="78197" y="25765"/>
                    <a:pt x="115027" y="14970"/>
                    <a:pt x="153762" y="23225"/>
                  </a:cubicBezTo>
                  <a:cubicBezTo>
                    <a:pt x="189957" y="39735"/>
                    <a:pt x="274412" y="-6620"/>
                    <a:pt x="276317" y="52435"/>
                  </a:cubicBezTo>
                  <a:cubicBezTo>
                    <a:pt x="287747" y="79105"/>
                    <a:pt x="54067" y="73390"/>
                    <a:pt x="26762" y="72120"/>
                  </a:cubicBezTo>
                  <a:cubicBezTo>
                    <a:pt x="27397" y="54975"/>
                    <a:pt x="15332" y="26400"/>
                    <a:pt x="40097" y="2513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71" name="Google Shape;491;p8">
              <a:extLst>
                <a:ext uri="{FF2B5EF4-FFF2-40B4-BE49-F238E27FC236}">
                  <a16:creationId xmlns:a16="http://schemas.microsoft.com/office/drawing/2014/main" id="{EFE1EC99-07CC-4023-9A86-595921094D3D}"/>
                </a:ext>
              </a:extLst>
            </p:cNvPr>
            <p:cNvGrpSpPr/>
            <p:nvPr/>
          </p:nvGrpSpPr>
          <p:grpSpPr>
            <a:xfrm>
              <a:off x="3137402" y="1006079"/>
              <a:ext cx="129429" cy="165162"/>
              <a:chOff x="6793660" y="3322411"/>
              <a:chExt cx="268804" cy="342944"/>
            </a:xfrm>
          </p:grpSpPr>
          <p:sp>
            <p:nvSpPr>
              <p:cNvPr id="74" name="Google Shape;492;p8">
                <a:extLst>
                  <a:ext uri="{FF2B5EF4-FFF2-40B4-BE49-F238E27FC236}">
                    <a16:creationId xmlns:a16="http://schemas.microsoft.com/office/drawing/2014/main" id="{B1E98185-89CA-4D55-B39A-04132878AC19}"/>
                  </a:ext>
                </a:extLst>
              </p:cNvPr>
              <p:cNvSpPr/>
              <p:nvPr/>
            </p:nvSpPr>
            <p:spPr>
              <a:xfrm>
                <a:off x="6793660" y="3322411"/>
                <a:ext cx="268804" cy="342944"/>
              </a:xfrm>
              <a:custGeom>
                <a:avLst/>
                <a:gdLst/>
                <a:ahLst/>
                <a:cxnLst/>
                <a:rect l="l" t="t" r="r" b="b"/>
                <a:pathLst>
                  <a:path w="312563" h="398772" extrusionOk="0">
                    <a:moveTo>
                      <a:pt x="216826" y="153028"/>
                    </a:moveTo>
                    <a:cubicBezTo>
                      <a:pt x="221271" y="163188"/>
                      <a:pt x="230796" y="165093"/>
                      <a:pt x="238416" y="166997"/>
                    </a:cubicBezTo>
                    <a:cubicBezTo>
                      <a:pt x="302551" y="185413"/>
                      <a:pt x="337476" y="278758"/>
                      <a:pt x="291756" y="323843"/>
                    </a:cubicBezTo>
                    <a:cubicBezTo>
                      <a:pt x="232701" y="397503"/>
                      <a:pt x="134911" y="398772"/>
                      <a:pt x="48551" y="398772"/>
                    </a:cubicBezTo>
                    <a:cubicBezTo>
                      <a:pt x="926" y="373372"/>
                      <a:pt x="31406" y="246372"/>
                      <a:pt x="16166" y="193668"/>
                    </a:cubicBezTo>
                    <a:cubicBezTo>
                      <a:pt x="21881" y="142868"/>
                      <a:pt x="-23839" y="59047"/>
                      <a:pt x="17436" y="23488"/>
                    </a:cubicBezTo>
                    <a:cubicBezTo>
                      <a:pt x="114591" y="-33028"/>
                      <a:pt x="340016" y="13328"/>
                      <a:pt x="216826" y="153028"/>
                    </a:cubicBezTo>
                    <a:close/>
                    <a:moveTo>
                      <a:pt x="54901" y="378453"/>
                    </a:moveTo>
                    <a:cubicBezTo>
                      <a:pt x="170471" y="401313"/>
                      <a:pt x="394626" y="293997"/>
                      <a:pt x="234606" y="185413"/>
                    </a:cubicBezTo>
                    <a:cubicBezTo>
                      <a:pt x="203491" y="168903"/>
                      <a:pt x="153326" y="198747"/>
                      <a:pt x="133006" y="175253"/>
                    </a:cubicBezTo>
                    <a:cubicBezTo>
                      <a:pt x="144436" y="149218"/>
                      <a:pt x="190791" y="149218"/>
                      <a:pt x="209206" y="125088"/>
                    </a:cubicBezTo>
                    <a:cubicBezTo>
                      <a:pt x="287946" y="16503"/>
                      <a:pt x="107606" y="-642"/>
                      <a:pt x="40296" y="38093"/>
                    </a:cubicBezTo>
                    <a:cubicBezTo>
                      <a:pt x="2831" y="52697"/>
                      <a:pt x="33311" y="106672"/>
                      <a:pt x="30136" y="137153"/>
                    </a:cubicBezTo>
                    <a:cubicBezTo>
                      <a:pt x="44741" y="218433"/>
                      <a:pt x="40931" y="297808"/>
                      <a:pt x="54901" y="37845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75" name="Google Shape;493;p8">
                <a:extLst>
                  <a:ext uri="{FF2B5EF4-FFF2-40B4-BE49-F238E27FC236}">
                    <a16:creationId xmlns:a16="http://schemas.microsoft.com/office/drawing/2014/main" id="{DD283939-C1C0-4D1F-AAA0-88CAF41FEDEF}"/>
                  </a:ext>
                </a:extLst>
              </p:cNvPr>
              <p:cNvSpPr/>
              <p:nvPr/>
            </p:nvSpPr>
            <p:spPr>
              <a:xfrm>
                <a:off x="6856211" y="3513113"/>
                <a:ext cx="129046" cy="89953"/>
              </a:xfrm>
              <a:custGeom>
                <a:avLst/>
                <a:gdLst/>
                <a:ahLst/>
                <a:cxnLst/>
                <a:rect l="l" t="t" r="r" b="b"/>
                <a:pathLst>
                  <a:path w="150053" h="104597" extrusionOk="0">
                    <a:moveTo>
                      <a:pt x="0" y="23515"/>
                    </a:moveTo>
                    <a:cubicBezTo>
                      <a:pt x="96520" y="-43160"/>
                      <a:pt x="239395" y="48280"/>
                      <a:pt x="74930" y="95905"/>
                    </a:cubicBezTo>
                    <a:cubicBezTo>
                      <a:pt x="-23495" y="118765"/>
                      <a:pt x="19685" y="97175"/>
                      <a:pt x="0" y="23515"/>
                    </a:cubicBezTo>
                    <a:close/>
                    <a:moveTo>
                      <a:pt x="92075" y="16530"/>
                    </a:moveTo>
                    <a:cubicBezTo>
                      <a:pt x="57150" y="22880"/>
                      <a:pt x="17780" y="24150"/>
                      <a:pt x="31750" y="69235"/>
                    </a:cubicBezTo>
                    <a:cubicBezTo>
                      <a:pt x="53340" y="109875"/>
                      <a:pt x="184150" y="29230"/>
                      <a:pt x="92075" y="1653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76" name="Google Shape;494;p8">
                <a:extLst>
                  <a:ext uri="{FF2B5EF4-FFF2-40B4-BE49-F238E27FC236}">
                    <a16:creationId xmlns:a16="http://schemas.microsoft.com/office/drawing/2014/main" id="{06CE7675-088B-4489-8D8A-D2CB49E3438B}"/>
                  </a:ext>
                </a:extLst>
              </p:cNvPr>
              <p:cNvSpPr/>
              <p:nvPr/>
            </p:nvSpPr>
            <p:spPr>
              <a:xfrm>
                <a:off x="6843642" y="3359143"/>
                <a:ext cx="112645" cy="75760"/>
              </a:xfrm>
              <a:custGeom>
                <a:avLst/>
                <a:gdLst/>
                <a:ahLst/>
                <a:cxnLst/>
                <a:rect l="l" t="t" r="r" b="b"/>
                <a:pathLst>
                  <a:path w="130983" h="88093" extrusionOk="0">
                    <a:moveTo>
                      <a:pt x="0" y="22716"/>
                    </a:moveTo>
                    <a:cubicBezTo>
                      <a:pt x="33020" y="8111"/>
                      <a:pt x="162560" y="-29989"/>
                      <a:pt x="123825" y="44941"/>
                    </a:cubicBezTo>
                    <a:cubicBezTo>
                      <a:pt x="67945" y="81136"/>
                      <a:pt x="0" y="130031"/>
                      <a:pt x="0" y="22716"/>
                    </a:cubicBezTo>
                    <a:close/>
                    <a:moveTo>
                      <a:pt x="34289" y="67166"/>
                    </a:moveTo>
                    <a:cubicBezTo>
                      <a:pt x="60325" y="58911"/>
                      <a:pt x="96520" y="46846"/>
                      <a:pt x="102235" y="20176"/>
                    </a:cubicBezTo>
                    <a:cubicBezTo>
                      <a:pt x="74295" y="17636"/>
                      <a:pt x="50164" y="25256"/>
                      <a:pt x="27305" y="37321"/>
                    </a:cubicBezTo>
                    <a:cubicBezTo>
                      <a:pt x="24130" y="49386"/>
                      <a:pt x="24764" y="57641"/>
                      <a:pt x="34289" y="6716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72" name="Google Shape;495;p8">
              <a:extLst>
                <a:ext uri="{FF2B5EF4-FFF2-40B4-BE49-F238E27FC236}">
                  <a16:creationId xmlns:a16="http://schemas.microsoft.com/office/drawing/2014/main" id="{21E7236C-28C6-45E6-8087-E74FA90C0FEB}"/>
                </a:ext>
              </a:extLst>
            </p:cNvPr>
            <p:cNvSpPr/>
            <p:nvPr/>
          </p:nvSpPr>
          <p:spPr>
            <a:xfrm>
              <a:off x="2776508" y="1006744"/>
              <a:ext cx="212021" cy="115156"/>
            </a:xfrm>
            <a:custGeom>
              <a:avLst/>
              <a:gdLst/>
              <a:ahLst/>
              <a:cxnLst/>
              <a:rect l="l" t="t" r="r" b="b"/>
              <a:pathLst>
                <a:path w="550703" h="299106" extrusionOk="0">
                  <a:moveTo>
                    <a:pt x="315400" y="163550"/>
                  </a:moveTo>
                  <a:cubicBezTo>
                    <a:pt x="376995" y="159105"/>
                    <a:pt x="479865" y="221335"/>
                    <a:pt x="505265" y="137515"/>
                  </a:cubicBezTo>
                  <a:cubicBezTo>
                    <a:pt x="521140" y="29565"/>
                    <a:pt x="410015" y="17500"/>
                    <a:pt x="347150" y="85445"/>
                  </a:cubicBezTo>
                  <a:cubicBezTo>
                    <a:pt x="271585" y="162915"/>
                    <a:pt x="215070" y="322300"/>
                    <a:pt x="82355" y="296265"/>
                  </a:cubicBezTo>
                  <a:cubicBezTo>
                    <a:pt x="-122750" y="216255"/>
                    <a:pt x="103945" y="13055"/>
                    <a:pt x="235390" y="104495"/>
                  </a:cubicBezTo>
                  <a:cubicBezTo>
                    <a:pt x="255075" y="120370"/>
                    <a:pt x="243645" y="141960"/>
                    <a:pt x="220150" y="127990"/>
                  </a:cubicBezTo>
                  <a:cubicBezTo>
                    <a:pt x="107120" y="72745"/>
                    <a:pt x="-35755" y="251180"/>
                    <a:pt x="118550" y="248640"/>
                  </a:cubicBezTo>
                  <a:cubicBezTo>
                    <a:pt x="248725" y="211810"/>
                    <a:pt x="274760" y="49885"/>
                    <a:pt x="402395" y="9245"/>
                  </a:cubicBezTo>
                  <a:cubicBezTo>
                    <a:pt x="433510" y="1625"/>
                    <a:pt x="474785" y="-10440"/>
                    <a:pt x="498280" y="17500"/>
                  </a:cubicBezTo>
                  <a:cubicBezTo>
                    <a:pt x="519235" y="48615"/>
                    <a:pt x="559240" y="75920"/>
                    <a:pt x="549080" y="117830"/>
                  </a:cubicBezTo>
                  <a:cubicBezTo>
                    <a:pt x="541460" y="223240"/>
                    <a:pt x="350325" y="257530"/>
                    <a:pt x="315400" y="163550"/>
                  </a:cubicBezTo>
                  <a:close/>
                  <a:moveTo>
                    <a:pt x="128710" y="265785"/>
                  </a:moveTo>
                  <a:cubicBezTo>
                    <a:pt x="119820" y="279120"/>
                    <a:pt x="105215" y="267055"/>
                    <a:pt x="94420" y="274040"/>
                  </a:cubicBezTo>
                  <a:cubicBezTo>
                    <a:pt x="113470" y="281660"/>
                    <a:pt x="117280" y="256260"/>
                    <a:pt x="133790" y="268960"/>
                  </a:cubicBezTo>
                  <a:cubicBezTo>
                    <a:pt x="135060" y="268960"/>
                    <a:pt x="136330" y="267690"/>
                    <a:pt x="137600" y="267055"/>
                  </a:cubicBezTo>
                  <a:cubicBezTo>
                    <a:pt x="134425" y="266420"/>
                    <a:pt x="131885" y="266420"/>
                    <a:pt x="128710" y="265785"/>
                  </a:cubicBezTo>
                  <a:close/>
                  <a:moveTo>
                    <a:pt x="39175" y="164820"/>
                  </a:moveTo>
                  <a:cubicBezTo>
                    <a:pt x="11870" y="209270"/>
                    <a:pt x="25205" y="257530"/>
                    <a:pt x="65210" y="265150"/>
                  </a:cubicBezTo>
                  <a:cubicBezTo>
                    <a:pt x="34730" y="237210"/>
                    <a:pt x="20125" y="205460"/>
                    <a:pt x="39175" y="16482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73" name="Google Shape;496;p8">
              <a:extLst>
                <a:ext uri="{FF2B5EF4-FFF2-40B4-BE49-F238E27FC236}">
                  <a16:creationId xmlns:a16="http://schemas.microsoft.com/office/drawing/2014/main" id="{6FADD83F-EF24-4726-8620-1117DA45F1AF}"/>
                </a:ext>
              </a:extLst>
            </p:cNvPr>
            <p:cNvSpPr/>
            <p:nvPr/>
          </p:nvSpPr>
          <p:spPr>
            <a:xfrm rot="1466637">
              <a:off x="5246242" y="579297"/>
              <a:ext cx="132710" cy="129208"/>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spTree>
    <p:extLst>
      <p:ext uri="{BB962C8B-B14F-4D97-AF65-F5344CB8AC3E}">
        <p14:creationId xmlns:p14="http://schemas.microsoft.com/office/powerpoint/2010/main" val="36694395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Arrow: Pentagon 36">
            <a:extLst>
              <a:ext uri="{FF2B5EF4-FFF2-40B4-BE49-F238E27FC236}">
                <a16:creationId xmlns:a16="http://schemas.microsoft.com/office/drawing/2014/main" id="{EE76B155-601E-4E9E-A0EB-730F740C6A9A}"/>
              </a:ext>
            </a:extLst>
          </p:cNvPr>
          <p:cNvSpPr/>
          <p:nvPr/>
        </p:nvSpPr>
        <p:spPr>
          <a:xfrm>
            <a:off x="304225" y="4169159"/>
            <a:ext cx="3485533" cy="461665"/>
          </a:xfrm>
          <a:prstGeom prst="homePlate">
            <a:avLst/>
          </a:prstGeom>
          <a:solidFill>
            <a:srgbClr val="BD9AD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34" name="Arrow: Pentagon 33">
            <a:extLst>
              <a:ext uri="{FF2B5EF4-FFF2-40B4-BE49-F238E27FC236}">
                <a16:creationId xmlns:a16="http://schemas.microsoft.com/office/drawing/2014/main" id="{B7BB2699-0713-46AF-9480-FB9435F6CF72}"/>
              </a:ext>
            </a:extLst>
          </p:cNvPr>
          <p:cNvSpPr/>
          <p:nvPr/>
        </p:nvSpPr>
        <p:spPr>
          <a:xfrm>
            <a:off x="304225" y="3533774"/>
            <a:ext cx="3497715" cy="461665"/>
          </a:xfrm>
          <a:prstGeom prst="homePlate">
            <a:avLst/>
          </a:prstGeom>
          <a:solidFill>
            <a:srgbClr val="F3805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6" name="Arrow: Pentagon 5">
            <a:extLst>
              <a:ext uri="{FF2B5EF4-FFF2-40B4-BE49-F238E27FC236}">
                <a16:creationId xmlns:a16="http://schemas.microsoft.com/office/drawing/2014/main" id="{940D2031-D839-4ACD-B434-A16EEA774A26}"/>
              </a:ext>
            </a:extLst>
          </p:cNvPr>
          <p:cNvSpPr/>
          <p:nvPr/>
        </p:nvSpPr>
        <p:spPr>
          <a:xfrm>
            <a:off x="304225" y="2898389"/>
            <a:ext cx="3485535" cy="461665"/>
          </a:xfrm>
          <a:prstGeom prst="homePlat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3" name="Arrow: Pentagon 2">
            <a:extLst>
              <a:ext uri="{FF2B5EF4-FFF2-40B4-BE49-F238E27FC236}">
                <a16:creationId xmlns:a16="http://schemas.microsoft.com/office/drawing/2014/main" id="{A5F771F5-8D43-43E7-819E-C723475EB6D5}"/>
              </a:ext>
            </a:extLst>
          </p:cNvPr>
          <p:cNvSpPr/>
          <p:nvPr/>
        </p:nvSpPr>
        <p:spPr>
          <a:xfrm>
            <a:off x="304226" y="2263004"/>
            <a:ext cx="3485539" cy="461665"/>
          </a:xfrm>
          <a:prstGeom prst="homePlate">
            <a:avLst/>
          </a:prstGeom>
          <a:solidFill>
            <a:srgbClr val="95D34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graphicFrame>
        <p:nvGraphicFramePr>
          <p:cNvPr id="5" name="Object 4" hidden="1">
            <a:extLst>
              <a:ext uri="{FF2B5EF4-FFF2-40B4-BE49-F238E27FC236}">
                <a16:creationId xmlns:a16="http://schemas.microsoft.com/office/drawing/2014/main" id="{89209629-4037-4725-B7FD-E1ED27DECE23}"/>
              </a:ext>
            </a:extLst>
          </p:cNvPr>
          <p:cNvGraphicFramePr>
            <a:graphicFrameLocks noChangeAspect="1"/>
          </p:cNvGraphicFramePr>
          <p:nvPr>
            <p:custDataLst>
              <p:tags r:id="rId1"/>
            </p:custDataLst>
            <p:extLst>
              <p:ext uri="{D42A27DB-BD31-4B8C-83A1-F6EECF244321}">
                <p14:modId xmlns:p14="http://schemas.microsoft.com/office/powerpoint/2010/main" val="1411669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89209629-4037-4725-B7FD-E1ED27DECE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Graphic 17" descr="Clipboard with solid fill">
            <a:extLst>
              <a:ext uri="{FF2B5EF4-FFF2-40B4-BE49-F238E27FC236}">
                <a16:creationId xmlns:a16="http://schemas.microsoft.com/office/drawing/2014/main" id="{AC193279-C673-425D-BF01-1E49FA20B59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4557" y="2265581"/>
            <a:ext cx="429105" cy="429105"/>
          </a:xfrm>
          <a:prstGeom prst="rect">
            <a:avLst/>
          </a:prstGeom>
        </p:spPr>
      </p:pic>
      <p:sp>
        <p:nvSpPr>
          <p:cNvPr id="19" name="Google Shape;843;p29">
            <a:extLst>
              <a:ext uri="{FF2B5EF4-FFF2-40B4-BE49-F238E27FC236}">
                <a16:creationId xmlns:a16="http://schemas.microsoft.com/office/drawing/2014/main" id="{B260FAD9-853C-44DB-9AE7-16AA27A9773C}"/>
              </a:ext>
            </a:extLst>
          </p:cNvPr>
          <p:cNvSpPr/>
          <p:nvPr/>
        </p:nvSpPr>
        <p:spPr>
          <a:xfrm>
            <a:off x="11591638" y="0"/>
            <a:ext cx="631458" cy="1019120"/>
          </a:xfrm>
          <a:prstGeom prst="rect">
            <a:avLst/>
          </a:prstGeom>
          <a:solidFill>
            <a:schemeClr val="accent2"/>
          </a:solidFill>
          <a:ln>
            <a:noFill/>
          </a:ln>
        </p:spPr>
        <p:txBody>
          <a:bodyPr spcFirstLastPara="1" wrap="square" lIns="91425" tIns="91425" rIns="91425" bIns="91425" anchor="ctr" anchorCtr="0">
            <a:noAutofit/>
          </a:bodyPr>
          <a:lstStyle/>
          <a:p>
            <a:pPr marL="0" lvl="0" indent="0" algn="ctr">
              <a:spcBef>
                <a:spcPts val="0"/>
              </a:spcBef>
              <a:spcAft>
                <a:spcPts val="0"/>
              </a:spcAft>
              <a:buNone/>
            </a:pPr>
            <a:endParaRPr lang="da-DK" sz="2400">
              <a:latin typeface="Amatic SC"/>
              <a:ea typeface="Amatic SC"/>
              <a:cs typeface="Amatic SC"/>
              <a:sym typeface="Amatic SC"/>
            </a:endParaRPr>
          </a:p>
        </p:txBody>
      </p:sp>
      <p:sp>
        <p:nvSpPr>
          <p:cNvPr id="20" name="Google Shape;846;p29">
            <a:extLst>
              <a:ext uri="{FF2B5EF4-FFF2-40B4-BE49-F238E27FC236}">
                <a16:creationId xmlns:a16="http://schemas.microsoft.com/office/drawing/2014/main" id="{67EDFF3B-E6FA-4AA2-AEC5-3823EEC7E395}"/>
              </a:ext>
            </a:extLst>
          </p:cNvPr>
          <p:cNvSpPr/>
          <p:nvPr/>
        </p:nvSpPr>
        <p:spPr>
          <a:xfrm>
            <a:off x="0" y="370"/>
            <a:ext cx="12192000" cy="1019120"/>
          </a:xfrm>
          <a:prstGeom prst="homePlate">
            <a:avLst>
              <a:gd name="adj" fmla="val 50000"/>
            </a:avLst>
          </a:prstGeom>
          <a:solidFill>
            <a:schemeClr val="accent2"/>
          </a:solidFill>
          <a:ln>
            <a:noFill/>
          </a:ln>
        </p:spPr>
        <p:txBody>
          <a:bodyPr spcFirstLastPara="1" wrap="square" lIns="396000" tIns="91425" rIns="91425" bIns="91425" anchor="ctr" anchorCtr="0">
            <a:noAutofit/>
          </a:bodyPr>
          <a:lstStyle/>
          <a:p>
            <a:pPr marL="0" lvl="0" indent="0">
              <a:spcBef>
                <a:spcPts val="0"/>
              </a:spcBef>
              <a:spcAft>
                <a:spcPts val="0"/>
              </a:spcAft>
              <a:buNone/>
            </a:pPr>
            <a:endParaRPr lang="da-DK" sz="3600">
              <a:latin typeface="Amatic SC"/>
              <a:ea typeface="Amatic SC"/>
              <a:cs typeface="Amatic SC"/>
              <a:sym typeface="Amatic SC"/>
            </a:endParaRPr>
          </a:p>
        </p:txBody>
      </p:sp>
      <p:sp>
        <p:nvSpPr>
          <p:cNvPr id="2" name="Title 1">
            <a:extLst>
              <a:ext uri="{FF2B5EF4-FFF2-40B4-BE49-F238E27FC236}">
                <a16:creationId xmlns:a16="http://schemas.microsoft.com/office/drawing/2014/main" id="{ACACAE98-99B6-457D-AB67-87FFF2F1196F}"/>
              </a:ext>
            </a:extLst>
          </p:cNvPr>
          <p:cNvSpPr>
            <a:spLocks noGrp="1"/>
          </p:cNvSpPr>
          <p:nvPr>
            <p:ph type="title"/>
          </p:nvPr>
        </p:nvSpPr>
        <p:spPr>
          <a:xfrm>
            <a:off x="1897559" y="179872"/>
            <a:ext cx="8396881" cy="936000"/>
          </a:xfrm>
        </p:spPr>
        <p:txBody>
          <a:bodyPr vert="horz"/>
          <a:lstStyle/>
          <a:p>
            <a:r>
              <a:rPr lang="da-DK" sz="4400" b="1">
                <a:solidFill>
                  <a:schemeClr val="bg1"/>
                </a:solidFill>
                <a:latin typeface="Amatic SC" panose="00000500000000000000" pitchFamily="2" charset="-79"/>
                <a:cs typeface="Amatic SC" panose="00000500000000000000" pitchFamily="2" charset="-79"/>
              </a:rPr>
              <a:t>Oversigt over evalueringens aktiviteter og tidsplan</a:t>
            </a:r>
          </a:p>
        </p:txBody>
      </p:sp>
      <p:sp>
        <p:nvSpPr>
          <p:cNvPr id="45" name="TextBox 44">
            <a:extLst>
              <a:ext uri="{FF2B5EF4-FFF2-40B4-BE49-F238E27FC236}">
                <a16:creationId xmlns:a16="http://schemas.microsoft.com/office/drawing/2014/main" id="{6887C4A8-B97B-47EA-86DD-46ED4B712A13}"/>
              </a:ext>
            </a:extLst>
          </p:cNvPr>
          <p:cNvSpPr txBox="1"/>
          <p:nvPr/>
        </p:nvSpPr>
        <p:spPr>
          <a:xfrm>
            <a:off x="296916" y="1361928"/>
            <a:ext cx="3485533" cy="429105"/>
          </a:xfrm>
          <a:prstGeom prst="rect">
            <a:avLst/>
          </a:prstGeom>
          <a:solidFill>
            <a:schemeClr val="accent2"/>
          </a:solidFill>
          <a:ln w="28575">
            <a:solidFill>
              <a:schemeClr val="accent2"/>
            </a:solidFill>
          </a:ln>
        </p:spPr>
        <p:txBody>
          <a:bodyPr wrap="square" lIns="0" tIns="0" rIns="0" bIns="0" rtlCol="0" anchor="ctr">
            <a:noAutofit/>
          </a:bodyPr>
          <a:lstStyle/>
          <a:p>
            <a:pPr algn="ctr"/>
            <a:r>
              <a:rPr lang="da-DK" sz="2800" b="1">
                <a:solidFill>
                  <a:schemeClr val="bg1"/>
                </a:solidFill>
                <a:latin typeface="Amatic SC" panose="00000500000000000000" pitchFamily="2" charset="-79"/>
                <a:cs typeface="Amatic SC" panose="00000500000000000000" pitchFamily="2" charset="-79"/>
              </a:rPr>
              <a:t>Evalueringsaktiviteter</a:t>
            </a:r>
            <a:endParaRPr lang="da-DK" sz="2400" b="1">
              <a:solidFill>
                <a:schemeClr val="bg1"/>
              </a:solidFill>
              <a:latin typeface="Amatic SC" panose="00000500000000000000" pitchFamily="2" charset="-79"/>
              <a:cs typeface="Amatic SC" panose="00000500000000000000" pitchFamily="2" charset="-79"/>
            </a:endParaRPr>
          </a:p>
        </p:txBody>
      </p:sp>
      <p:pic>
        <p:nvPicPr>
          <p:cNvPr id="48" name="Graphic 47" descr="Schoolhouse with solid fill">
            <a:extLst>
              <a:ext uri="{FF2B5EF4-FFF2-40B4-BE49-F238E27FC236}">
                <a16:creationId xmlns:a16="http://schemas.microsoft.com/office/drawing/2014/main" id="{CB500B05-3CA9-4E33-AACD-FD9BF1F6F07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5299" y="2908838"/>
            <a:ext cx="427621" cy="427621"/>
          </a:xfrm>
          <a:prstGeom prst="rect">
            <a:avLst/>
          </a:prstGeom>
        </p:spPr>
      </p:pic>
      <p:pic>
        <p:nvPicPr>
          <p:cNvPr id="49" name="Content Placeholder 15" descr="Customer review with solid fill">
            <a:extLst>
              <a:ext uri="{FF2B5EF4-FFF2-40B4-BE49-F238E27FC236}">
                <a16:creationId xmlns:a16="http://schemas.microsoft.com/office/drawing/2014/main" id="{F661F3B2-DD4B-4B84-A31C-5F7E664F119C}"/>
              </a:ext>
            </a:extLst>
          </p:cNvPr>
          <p:cNvPicPr>
            <a:picLocks noGrp="1" noChangeAspect="1"/>
          </p:cNvPicPr>
          <p:nvPr>
            <p:ph idx="1"/>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05299" y="3582567"/>
            <a:ext cx="427621" cy="427621"/>
          </a:xfrm>
        </p:spPr>
      </p:pic>
      <p:sp>
        <p:nvSpPr>
          <p:cNvPr id="56" name="TextBox 55">
            <a:extLst>
              <a:ext uri="{FF2B5EF4-FFF2-40B4-BE49-F238E27FC236}">
                <a16:creationId xmlns:a16="http://schemas.microsoft.com/office/drawing/2014/main" id="{B730520B-02EE-4526-AACF-783EC6EB42DE}"/>
              </a:ext>
            </a:extLst>
          </p:cNvPr>
          <p:cNvSpPr txBox="1"/>
          <p:nvPr/>
        </p:nvSpPr>
        <p:spPr>
          <a:xfrm>
            <a:off x="791028" y="2263795"/>
            <a:ext cx="2786870" cy="461665"/>
          </a:xfrm>
          <a:prstGeom prst="rect">
            <a:avLst/>
          </a:prstGeom>
          <a:noFill/>
        </p:spPr>
        <p:txBody>
          <a:bodyPr wrap="square" lIns="0" tIns="0" rIns="0" bIns="0" rtlCol="0">
            <a:spAutoFit/>
          </a:bodyPr>
          <a:lstStyle/>
          <a:p>
            <a:pPr defTabSz="457200" eaLnBrk="0" hangingPunct="0">
              <a:spcAft>
                <a:spcPts val="0"/>
              </a:spcAft>
              <a:defRPr/>
            </a:pPr>
            <a:r>
              <a:rPr lang="da-DK" sz="1000" b="1">
                <a:solidFill>
                  <a:srgbClr val="333333"/>
                </a:solidFill>
                <a:latin typeface="Quicksand" panose="020B0604020202020204"/>
                <a:ea typeface="Verdana" pitchFamily="34" charset="0"/>
                <a:cs typeface="Verdana" pitchFamily="34" charset="0"/>
              </a:rPr>
              <a:t>Spørgeskemaundersøgelse </a:t>
            </a:r>
            <a:r>
              <a:rPr lang="da-DK" sz="1000">
                <a:solidFill>
                  <a:srgbClr val="333333"/>
                </a:solidFill>
                <a:latin typeface="Quicksand" panose="020B0604020202020204"/>
                <a:ea typeface="Verdana" pitchFamily="34" charset="0"/>
                <a:cs typeface="Verdana" pitchFamily="34" charset="0"/>
              </a:rPr>
              <a:t>blandt pædagogisk personale på alle skoler med fokus på holdning til og mestring af inklusion, samarbejde og organisering</a:t>
            </a:r>
          </a:p>
        </p:txBody>
      </p:sp>
      <p:sp>
        <p:nvSpPr>
          <p:cNvPr id="57" name="TextBox 56">
            <a:extLst>
              <a:ext uri="{FF2B5EF4-FFF2-40B4-BE49-F238E27FC236}">
                <a16:creationId xmlns:a16="http://schemas.microsoft.com/office/drawing/2014/main" id="{1B199786-69D0-4AB2-8127-A2165BFB321F}"/>
              </a:ext>
            </a:extLst>
          </p:cNvPr>
          <p:cNvSpPr txBox="1"/>
          <p:nvPr/>
        </p:nvSpPr>
        <p:spPr>
          <a:xfrm>
            <a:off x="798427" y="2968759"/>
            <a:ext cx="2779471" cy="307777"/>
          </a:xfrm>
          <a:prstGeom prst="rect">
            <a:avLst/>
          </a:prstGeom>
          <a:noFill/>
        </p:spPr>
        <p:txBody>
          <a:bodyPr wrap="square" lIns="0" tIns="0" rIns="0" bIns="0" rtlCol="0">
            <a:spAutoFit/>
          </a:bodyPr>
          <a:lstStyle/>
          <a:p>
            <a:pPr defTabSz="457200" eaLnBrk="0" hangingPunct="0">
              <a:defRPr/>
            </a:pPr>
            <a:r>
              <a:rPr lang="da-DK" sz="1000" b="1" err="1">
                <a:solidFill>
                  <a:srgbClr val="333333"/>
                </a:solidFill>
                <a:latin typeface="Quicksand" panose="020B0604020202020204"/>
                <a:ea typeface="Verdana" pitchFamily="34" charset="0"/>
                <a:cs typeface="Verdana" pitchFamily="34" charset="0"/>
              </a:rPr>
              <a:t>Casebesøg</a:t>
            </a:r>
            <a:r>
              <a:rPr lang="da-DK" sz="1000" b="1">
                <a:solidFill>
                  <a:srgbClr val="333333"/>
                </a:solidFill>
                <a:latin typeface="Quicksand" panose="020B0604020202020204"/>
                <a:ea typeface="Verdana" pitchFamily="34" charset="0"/>
                <a:cs typeface="Verdana" pitchFamily="34" charset="0"/>
              </a:rPr>
              <a:t> </a:t>
            </a:r>
            <a:r>
              <a:rPr lang="da-DK" sz="1000">
                <a:solidFill>
                  <a:srgbClr val="333333"/>
                </a:solidFill>
                <a:latin typeface="Quicksand" panose="020B0604020202020204"/>
                <a:ea typeface="Verdana" pitchFamily="34" charset="0"/>
                <a:cs typeface="Verdana" pitchFamily="34" charset="0"/>
              </a:rPr>
              <a:t>i seks udvalgte kommuner med observation af undervisning, workshops og interviews</a:t>
            </a:r>
            <a:endParaRPr lang="da-DK" sz="1000" b="1">
              <a:solidFill>
                <a:srgbClr val="333333"/>
              </a:solidFill>
              <a:latin typeface="Quicksand" panose="020B0604020202020204"/>
              <a:ea typeface="Verdana" pitchFamily="34" charset="0"/>
              <a:cs typeface="Verdana" pitchFamily="34" charset="0"/>
            </a:endParaRPr>
          </a:p>
        </p:txBody>
      </p:sp>
      <p:sp>
        <p:nvSpPr>
          <p:cNvPr id="58" name="TextBox 57">
            <a:extLst>
              <a:ext uri="{FF2B5EF4-FFF2-40B4-BE49-F238E27FC236}">
                <a16:creationId xmlns:a16="http://schemas.microsoft.com/office/drawing/2014/main" id="{CF8077A2-04E5-4E36-8440-4E1D9CE71015}"/>
              </a:ext>
            </a:extLst>
          </p:cNvPr>
          <p:cNvSpPr txBox="1"/>
          <p:nvPr/>
        </p:nvSpPr>
        <p:spPr>
          <a:xfrm>
            <a:off x="766664" y="3622438"/>
            <a:ext cx="2811234" cy="307777"/>
          </a:xfrm>
          <a:prstGeom prst="rect">
            <a:avLst/>
          </a:prstGeom>
          <a:noFill/>
        </p:spPr>
        <p:txBody>
          <a:bodyPr wrap="square" lIns="0" tIns="0" rIns="0" bIns="0" rtlCol="0">
            <a:spAutoFit/>
          </a:bodyPr>
          <a:lstStyle/>
          <a:p>
            <a:pPr marR="0" lvl="0" defTabSz="457200" rtl="0" eaLnBrk="0" fontAlgn="base" latinLnBrk="0" hangingPunct="0">
              <a:lnSpc>
                <a:spcPct val="100000"/>
              </a:lnSpc>
              <a:spcBef>
                <a:spcPct val="0"/>
              </a:spcBef>
              <a:spcAft>
                <a:spcPts val="0"/>
              </a:spcAft>
              <a:buClrTx/>
              <a:buSzTx/>
              <a:tabLst/>
              <a:defRPr/>
            </a:pPr>
            <a:r>
              <a:rPr lang="da-DK" sz="1000" b="1">
                <a:solidFill>
                  <a:srgbClr val="333333"/>
                </a:solidFill>
                <a:latin typeface="Quicksand" panose="020B0604020202020204"/>
                <a:ea typeface="Verdana" pitchFamily="34" charset="0"/>
                <a:cs typeface="Verdana" pitchFamily="34" charset="0"/>
              </a:rPr>
              <a:t>Dialogværktøj til ledere og pædagogisk personale</a:t>
            </a:r>
            <a:r>
              <a:rPr lang="da-DK" sz="1000">
                <a:solidFill>
                  <a:srgbClr val="333333"/>
                </a:solidFill>
                <a:latin typeface="Quicksand" panose="020B0604020202020204"/>
                <a:ea typeface="Verdana" pitchFamily="34" charset="0"/>
                <a:cs typeface="Verdana" pitchFamily="34" charset="0"/>
              </a:rPr>
              <a:t>, der understøtter en refleksiv praksis</a:t>
            </a:r>
          </a:p>
        </p:txBody>
      </p:sp>
      <p:cxnSp>
        <p:nvCxnSpPr>
          <p:cNvPr id="171" name="Straight Connector 170">
            <a:extLst>
              <a:ext uri="{FF2B5EF4-FFF2-40B4-BE49-F238E27FC236}">
                <a16:creationId xmlns:a16="http://schemas.microsoft.com/office/drawing/2014/main" id="{66EEAD2C-87A2-4211-9A9A-7C9CC6D012BF}"/>
              </a:ext>
            </a:extLst>
          </p:cNvPr>
          <p:cNvCxnSpPr>
            <a:cxnSpLocks/>
          </p:cNvCxnSpPr>
          <p:nvPr/>
        </p:nvCxnSpPr>
        <p:spPr>
          <a:xfrm>
            <a:off x="6668786" y="2002396"/>
            <a:ext cx="0" cy="2843923"/>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73" name="Google Shape;1020;p40">
            <a:extLst>
              <a:ext uri="{FF2B5EF4-FFF2-40B4-BE49-F238E27FC236}">
                <a16:creationId xmlns:a16="http://schemas.microsoft.com/office/drawing/2014/main" id="{75436E45-FC46-422A-9D69-8963386AF554}"/>
              </a:ext>
            </a:extLst>
          </p:cNvPr>
          <p:cNvSpPr txBox="1"/>
          <p:nvPr/>
        </p:nvSpPr>
        <p:spPr>
          <a:xfrm>
            <a:off x="3922376" y="2007748"/>
            <a:ext cx="656808" cy="209041"/>
          </a:xfrm>
          <a:prstGeom prst="rect">
            <a:avLst/>
          </a:prstGeom>
          <a:noFill/>
          <a:ln>
            <a:noFill/>
          </a:ln>
        </p:spPr>
        <p:txBody>
          <a:bodyPr spcFirstLastPara="1" wrap="square" lIns="0" tIns="0" rIns="0" bIns="0" anchor="t" anchorCtr="0">
            <a:noAutofit/>
          </a:bodyPr>
          <a:lstStyle/>
          <a:p>
            <a:pPr algn="ctr">
              <a:buClr>
                <a:srgbClr val="000000"/>
              </a:buClr>
              <a:buFont typeface="Arial"/>
              <a:buNone/>
            </a:pPr>
            <a:r>
              <a:rPr lang="da-DK" sz="1600" b="1" kern="0">
                <a:solidFill>
                  <a:schemeClr val="accent2"/>
                </a:solidFill>
                <a:latin typeface="Quicksand"/>
                <a:ea typeface="Quicksand"/>
                <a:cs typeface="Quicksand"/>
                <a:sym typeface="Quicksand"/>
              </a:rPr>
              <a:t>2023</a:t>
            </a:r>
          </a:p>
        </p:txBody>
      </p:sp>
      <p:sp>
        <p:nvSpPr>
          <p:cNvPr id="174" name="Google Shape;1020;p40">
            <a:extLst>
              <a:ext uri="{FF2B5EF4-FFF2-40B4-BE49-F238E27FC236}">
                <a16:creationId xmlns:a16="http://schemas.microsoft.com/office/drawing/2014/main" id="{147C1725-64F3-4376-8C3A-2AA709F791B5}"/>
              </a:ext>
            </a:extLst>
          </p:cNvPr>
          <p:cNvSpPr txBox="1"/>
          <p:nvPr/>
        </p:nvSpPr>
        <p:spPr>
          <a:xfrm>
            <a:off x="6836959" y="1948188"/>
            <a:ext cx="663500" cy="268601"/>
          </a:xfrm>
          <a:prstGeom prst="rect">
            <a:avLst/>
          </a:prstGeom>
          <a:noFill/>
          <a:ln>
            <a:noFill/>
          </a:ln>
        </p:spPr>
        <p:txBody>
          <a:bodyPr spcFirstLastPara="1" wrap="square" lIns="0" tIns="0" rIns="0" bIns="0" anchor="t" anchorCtr="0">
            <a:noAutofit/>
          </a:bodyPr>
          <a:lstStyle/>
          <a:p>
            <a:pPr algn="ctr">
              <a:buClr>
                <a:srgbClr val="000000"/>
              </a:buClr>
              <a:buFont typeface="Arial"/>
              <a:buNone/>
            </a:pPr>
            <a:r>
              <a:rPr lang="da-DK" sz="1600" b="1" kern="0">
                <a:solidFill>
                  <a:schemeClr val="accent2"/>
                </a:solidFill>
                <a:latin typeface="Quicksand"/>
                <a:ea typeface="Quicksand"/>
                <a:cs typeface="Quicksand"/>
                <a:sym typeface="Quicksand"/>
              </a:rPr>
              <a:t>2024</a:t>
            </a:r>
          </a:p>
        </p:txBody>
      </p:sp>
      <p:cxnSp>
        <p:nvCxnSpPr>
          <p:cNvPr id="46" name="Straight Connector 45">
            <a:extLst>
              <a:ext uri="{FF2B5EF4-FFF2-40B4-BE49-F238E27FC236}">
                <a16:creationId xmlns:a16="http://schemas.microsoft.com/office/drawing/2014/main" id="{44576D5D-9C7D-4D9B-99AE-2C7AD7E0D69D}"/>
              </a:ext>
            </a:extLst>
          </p:cNvPr>
          <p:cNvCxnSpPr>
            <a:cxnSpLocks/>
          </p:cNvCxnSpPr>
          <p:nvPr/>
        </p:nvCxnSpPr>
        <p:spPr>
          <a:xfrm>
            <a:off x="3801941" y="2050292"/>
            <a:ext cx="0" cy="2748129"/>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01F87743-07CE-42D4-BBA8-2A302CC08C66}"/>
              </a:ext>
            </a:extLst>
          </p:cNvPr>
          <p:cNvSpPr txBox="1"/>
          <p:nvPr/>
        </p:nvSpPr>
        <p:spPr>
          <a:xfrm>
            <a:off x="767142" y="4229080"/>
            <a:ext cx="2810756" cy="307777"/>
          </a:xfrm>
          <a:prstGeom prst="rect">
            <a:avLst/>
          </a:prstGeom>
          <a:noFill/>
        </p:spPr>
        <p:txBody>
          <a:bodyPr wrap="square" lIns="0" tIns="0" rIns="0" bIns="0" rtlCol="0">
            <a:spAutoFit/>
          </a:bodyPr>
          <a:lstStyle/>
          <a:p>
            <a:pPr marR="0" lvl="0" defTabSz="457200" rtl="0" eaLnBrk="0" fontAlgn="base" latinLnBrk="0" hangingPunct="0">
              <a:lnSpc>
                <a:spcPct val="100000"/>
              </a:lnSpc>
              <a:spcBef>
                <a:spcPct val="0"/>
              </a:spcBef>
              <a:spcAft>
                <a:spcPts val="0"/>
              </a:spcAft>
              <a:buClrTx/>
              <a:buSzTx/>
              <a:tabLst/>
              <a:defRPr/>
            </a:pPr>
            <a:r>
              <a:rPr lang="da-DK" sz="1000" b="1">
                <a:solidFill>
                  <a:srgbClr val="333333"/>
                </a:solidFill>
                <a:latin typeface="Quicksand" panose="020B0604020202020204"/>
                <a:ea typeface="Verdana" pitchFamily="34" charset="0"/>
                <a:cs typeface="Verdana" pitchFamily="34" charset="0"/>
              </a:rPr>
              <a:t>Inspirationspakker til skolerne</a:t>
            </a:r>
            <a:r>
              <a:rPr lang="da-DK" sz="1000">
                <a:solidFill>
                  <a:srgbClr val="333333"/>
                </a:solidFill>
                <a:latin typeface="Quicksand" panose="020B0604020202020204"/>
                <a:ea typeface="Verdana" pitchFamily="34" charset="0"/>
                <a:cs typeface="Verdana" pitchFamily="34" charset="0"/>
              </a:rPr>
              <a:t>, der skaber tilbageløb fra evaluering til praksisudvikling</a:t>
            </a:r>
          </a:p>
        </p:txBody>
      </p:sp>
      <p:pic>
        <p:nvPicPr>
          <p:cNvPr id="4" name="Graphic 3" descr="Document with solid fill">
            <a:extLst>
              <a:ext uri="{FF2B5EF4-FFF2-40B4-BE49-F238E27FC236}">
                <a16:creationId xmlns:a16="http://schemas.microsoft.com/office/drawing/2014/main" id="{31CCCF25-7D36-48BD-BBFC-4362D898082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05299" y="4169159"/>
            <a:ext cx="427621" cy="427621"/>
          </a:xfrm>
          <a:prstGeom prst="rect">
            <a:avLst/>
          </a:prstGeom>
        </p:spPr>
      </p:pic>
      <p:grpSp>
        <p:nvGrpSpPr>
          <p:cNvPr id="47" name="Group 46">
            <a:extLst>
              <a:ext uri="{FF2B5EF4-FFF2-40B4-BE49-F238E27FC236}">
                <a16:creationId xmlns:a16="http://schemas.microsoft.com/office/drawing/2014/main" id="{36E155D7-DC06-4134-903C-25FE76EAE410}"/>
              </a:ext>
            </a:extLst>
          </p:cNvPr>
          <p:cNvGrpSpPr/>
          <p:nvPr/>
        </p:nvGrpSpPr>
        <p:grpSpPr>
          <a:xfrm>
            <a:off x="4091078" y="2369014"/>
            <a:ext cx="1809893" cy="2169578"/>
            <a:chOff x="4080670" y="2367272"/>
            <a:chExt cx="2206350" cy="1884944"/>
          </a:xfrm>
        </p:grpSpPr>
        <p:sp>
          <p:nvSpPr>
            <p:cNvPr id="52" name="TextBox 51">
              <a:extLst>
                <a:ext uri="{FF2B5EF4-FFF2-40B4-BE49-F238E27FC236}">
                  <a16:creationId xmlns:a16="http://schemas.microsoft.com/office/drawing/2014/main" id="{87A4272B-1BCC-4450-A6C8-26C5D3B3D0EF}"/>
                </a:ext>
              </a:extLst>
            </p:cNvPr>
            <p:cNvSpPr txBox="1"/>
            <p:nvPr/>
          </p:nvSpPr>
          <p:spPr>
            <a:xfrm>
              <a:off x="4080670" y="2367272"/>
              <a:ext cx="920735" cy="233362"/>
            </a:xfrm>
            <a:prstGeom prst="rect">
              <a:avLst/>
            </a:prstGeom>
            <a:solidFill>
              <a:schemeClr val="accent2"/>
            </a:solidFill>
            <a:ln w="28575">
              <a:solidFill>
                <a:schemeClr val="accent2"/>
              </a:solidFill>
            </a:ln>
          </p:spPr>
          <p:txBody>
            <a:bodyPr wrap="square" lIns="0" tIns="0" rIns="0" bIns="0" rtlCol="0" anchor="ctr">
              <a:noAutofit/>
            </a:bodyPr>
            <a:lstStyle/>
            <a:p>
              <a:pPr algn="ctr"/>
              <a:r>
                <a:rPr lang="da-DK" sz="1200" b="1">
                  <a:solidFill>
                    <a:schemeClr val="bg1"/>
                  </a:solidFill>
                  <a:latin typeface="Amatic SC" panose="00000500000000000000" pitchFamily="2" charset="-79"/>
                  <a:cs typeface="Amatic SC" panose="00000500000000000000" pitchFamily="2" charset="-79"/>
                </a:rPr>
                <a:t>Marts</a:t>
              </a:r>
              <a:endParaRPr lang="da-DK" sz="1100" b="1">
                <a:solidFill>
                  <a:schemeClr val="bg1"/>
                </a:solidFill>
                <a:latin typeface="Amatic SC" panose="00000500000000000000" pitchFamily="2" charset="-79"/>
                <a:cs typeface="Amatic SC" panose="00000500000000000000" pitchFamily="2" charset="-79"/>
              </a:endParaRPr>
            </a:p>
          </p:txBody>
        </p:sp>
        <p:sp>
          <p:nvSpPr>
            <p:cNvPr id="53" name="TextBox 52">
              <a:extLst>
                <a:ext uri="{FF2B5EF4-FFF2-40B4-BE49-F238E27FC236}">
                  <a16:creationId xmlns:a16="http://schemas.microsoft.com/office/drawing/2014/main" id="{DFC881D0-CC1D-4757-ABC4-01BA78116D2E}"/>
                </a:ext>
              </a:extLst>
            </p:cNvPr>
            <p:cNvSpPr txBox="1"/>
            <p:nvPr/>
          </p:nvSpPr>
          <p:spPr>
            <a:xfrm>
              <a:off x="4466444" y="2924732"/>
              <a:ext cx="920735" cy="233362"/>
            </a:xfrm>
            <a:prstGeom prst="rect">
              <a:avLst/>
            </a:prstGeom>
            <a:solidFill>
              <a:schemeClr val="accent2"/>
            </a:solidFill>
            <a:ln w="28575">
              <a:solidFill>
                <a:schemeClr val="accent2"/>
              </a:solidFill>
            </a:ln>
          </p:spPr>
          <p:txBody>
            <a:bodyPr wrap="square" lIns="0" tIns="0" rIns="0" bIns="0" rtlCol="0" anchor="ctr">
              <a:noAutofit/>
            </a:bodyPr>
            <a:lstStyle/>
            <a:p>
              <a:pPr algn="ctr"/>
              <a:r>
                <a:rPr lang="da-DK" sz="1200" b="1">
                  <a:solidFill>
                    <a:schemeClr val="bg1"/>
                  </a:solidFill>
                  <a:latin typeface="Amatic SC" panose="00000500000000000000" pitchFamily="2" charset="-79"/>
                  <a:cs typeface="Amatic SC" panose="00000500000000000000" pitchFamily="2" charset="-79"/>
                </a:rPr>
                <a:t>April/MAJ</a:t>
              </a:r>
              <a:endParaRPr lang="da-DK" sz="1100" b="1">
                <a:solidFill>
                  <a:schemeClr val="bg1"/>
                </a:solidFill>
                <a:latin typeface="Amatic SC" panose="00000500000000000000" pitchFamily="2" charset="-79"/>
                <a:cs typeface="Amatic SC" panose="00000500000000000000" pitchFamily="2" charset="-79"/>
              </a:endParaRPr>
            </a:p>
          </p:txBody>
        </p:sp>
        <p:sp>
          <p:nvSpPr>
            <p:cNvPr id="54" name="TextBox 53">
              <a:extLst>
                <a:ext uri="{FF2B5EF4-FFF2-40B4-BE49-F238E27FC236}">
                  <a16:creationId xmlns:a16="http://schemas.microsoft.com/office/drawing/2014/main" id="{E1BA0466-BCC0-489B-85A4-A0689CD06DD7}"/>
                </a:ext>
              </a:extLst>
            </p:cNvPr>
            <p:cNvSpPr txBox="1"/>
            <p:nvPr/>
          </p:nvSpPr>
          <p:spPr>
            <a:xfrm>
              <a:off x="5366285" y="4018854"/>
              <a:ext cx="920735" cy="233362"/>
            </a:xfrm>
            <a:prstGeom prst="rect">
              <a:avLst/>
            </a:prstGeom>
            <a:solidFill>
              <a:schemeClr val="accent2"/>
            </a:solidFill>
            <a:ln w="28575">
              <a:solidFill>
                <a:schemeClr val="accent2"/>
              </a:solidFill>
            </a:ln>
          </p:spPr>
          <p:txBody>
            <a:bodyPr wrap="square" lIns="0" tIns="0" rIns="0" bIns="0" rtlCol="0" anchor="ctr">
              <a:noAutofit/>
            </a:bodyPr>
            <a:lstStyle/>
            <a:p>
              <a:pPr algn="ctr"/>
              <a:r>
                <a:rPr lang="da-DK" sz="1200" b="1">
                  <a:solidFill>
                    <a:schemeClr val="bg1"/>
                  </a:solidFill>
                  <a:latin typeface="Amatic SC" panose="00000500000000000000" pitchFamily="2" charset="-79"/>
                  <a:cs typeface="Amatic SC" panose="00000500000000000000" pitchFamily="2" charset="-79"/>
                </a:rPr>
                <a:t>september</a:t>
              </a:r>
              <a:endParaRPr lang="da-DK" sz="1100" b="1">
                <a:solidFill>
                  <a:schemeClr val="bg1"/>
                </a:solidFill>
                <a:latin typeface="Amatic SC" panose="00000500000000000000" pitchFamily="2" charset="-79"/>
                <a:cs typeface="Amatic SC" panose="00000500000000000000" pitchFamily="2" charset="-79"/>
              </a:endParaRPr>
            </a:p>
          </p:txBody>
        </p:sp>
        <p:sp>
          <p:nvSpPr>
            <p:cNvPr id="62" name="TextBox 61">
              <a:extLst>
                <a:ext uri="{FF2B5EF4-FFF2-40B4-BE49-F238E27FC236}">
                  <a16:creationId xmlns:a16="http://schemas.microsoft.com/office/drawing/2014/main" id="{2CAEE3AC-D420-4AEB-916D-407885792355}"/>
                </a:ext>
              </a:extLst>
            </p:cNvPr>
            <p:cNvSpPr txBox="1"/>
            <p:nvPr/>
          </p:nvSpPr>
          <p:spPr>
            <a:xfrm>
              <a:off x="4466443" y="3456397"/>
              <a:ext cx="920735" cy="233362"/>
            </a:xfrm>
            <a:prstGeom prst="rect">
              <a:avLst/>
            </a:prstGeom>
            <a:solidFill>
              <a:schemeClr val="accent2"/>
            </a:solidFill>
            <a:ln w="28575">
              <a:solidFill>
                <a:schemeClr val="accent2"/>
              </a:solidFill>
            </a:ln>
          </p:spPr>
          <p:txBody>
            <a:bodyPr wrap="square" lIns="0" tIns="0" rIns="0" bIns="0" rtlCol="0" anchor="ctr">
              <a:noAutofit/>
            </a:bodyPr>
            <a:lstStyle/>
            <a:p>
              <a:pPr algn="ctr"/>
              <a:r>
                <a:rPr lang="da-DK" sz="1200" b="1">
                  <a:solidFill>
                    <a:schemeClr val="bg1"/>
                  </a:solidFill>
                  <a:latin typeface="Amatic SC" panose="00000500000000000000" pitchFamily="2" charset="-79"/>
                  <a:cs typeface="Amatic SC" panose="00000500000000000000" pitchFamily="2" charset="-79"/>
                </a:rPr>
                <a:t>April/MAJ</a:t>
              </a:r>
              <a:endParaRPr lang="da-DK" sz="1100" b="1">
                <a:solidFill>
                  <a:schemeClr val="bg1"/>
                </a:solidFill>
                <a:latin typeface="Amatic SC" panose="00000500000000000000" pitchFamily="2" charset="-79"/>
                <a:cs typeface="Amatic SC" panose="00000500000000000000" pitchFamily="2" charset="-79"/>
              </a:endParaRPr>
            </a:p>
          </p:txBody>
        </p:sp>
      </p:grpSp>
      <p:cxnSp>
        <p:nvCxnSpPr>
          <p:cNvPr id="66" name="Straight Connector 65">
            <a:extLst>
              <a:ext uri="{FF2B5EF4-FFF2-40B4-BE49-F238E27FC236}">
                <a16:creationId xmlns:a16="http://schemas.microsoft.com/office/drawing/2014/main" id="{AD59A634-41ED-470B-BB20-5CB06DA4D3C4}"/>
              </a:ext>
            </a:extLst>
          </p:cNvPr>
          <p:cNvCxnSpPr>
            <a:cxnSpLocks/>
          </p:cNvCxnSpPr>
          <p:nvPr/>
        </p:nvCxnSpPr>
        <p:spPr>
          <a:xfrm>
            <a:off x="9480432" y="2002396"/>
            <a:ext cx="0" cy="2843923"/>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67" name="Google Shape;1020;p40">
            <a:extLst>
              <a:ext uri="{FF2B5EF4-FFF2-40B4-BE49-F238E27FC236}">
                <a16:creationId xmlns:a16="http://schemas.microsoft.com/office/drawing/2014/main" id="{7D44A3E8-66D8-4A34-A64C-52857965585B}"/>
              </a:ext>
            </a:extLst>
          </p:cNvPr>
          <p:cNvSpPr txBox="1"/>
          <p:nvPr/>
        </p:nvSpPr>
        <p:spPr>
          <a:xfrm>
            <a:off x="9630940" y="1948189"/>
            <a:ext cx="663500" cy="268601"/>
          </a:xfrm>
          <a:prstGeom prst="rect">
            <a:avLst/>
          </a:prstGeom>
          <a:noFill/>
          <a:ln>
            <a:noFill/>
          </a:ln>
        </p:spPr>
        <p:txBody>
          <a:bodyPr spcFirstLastPara="1" wrap="square" lIns="0" tIns="0" rIns="0" bIns="0" anchor="t" anchorCtr="0">
            <a:noAutofit/>
          </a:bodyPr>
          <a:lstStyle/>
          <a:p>
            <a:pPr algn="ctr">
              <a:buClr>
                <a:srgbClr val="000000"/>
              </a:buClr>
              <a:buFont typeface="Arial"/>
              <a:buNone/>
            </a:pPr>
            <a:r>
              <a:rPr lang="da-DK" sz="1600" b="1" kern="0">
                <a:solidFill>
                  <a:schemeClr val="accent2"/>
                </a:solidFill>
                <a:latin typeface="Quicksand"/>
                <a:ea typeface="Quicksand"/>
                <a:cs typeface="Quicksand"/>
                <a:sym typeface="Quicksand"/>
              </a:rPr>
              <a:t>2025</a:t>
            </a:r>
          </a:p>
        </p:txBody>
      </p:sp>
      <p:grpSp>
        <p:nvGrpSpPr>
          <p:cNvPr id="75" name="Group 74">
            <a:extLst>
              <a:ext uri="{FF2B5EF4-FFF2-40B4-BE49-F238E27FC236}">
                <a16:creationId xmlns:a16="http://schemas.microsoft.com/office/drawing/2014/main" id="{A479DE14-F51C-4609-83C6-3F03FAFF13F1}"/>
              </a:ext>
            </a:extLst>
          </p:cNvPr>
          <p:cNvGrpSpPr/>
          <p:nvPr/>
        </p:nvGrpSpPr>
        <p:grpSpPr>
          <a:xfrm>
            <a:off x="6969327" y="2369014"/>
            <a:ext cx="1809893" cy="2169578"/>
            <a:chOff x="4080670" y="2367272"/>
            <a:chExt cx="2206350" cy="1884944"/>
          </a:xfrm>
        </p:grpSpPr>
        <p:sp>
          <p:nvSpPr>
            <p:cNvPr id="76" name="TextBox 75">
              <a:extLst>
                <a:ext uri="{FF2B5EF4-FFF2-40B4-BE49-F238E27FC236}">
                  <a16:creationId xmlns:a16="http://schemas.microsoft.com/office/drawing/2014/main" id="{803ADAC2-FDD8-46DC-BEF1-F3E4CF9D673C}"/>
                </a:ext>
              </a:extLst>
            </p:cNvPr>
            <p:cNvSpPr txBox="1"/>
            <p:nvPr/>
          </p:nvSpPr>
          <p:spPr>
            <a:xfrm>
              <a:off x="4080670" y="2367272"/>
              <a:ext cx="920735" cy="233362"/>
            </a:xfrm>
            <a:prstGeom prst="rect">
              <a:avLst/>
            </a:prstGeom>
            <a:solidFill>
              <a:schemeClr val="accent2"/>
            </a:solidFill>
            <a:ln w="28575">
              <a:solidFill>
                <a:schemeClr val="accent2"/>
              </a:solidFill>
            </a:ln>
          </p:spPr>
          <p:txBody>
            <a:bodyPr wrap="square" lIns="0" tIns="0" rIns="0" bIns="0" rtlCol="0" anchor="ctr">
              <a:noAutofit/>
            </a:bodyPr>
            <a:lstStyle/>
            <a:p>
              <a:pPr algn="ctr"/>
              <a:r>
                <a:rPr lang="da-DK" sz="1200" b="1">
                  <a:solidFill>
                    <a:schemeClr val="bg1"/>
                  </a:solidFill>
                  <a:latin typeface="Amatic SC" panose="00000500000000000000" pitchFamily="2" charset="-79"/>
                  <a:cs typeface="Amatic SC" panose="00000500000000000000" pitchFamily="2" charset="-79"/>
                </a:rPr>
                <a:t>Marts</a:t>
              </a:r>
              <a:endParaRPr lang="da-DK" sz="1100" b="1">
                <a:solidFill>
                  <a:schemeClr val="bg1"/>
                </a:solidFill>
                <a:latin typeface="Amatic SC" panose="00000500000000000000" pitchFamily="2" charset="-79"/>
                <a:cs typeface="Amatic SC" panose="00000500000000000000" pitchFamily="2" charset="-79"/>
              </a:endParaRPr>
            </a:p>
          </p:txBody>
        </p:sp>
        <p:sp>
          <p:nvSpPr>
            <p:cNvPr id="77" name="TextBox 76">
              <a:extLst>
                <a:ext uri="{FF2B5EF4-FFF2-40B4-BE49-F238E27FC236}">
                  <a16:creationId xmlns:a16="http://schemas.microsoft.com/office/drawing/2014/main" id="{D9CA7D91-581D-4262-8493-9F8AD62358F9}"/>
                </a:ext>
              </a:extLst>
            </p:cNvPr>
            <p:cNvSpPr txBox="1"/>
            <p:nvPr/>
          </p:nvSpPr>
          <p:spPr>
            <a:xfrm>
              <a:off x="4466444" y="2924732"/>
              <a:ext cx="920735" cy="233362"/>
            </a:xfrm>
            <a:prstGeom prst="rect">
              <a:avLst/>
            </a:prstGeom>
            <a:solidFill>
              <a:schemeClr val="accent2"/>
            </a:solidFill>
            <a:ln w="28575">
              <a:solidFill>
                <a:schemeClr val="accent2"/>
              </a:solidFill>
            </a:ln>
          </p:spPr>
          <p:txBody>
            <a:bodyPr wrap="square" lIns="0" tIns="0" rIns="0" bIns="0" rtlCol="0" anchor="ctr">
              <a:noAutofit/>
            </a:bodyPr>
            <a:lstStyle/>
            <a:p>
              <a:pPr algn="ctr"/>
              <a:r>
                <a:rPr lang="da-DK" sz="1200" b="1">
                  <a:solidFill>
                    <a:schemeClr val="bg1"/>
                  </a:solidFill>
                  <a:latin typeface="Amatic SC" panose="00000500000000000000" pitchFamily="2" charset="-79"/>
                  <a:cs typeface="Amatic SC" panose="00000500000000000000" pitchFamily="2" charset="-79"/>
                </a:rPr>
                <a:t>April/MAJ</a:t>
              </a:r>
              <a:endParaRPr lang="da-DK" sz="1100" b="1">
                <a:solidFill>
                  <a:schemeClr val="bg1"/>
                </a:solidFill>
                <a:latin typeface="Amatic SC" panose="00000500000000000000" pitchFamily="2" charset="-79"/>
                <a:cs typeface="Amatic SC" panose="00000500000000000000" pitchFamily="2" charset="-79"/>
              </a:endParaRPr>
            </a:p>
          </p:txBody>
        </p:sp>
        <p:sp>
          <p:nvSpPr>
            <p:cNvPr id="78" name="TextBox 77">
              <a:extLst>
                <a:ext uri="{FF2B5EF4-FFF2-40B4-BE49-F238E27FC236}">
                  <a16:creationId xmlns:a16="http://schemas.microsoft.com/office/drawing/2014/main" id="{6F04B287-D2B0-4122-82BA-15B861B44A84}"/>
                </a:ext>
              </a:extLst>
            </p:cNvPr>
            <p:cNvSpPr txBox="1"/>
            <p:nvPr/>
          </p:nvSpPr>
          <p:spPr>
            <a:xfrm>
              <a:off x="5366285" y="4018854"/>
              <a:ext cx="920735" cy="233362"/>
            </a:xfrm>
            <a:prstGeom prst="rect">
              <a:avLst/>
            </a:prstGeom>
            <a:solidFill>
              <a:schemeClr val="accent2"/>
            </a:solidFill>
            <a:ln w="28575">
              <a:solidFill>
                <a:schemeClr val="accent2"/>
              </a:solidFill>
            </a:ln>
          </p:spPr>
          <p:txBody>
            <a:bodyPr wrap="square" lIns="0" tIns="0" rIns="0" bIns="0" rtlCol="0" anchor="ctr">
              <a:noAutofit/>
            </a:bodyPr>
            <a:lstStyle/>
            <a:p>
              <a:pPr algn="ctr"/>
              <a:r>
                <a:rPr lang="da-DK" sz="1200" b="1">
                  <a:solidFill>
                    <a:schemeClr val="bg1"/>
                  </a:solidFill>
                  <a:latin typeface="Amatic SC" panose="00000500000000000000" pitchFamily="2" charset="-79"/>
                  <a:cs typeface="Amatic SC" panose="00000500000000000000" pitchFamily="2" charset="-79"/>
                </a:rPr>
                <a:t>september</a:t>
              </a:r>
              <a:endParaRPr lang="da-DK" sz="1100" b="1">
                <a:solidFill>
                  <a:schemeClr val="bg1"/>
                </a:solidFill>
                <a:latin typeface="Amatic SC" panose="00000500000000000000" pitchFamily="2" charset="-79"/>
                <a:cs typeface="Amatic SC" panose="00000500000000000000" pitchFamily="2" charset="-79"/>
              </a:endParaRPr>
            </a:p>
          </p:txBody>
        </p:sp>
        <p:sp>
          <p:nvSpPr>
            <p:cNvPr id="80" name="TextBox 79">
              <a:extLst>
                <a:ext uri="{FF2B5EF4-FFF2-40B4-BE49-F238E27FC236}">
                  <a16:creationId xmlns:a16="http://schemas.microsoft.com/office/drawing/2014/main" id="{80C36513-4E40-46ED-BA63-2E7790F7380C}"/>
                </a:ext>
              </a:extLst>
            </p:cNvPr>
            <p:cNvSpPr txBox="1"/>
            <p:nvPr/>
          </p:nvSpPr>
          <p:spPr>
            <a:xfrm>
              <a:off x="4466444" y="3456396"/>
              <a:ext cx="920735" cy="233362"/>
            </a:xfrm>
            <a:prstGeom prst="rect">
              <a:avLst/>
            </a:prstGeom>
            <a:solidFill>
              <a:schemeClr val="accent2"/>
            </a:solidFill>
            <a:ln w="28575">
              <a:solidFill>
                <a:schemeClr val="accent2"/>
              </a:solidFill>
            </a:ln>
          </p:spPr>
          <p:txBody>
            <a:bodyPr wrap="square" lIns="0" tIns="0" rIns="0" bIns="0" rtlCol="0" anchor="ctr">
              <a:noAutofit/>
            </a:bodyPr>
            <a:lstStyle/>
            <a:p>
              <a:pPr algn="ctr"/>
              <a:r>
                <a:rPr lang="da-DK" sz="1200" b="1">
                  <a:solidFill>
                    <a:schemeClr val="bg1"/>
                  </a:solidFill>
                  <a:latin typeface="Amatic SC" panose="00000500000000000000" pitchFamily="2" charset="-79"/>
                  <a:cs typeface="Amatic SC" panose="00000500000000000000" pitchFamily="2" charset="-79"/>
                </a:rPr>
                <a:t>April/MAJ</a:t>
              </a:r>
              <a:endParaRPr lang="da-DK" sz="1100" b="1">
                <a:solidFill>
                  <a:schemeClr val="bg1"/>
                </a:solidFill>
                <a:latin typeface="Amatic SC" panose="00000500000000000000" pitchFamily="2" charset="-79"/>
                <a:cs typeface="Amatic SC" panose="00000500000000000000" pitchFamily="2" charset="-79"/>
              </a:endParaRPr>
            </a:p>
          </p:txBody>
        </p:sp>
      </p:grpSp>
      <p:grpSp>
        <p:nvGrpSpPr>
          <p:cNvPr id="82" name="Group 81">
            <a:extLst>
              <a:ext uri="{FF2B5EF4-FFF2-40B4-BE49-F238E27FC236}">
                <a16:creationId xmlns:a16="http://schemas.microsoft.com/office/drawing/2014/main" id="{5CD15781-A64C-4B46-A6D6-7F4FCC1E2E37}"/>
              </a:ext>
            </a:extLst>
          </p:cNvPr>
          <p:cNvGrpSpPr/>
          <p:nvPr/>
        </p:nvGrpSpPr>
        <p:grpSpPr>
          <a:xfrm>
            <a:off x="9781745" y="2369014"/>
            <a:ext cx="1809893" cy="2169578"/>
            <a:chOff x="4080670" y="2367272"/>
            <a:chExt cx="2206350" cy="1884944"/>
          </a:xfrm>
        </p:grpSpPr>
        <p:sp>
          <p:nvSpPr>
            <p:cNvPr id="83" name="TextBox 82">
              <a:extLst>
                <a:ext uri="{FF2B5EF4-FFF2-40B4-BE49-F238E27FC236}">
                  <a16:creationId xmlns:a16="http://schemas.microsoft.com/office/drawing/2014/main" id="{0CFA6106-4FF1-43BA-8F0A-546711B68616}"/>
                </a:ext>
              </a:extLst>
            </p:cNvPr>
            <p:cNvSpPr txBox="1"/>
            <p:nvPr/>
          </p:nvSpPr>
          <p:spPr>
            <a:xfrm>
              <a:off x="4080670" y="2367272"/>
              <a:ext cx="920735" cy="233362"/>
            </a:xfrm>
            <a:prstGeom prst="rect">
              <a:avLst/>
            </a:prstGeom>
            <a:solidFill>
              <a:schemeClr val="accent2"/>
            </a:solidFill>
            <a:ln w="28575">
              <a:solidFill>
                <a:schemeClr val="accent2"/>
              </a:solidFill>
            </a:ln>
          </p:spPr>
          <p:txBody>
            <a:bodyPr wrap="square" lIns="0" tIns="0" rIns="0" bIns="0" rtlCol="0" anchor="ctr">
              <a:noAutofit/>
            </a:bodyPr>
            <a:lstStyle/>
            <a:p>
              <a:pPr algn="ctr"/>
              <a:r>
                <a:rPr lang="da-DK" sz="1200" b="1">
                  <a:solidFill>
                    <a:schemeClr val="bg1"/>
                  </a:solidFill>
                  <a:latin typeface="Amatic SC" panose="00000500000000000000" pitchFamily="2" charset="-79"/>
                  <a:cs typeface="Amatic SC" panose="00000500000000000000" pitchFamily="2" charset="-79"/>
                </a:rPr>
                <a:t>Marts</a:t>
              </a:r>
              <a:endParaRPr lang="da-DK" sz="1100" b="1">
                <a:solidFill>
                  <a:schemeClr val="bg1"/>
                </a:solidFill>
                <a:latin typeface="Amatic SC" panose="00000500000000000000" pitchFamily="2" charset="-79"/>
                <a:cs typeface="Amatic SC" panose="00000500000000000000" pitchFamily="2" charset="-79"/>
              </a:endParaRPr>
            </a:p>
          </p:txBody>
        </p:sp>
        <p:sp>
          <p:nvSpPr>
            <p:cNvPr id="84" name="TextBox 83">
              <a:extLst>
                <a:ext uri="{FF2B5EF4-FFF2-40B4-BE49-F238E27FC236}">
                  <a16:creationId xmlns:a16="http://schemas.microsoft.com/office/drawing/2014/main" id="{5ED86C8A-AD5F-47CA-9EAB-8F61F73489F5}"/>
                </a:ext>
              </a:extLst>
            </p:cNvPr>
            <p:cNvSpPr txBox="1"/>
            <p:nvPr/>
          </p:nvSpPr>
          <p:spPr>
            <a:xfrm>
              <a:off x="4466444" y="2924732"/>
              <a:ext cx="920735" cy="233362"/>
            </a:xfrm>
            <a:prstGeom prst="rect">
              <a:avLst/>
            </a:prstGeom>
            <a:solidFill>
              <a:schemeClr val="accent2"/>
            </a:solidFill>
            <a:ln w="28575">
              <a:solidFill>
                <a:schemeClr val="accent2"/>
              </a:solidFill>
            </a:ln>
          </p:spPr>
          <p:txBody>
            <a:bodyPr wrap="square" lIns="0" tIns="0" rIns="0" bIns="0" rtlCol="0" anchor="ctr">
              <a:noAutofit/>
            </a:bodyPr>
            <a:lstStyle/>
            <a:p>
              <a:pPr algn="ctr"/>
              <a:r>
                <a:rPr lang="da-DK" sz="1200" b="1">
                  <a:solidFill>
                    <a:schemeClr val="bg1"/>
                  </a:solidFill>
                  <a:latin typeface="Amatic SC" panose="00000500000000000000" pitchFamily="2" charset="-79"/>
                  <a:cs typeface="Amatic SC" panose="00000500000000000000" pitchFamily="2" charset="-79"/>
                </a:rPr>
                <a:t>April/MAJ</a:t>
              </a:r>
              <a:endParaRPr lang="da-DK" sz="1100" b="1">
                <a:solidFill>
                  <a:schemeClr val="bg1"/>
                </a:solidFill>
                <a:latin typeface="Amatic SC" panose="00000500000000000000" pitchFamily="2" charset="-79"/>
                <a:cs typeface="Amatic SC" panose="00000500000000000000" pitchFamily="2" charset="-79"/>
              </a:endParaRPr>
            </a:p>
          </p:txBody>
        </p:sp>
        <p:sp>
          <p:nvSpPr>
            <p:cNvPr id="85" name="TextBox 84">
              <a:extLst>
                <a:ext uri="{FF2B5EF4-FFF2-40B4-BE49-F238E27FC236}">
                  <a16:creationId xmlns:a16="http://schemas.microsoft.com/office/drawing/2014/main" id="{F6744FE8-0A6E-41CE-9CDD-E40DBFFDC05D}"/>
                </a:ext>
              </a:extLst>
            </p:cNvPr>
            <p:cNvSpPr txBox="1"/>
            <p:nvPr/>
          </p:nvSpPr>
          <p:spPr>
            <a:xfrm>
              <a:off x="5366285" y="4018854"/>
              <a:ext cx="920735" cy="233362"/>
            </a:xfrm>
            <a:prstGeom prst="rect">
              <a:avLst/>
            </a:prstGeom>
            <a:solidFill>
              <a:schemeClr val="accent2"/>
            </a:solidFill>
            <a:ln w="28575">
              <a:solidFill>
                <a:schemeClr val="accent2"/>
              </a:solidFill>
            </a:ln>
          </p:spPr>
          <p:txBody>
            <a:bodyPr wrap="square" lIns="0" tIns="0" rIns="0" bIns="0" rtlCol="0" anchor="ctr">
              <a:noAutofit/>
            </a:bodyPr>
            <a:lstStyle/>
            <a:p>
              <a:pPr algn="ctr"/>
              <a:r>
                <a:rPr lang="da-DK" sz="1200" b="1">
                  <a:solidFill>
                    <a:schemeClr val="bg1"/>
                  </a:solidFill>
                  <a:latin typeface="Amatic SC" panose="00000500000000000000" pitchFamily="2" charset="-79"/>
                  <a:cs typeface="Amatic SC" panose="00000500000000000000" pitchFamily="2" charset="-79"/>
                </a:rPr>
                <a:t>september</a:t>
              </a:r>
              <a:endParaRPr lang="da-DK" sz="1100" b="1">
                <a:solidFill>
                  <a:schemeClr val="bg1"/>
                </a:solidFill>
                <a:latin typeface="Amatic SC" panose="00000500000000000000" pitchFamily="2" charset="-79"/>
                <a:cs typeface="Amatic SC" panose="00000500000000000000" pitchFamily="2" charset="-79"/>
              </a:endParaRPr>
            </a:p>
          </p:txBody>
        </p:sp>
        <p:sp>
          <p:nvSpPr>
            <p:cNvPr id="87" name="TextBox 86">
              <a:extLst>
                <a:ext uri="{FF2B5EF4-FFF2-40B4-BE49-F238E27FC236}">
                  <a16:creationId xmlns:a16="http://schemas.microsoft.com/office/drawing/2014/main" id="{33330833-DD38-486C-A0B9-2D65176B9309}"/>
                </a:ext>
              </a:extLst>
            </p:cNvPr>
            <p:cNvSpPr txBox="1"/>
            <p:nvPr/>
          </p:nvSpPr>
          <p:spPr>
            <a:xfrm>
              <a:off x="4466444" y="3456395"/>
              <a:ext cx="920735" cy="233362"/>
            </a:xfrm>
            <a:prstGeom prst="rect">
              <a:avLst/>
            </a:prstGeom>
            <a:solidFill>
              <a:schemeClr val="accent2"/>
            </a:solidFill>
            <a:ln w="28575">
              <a:solidFill>
                <a:schemeClr val="accent2"/>
              </a:solidFill>
            </a:ln>
          </p:spPr>
          <p:txBody>
            <a:bodyPr wrap="square" lIns="0" tIns="0" rIns="0" bIns="0" rtlCol="0" anchor="ctr">
              <a:noAutofit/>
            </a:bodyPr>
            <a:lstStyle/>
            <a:p>
              <a:pPr algn="ctr"/>
              <a:r>
                <a:rPr lang="da-DK" sz="1200" b="1">
                  <a:solidFill>
                    <a:schemeClr val="bg1"/>
                  </a:solidFill>
                  <a:latin typeface="Amatic SC" panose="00000500000000000000" pitchFamily="2" charset="-79"/>
                  <a:cs typeface="Amatic SC" panose="00000500000000000000" pitchFamily="2" charset="-79"/>
                </a:rPr>
                <a:t>April/MAJ</a:t>
              </a:r>
              <a:endParaRPr lang="da-DK" sz="1100" b="1">
                <a:solidFill>
                  <a:schemeClr val="bg1"/>
                </a:solidFill>
                <a:latin typeface="Amatic SC" panose="00000500000000000000" pitchFamily="2" charset="-79"/>
                <a:cs typeface="Amatic SC" panose="00000500000000000000" pitchFamily="2" charset="-79"/>
              </a:endParaRPr>
            </a:p>
          </p:txBody>
        </p:sp>
      </p:grpSp>
    </p:spTree>
    <p:extLst>
      <p:ext uri="{BB962C8B-B14F-4D97-AF65-F5344CB8AC3E}">
        <p14:creationId xmlns:p14="http://schemas.microsoft.com/office/powerpoint/2010/main" val="24559523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E507A71-666E-43DC-B180-527351AC62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DE507A71-666E-43DC-B180-527351AC62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Google Shape;846;p29">
            <a:extLst>
              <a:ext uri="{FF2B5EF4-FFF2-40B4-BE49-F238E27FC236}">
                <a16:creationId xmlns:a16="http://schemas.microsoft.com/office/drawing/2014/main" id="{87E2A4CF-53F1-4515-BE78-23D925C019ED}"/>
              </a:ext>
            </a:extLst>
          </p:cNvPr>
          <p:cNvSpPr/>
          <p:nvPr/>
        </p:nvSpPr>
        <p:spPr>
          <a:xfrm>
            <a:off x="0" y="370"/>
            <a:ext cx="12191999" cy="1019120"/>
          </a:xfrm>
          <a:prstGeom prst="homePlate">
            <a:avLst>
              <a:gd name="adj" fmla="val 50000"/>
            </a:avLst>
          </a:prstGeom>
          <a:solidFill>
            <a:schemeClr val="accent6"/>
          </a:solidFill>
          <a:ln>
            <a:noFill/>
          </a:ln>
        </p:spPr>
        <p:txBody>
          <a:bodyPr spcFirstLastPara="1" wrap="square" lIns="396000" tIns="91425" rIns="91425" bIns="91425" anchor="ctr" anchorCtr="0">
            <a:noAutofit/>
          </a:bodyPr>
          <a:lstStyle/>
          <a:p>
            <a:pPr marL="0" lvl="0" indent="0">
              <a:spcBef>
                <a:spcPts val="0"/>
              </a:spcBef>
              <a:spcAft>
                <a:spcPts val="0"/>
              </a:spcAft>
              <a:buNone/>
            </a:pPr>
            <a:r>
              <a:rPr lang="da-DK" sz="3600">
                <a:latin typeface="Amatic SC"/>
                <a:ea typeface="Amatic SC"/>
                <a:cs typeface="Amatic SC"/>
                <a:sym typeface="Amatic SC"/>
              </a:rPr>
              <a:t>	  Brainstorm med fokus på professionelle læringsfællesskaber</a:t>
            </a:r>
          </a:p>
        </p:txBody>
      </p:sp>
      <p:sp>
        <p:nvSpPr>
          <p:cNvPr id="22" name="Google Shape;843;p29">
            <a:extLst>
              <a:ext uri="{FF2B5EF4-FFF2-40B4-BE49-F238E27FC236}">
                <a16:creationId xmlns:a16="http://schemas.microsoft.com/office/drawing/2014/main" id="{81732859-9F50-452E-9AFE-EDAF011B271C}"/>
              </a:ext>
            </a:extLst>
          </p:cNvPr>
          <p:cNvSpPr/>
          <p:nvPr/>
        </p:nvSpPr>
        <p:spPr>
          <a:xfrm>
            <a:off x="11591638" y="0"/>
            <a:ext cx="600363" cy="1019120"/>
          </a:xfrm>
          <a:prstGeom prst="rect">
            <a:avLst/>
          </a:prstGeom>
          <a:solidFill>
            <a:schemeClr val="accent4"/>
          </a:solidFill>
          <a:ln>
            <a:noFill/>
          </a:ln>
        </p:spPr>
        <p:txBody>
          <a:bodyPr spcFirstLastPara="1" wrap="square" lIns="91425" tIns="91425" rIns="91425" bIns="91425" anchor="ctr" anchorCtr="0">
            <a:noAutofit/>
          </a:bodyPr>
          <a:lstStyle/>
          <a:p>
            <a:pPr marL="0" lvl="0" indent="0" algn="ctr">
              <a:spcBef>
                <a:spcPts val="0"/>
              </a:spcBef>
              <a:spcAft>
                <a:spcPts val="0"/>
              </a:spcAft>
              <a:buNone/>
            </a:pPr>
            <a:endParaRPr lang="da-DK" sz="2400">
              <a:latin typeface="Amatic SC"/>
              <a:ea typeface="Amatic SC"/>
              <a:cs typeface="Amatic SC"/>
              <a:sym typeface="Amatic SC"/>
            </a:endParaRPr>
          </a:p>
        </p:txBody>
      </p:sp>
      <p:sp>
        <p:nvSpPr>
          <p:cNvPr id="23" name="Google Shape;846;p29">
            <a:extLst>
              <a:ext uri="{FF2B5EF4-FFF2-40B4-BE49-F238E27FC236}">
                <a16:creationId xmlns:a16="http://schemas.microsoft.com/office/drawing/2014/main" id="{488F2B86-D27F-43EA-A9E0-B40CE7A6FB50}"/>
              </a:ext>
            </a:extLst>
          </p:cNvPr>
          <p:cNvSpPr/>
          <p:nvPr/>
        </p:nvSpPr>
        <p:spPr>
          <a:xfrm>
            <a:off x="0" y="370"/>
            <a:ext cx="11591636" cy="1019120"/>
          </a:xfrm>
          <a:prstGeom prst="homePlate">
            <a:avLst>
              <a:gd name="adj" fmla="val 50000"/>
            </a:avLst>
          </a:prstGeom>
          <a:solidFill>
            <a:schemeClr val="accent6"/>
          </a:solidFill>
          <a:ln>
            <a:noFill/>
          </a:ln>
        </p:spPr>
        <p:txBody>
          <a:bodyPr spcFirstLastPara="1" wrap="square" lIns="396000" tIns="91425" rIns="91425" bIns="91425" anchor="ctr" anchorCtr="0">
            <a:noAutofit/>
          </a:bodyPr>
          <a:lstStyle/>
          <a:p>
            <a:pPr marL="0" lvl="0" indent="0">
              <a:spcBef>
                <a:spcPts val="0"/>
              </a:spcBef>
              <a:spcAft>
                <a:spcPts val="0"/>
              </a:spcAft>
              <a:buNone/>
            </a:pPr>
            <a:endParaRPr lang="da-DK" sz="3600">
              <a:latin typeface="Amatic SC"/>
              <a:ea typeface="Amatic SC"/>
              <a:cs typeface="Amatic SC"/>
              <a:sym typeface="Amatic SC"/>
            </a:endParaRPr>
          </a:p>
        </p:txBody>
      </p:sp>
      <p:sp>
        <p:nvSpPr>
          <p:cNvPr id="24" name="Google Shape;843;p29">
            <a:extLst>
              <a:ext uri="{FF2B5EF4-FFF2-40B4-BE49-F238E27FC236}">
                <a16:creationId xmlns:a16="http://schemas.microsoft.com/office/drawing/2014/main" id="{F8828B6B-59CC-417B-9D3C-67A4ECCC3798}"/>
              </a:ext>
            </a:extLst>
          </p:cNvPr>
          <p:cNvSpPr/>
          <p:nvPr/>
        </p:nvSpPr>
        <p:spPr>
          <a:xfrm>
            <a:off x="11057971" y="0"/>
            <a:ext cx="1067334" cy="1019120"/>
          </a:xfrm>
          <a:prstGeom prst="chevron">
            <a:avLst>
              <a:gd name="adj" fmla="val 50000"/>
            </a:avLst>
          </a:prstGeom>
          <a:solidFill>
            <a:schemeClr val="accent5"/>
          </a:solidFill>
          <a:ln>
            <a:noFill/>
          </a:ln>
        </p:spPr>
        <p:txBody>
          <a:bodyPr spcFirstLastPara="1" wrap="square" lIns="91425" tIns="91425" rIns="91425" bIns="91425" anchor="ctr" anchorCtr="0">
            <a:noAutofit/>
          </a:bodyPr>
          <a:lstStyle/>
          <a:p>
            <a:pPr marL="0" lvl="0" indent="0">
              <a:spcBef>
                <a:spcPts val="0"/>
              </a:spcBef>
              <a:spcAft>
                <a:spcPts val="0"/>
              </a:spcAft>
              <a:buNone/>
            </a:pPr>
            <a:endParaRPr lang="da-DK" sz="3600">
              <a:latin typeface="Amatic SC"/>
              <a:ea typeface="Amatic SC"/>
              <a:cs typeface="Amatic SC"/>
              <a:sym typeface="Amatic SC"/>
            </a:endParaRPr>
          </a:p>
        </p:txBody>
      </p:sp>
      <p:sp>
        <p:nvSpPr>
          <p:cNvPr id="2" name="Title 1">
            <a:extLst>
              <a:ext uri="{FF2B5EF4-FFF2-40B4-BE49-F238E27FC236}">
                <a16:creationId xmlns:a16="http://schemas.microsoft.com/office/drawing/2014/main" id="{086C204E-F617-4773-80B1-4992F18DE87E}"/>
              </a:ext>
            </a:extLst>
          </p:cNvPr>
          <p:cNvSpPr>
            <a:spLocks noGrp="1"/>
          </p:cNvSpPr>
          <p:nvPr>
            <p:ph type="title"/>
          </p:nvPr>
        </p:nvSpPr>
        <p:spPr>
          <a:xfrm>
            <a:off x="182237" y="119575"/>
            <a:ext cx="11227162" cy="779969"/>
          </a:xfrm>
        </p:spPr>
        <p:txBody>
          <a:bodyPr vert="horz"/>
          <a:lstStyle/>
          <a:p>
            <a:pPr algn="ctr"/>
            <a:r>
              <a:rPr lang="da-DK" sz="4400" b="1">
                <a:solidFill>
                  <a:schemeClr val="tx1"/>
                </a:solidFill>
                <a:latin typeface="Amatic SC" panose="00000500000000000000" pitchFamily="2" charset="-79"/>
                <a:cs typeface="Amatic SC" panose="00000500000000000000" pitchFamily="2" charset="-79"/>
              </a:rPr>
              <a:t>Spørgeskemaundersøgelse blandt pædagogisk personale</a:t>
            </a:r>
          </a:p>
        </p:txBody>
      </p:sp>
      <p:pic>
        <p:nvPicPr>
          <p:cNvPr id="18" name="Graphic 17" descr="Clipboard with solid fill">
            <a:extLst>
              <a:ext uri="{FF2B5EF4-FFF2-40B4-BE49-F238E27FC236}">
                <a16:creationId xmlns:a16="http://schemas.microsoft.com/office/drawing/2014/main" id="{ED7215C1-3596-435E-BD0E-705EA32993A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21" y="119575"/>
            <a:ext cx="678767" cy="678767"/>
          </a:xfrm>
          <a:prstGeom prst="rect">
            <a:avLst/>
          </a:prstGeom>
        </p:spPr>
      </p:pic>
      <p:sp>
        <p:nvSpPr>
          <p:cNvPr id="32" name="TextBox 31">
            <a:extLst>
              <a:ext uri="{FF2B5EF4-FFF2-40B4-BE49-F238E27FC236}">
                <a16:creationId xmlns:a16="http://schemas.microsoft.com/office/drawing/2014/main" id="{6FADC90D-C63E-4995-A315-394AAA3E1D8D}"/>
              </a:ext>
            </a:extLst>
          </p:cNvPr>
          <p:cNvSpPr txBox="1"/>
          <p:nvPr/>
        </p:nvSpPr>
        <p:spPr>
          <a:xfrm>
            <a:off x="652104" y="1837621"/>
            <a:ext cx="6650655" cy="463169"/>
          </a:xfrm>
          <a:prstGeom prst="rect">
            <a:avLst/>
          </a:prstGeom>
          <a:solidFill>
            <a:schemeClr val="accent6"/>
          </a:solidFill>
          <a:ln w="28575">
            <a:solidFill>
              <a:schemeClr val="accent6"/>
            </a:solidFill>
          </a:ln>
        </p:spPr>
        <p:txBody>
          <a:bodyPr wrap="square" lIns="0" tIns="0" rIns="0" bIns="0" rtlCol="0" anchor="ctr">
            <a:noAutofit/>
          </a:bodyPr>
          <a:lstStyle/>
          <a:p>
            <a:pPr algn="ctr"/>
            <a:r>
              <a:rPr lang="da-DK" sz="2800" b="1" dirty="0">
                <a:latin typeface="Amatic SC" panose="00000500000000000000" pitchFamily="2" charset="-79"/>
                <a:cs typeface="Amatic SC" panose="00000500000000000000" pitchFamily="2" charset="-79"/>
              </a:rPr>
              <a:t>Formål med spørgeskemaundersøgelsen</a:t>
            </a:r>
            <a:endParaRPr lang="da-DK" sz="2400" b="1" dirty="0">
              <a:latin typeface="Amatic SC" panose="00000500000000000000" pitchFamily="2" charset="-79"/>
              <a:cs typeface="Amatic SC" panose="00000500000000000000" pitchFamily="2" charset="-79"/>
            </a:endParaRPr>
          </a:p>
        </p:txBody>
      </p:sp>
      <p:sp>
        <p:nvSpPr>
          <p:cNvPr id="33" name="Rectangle 32">
            <a:extLst>
              <a:ext uri="{FF2B5EF4-FFF2-40B4-BE49-F238E27FC236}">
                <a16:creationId xmlns:a16="http://schemas.microsoft.com/office/drawing/2014/main" id="{1797CD25-E47B-462D-9CDE-FDA73CBB813E}"/>
              </a:ext>
            </a:extLst>
          </p:cNvPr>
          <p:cNvSpPr/>
          <p:nvPr/>
        </p:nvSpPr>
        <p:spPr>
          <a:xfrm>
            <a:off x="652104" y="2329172"/>
            <a:ext cx="6650655" cy="3849378"/>
          </a:xfrm>
          <a:prstGeom prst="rect">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34" name="TextBox 33">
            <a:extLst>
              <a:ext uri="{FF2B5EF4-FFF2-40B4-BE49-F238E27FC236}">
                <a16:creationId xmlns:a16="http://schemas.microsoft.com/office/drawing/2014/main" id="{4DA16978-08B8-44DE-AE66-A99A848C6160}"/>
              </a:ext>
            </a:extLst>
          </p:cNvPr>
          <p:cNvSpPr txBox="1"/>
          <p:nvPr/>
        </p:nvSpPr>
        <p:spPr>
          <a:xfrm>
            <a:off x="812995" y="2399267"/>
            <a:ext cx="6390237" cy="3693319"/>
          </a:xfrm>
          <a:prstGeom prst="rect">
            <a:avLst/>
          </a:prstGeom>
          <a:noFill/>
        </p:spPr>
        <p:txBody>
          <a:bodyPr wrap="square" lIns="0" tIns="0" rIns="0" bIns="0" rtlCol="0">
            <a:spAutoFit/>
          </a:bodyPr>
          <a:lstStyle/>
          <a:p>
            <a:r>
              <a:rPr lang="da-DK" sz="1600" dirty="0">
                <a:latin typeface="Quicksand"/>
              </a:rPr>
              <a:t>Spørgeskemaet har to formål: </a:t>
            </a:r>
          </a:p>
          <a:p>
            <a:endParaRPr lang="da-DK" sz="1600" dirty="0">
              <a:latin typeface="Quicksand"/>
            </a:endParaRPr>
          </a:p>
          <a:p>
            <a:pPr marL="342900" indent="-342900">
              <a:buAutoNum type="arabicParenR"/>
            </a:pPr>
            <a:r>
              <a:rPr lang="da-DK" sz="1600" b="1" dirty="0">
                <a:latin typeface="Quicksand"/>
              </a:rPr>
              <a:t>Del 1: </a:t>
            </a:r>
            <a:r>
              <a:rPr lang="da-DK" sz="1600" dirty="0">
                <a:latin typeface="Quicksand"/>
              </a:rPr>
              <a:t>Forskere fra forskningscenter for in- og eksklusion i pædagogisk praksis ved UCN vil følge projektet </a:t>
            </a:r>
            <a:r>
              <a:rPr lang="da-DK" sz="1600" b="1" dirty="0">
                <a:latin typeface="Quicksand"/>
              </a:rPr>
              <a:t>forskningsmæssigt</a:t>
            </a:r>
            <a:r>
              <a:rPr lang="da-DK" sz="1600" dirty="0">
                <a:latin typeface="Quicksand"/>
              </a:rPr>
              <a:t>. Første del af spørgeskemaet har således til formål at skabe viden om de mulige betydninger, som aktiviteterne på de enkelte skoler i regionen Nordjylland, har for lærere og pædagogers holdninger til inklusion og mangfoldighed og oplevelser af at kunne mestre arbejdet med at skabe mere mangfoldige fællesskaber i skolen.</a:t>
            </a:r>
          </a:p>
          <a:p>
            <a:endParaRPr lang="da-DK" sz="1600" dirty="0">
              <a:latin typeface="Quicksand"/>
            </a:endParaRPr>
          </a:p>
          <a:p>
            <a:pPr marL="342900" indent="-342900">
              <a:buAutoNum type="arabicParenR"/>
            </a:pPr>
            <a:r>
              <a:rPr lang="da-DK" sz="1600" b="1" dirty="0">
                <a:latin typeface="Quicksand"/>
              </a:rPr>
              <a:t>Del 2: </a:t>
            </a:r>
            <a:r>
              <a:rPr lang="da-DK" sz="1600" dirty="0">
                <a:latin typeface="Quicksand"/>
              </a:rPr>
              <a:t>Rambøll følger projektet med fokus på at </a:t>
            </a:r>
            <a:r>
              <a:rPr lang="da-DK" sz="1600" b="1" dirty="0">
                <a:latin typeface="Quicksand"/>
              </a:rPr>
              <a:t>evaluere</a:t>
            </a:r>
            <a:r>
              <a:rPr lang="da-DK" sz="1600" dirty="0">
                <a:latin typeface="Quicksand"/>
              </a:rPr>
              <a:t> det på vegne af A.P. Møller Fonden. Evalueringsdelen af spørgeskemaundersøgelsen har til formål at afdække alt pædagogisk personales oplevelse af teamsamarbejdet og de organisatoriske rammer for arbejdet med at skabe deltagelsesmuligheder for alle elever i skolen. </a:t>
            </a:r>
          </a:p>
        </p:txBody>
      </p:sp>
      <p:sp>
        <p:nvSpPr>
          <p:cNvPr id="35" name="TextBox 34">
            <a:extLst>
              <a:ext uri="{FF2B5EF4-FFF2-40B4-BE49-F238E27FC236}">
                <a16:creationId xmlns:a16="http://schemas.microsoft.com/office/drawing/2014/main" id="{93122527-33C3-4B7B-8284-7B11953F1FA9}"/>
              </a:ext>
            </a:extLst>
          </p:cNvPr>
          <p:cNvSpPr txBox="1"/>
          <p:nvPr/>
        </p:nvSpPr>
        <p:spPr>
          <a:xfrm>
            <a:off x="7476930" y="1817109"/>
            <a:ext cx="4344956" cy="4431983"/>
          </a:xfrm>
          <a:prstGeom prst="rect">
            <a:avLst/>
          </a:prstGeom>
          <a:noFill/>
        </p:spPr>
        <p:txBody>
          <a:bodyPr wrap="square" lIns="0" tIns="0" rIns="0" bIns="0" rtlCol="0">
            <a:spAutoFit/>
          </a:bodyPr>
          <a:lstStyle/>
          <a:p>
            <a:pPr marL="285750" indent="-285750">
              <a:buFont typeface="Arial" panose="020B0604020202020204" pitchFamily="34" charset="0"/>
              <a:buChar char="•"/>
            </a:pPr>
            <a:r>
              <a:rPr lang="da-DK" sz="1600" dirty="0">
                <a:latin typeface="Quicksand"/>
              </a:rPr>
              <a:t>Undersøgelsen gennemføres </a:t>
            </a:r>
            <a:r>
              <a:rPr lang="da-DK" sz="1600" b="1" dirty="0">
                <a:latin typeface="Quicksand"/>
              </a:rPr>
              <a:t>tre gange</a:t>
            </a:r>
            <a:r>
              <a:rPr lang="da-DK" sz="1600" dirty="0">
                <a:latin typeface="Quicksand"/>
              </a:rPr>
              <a:t> i løbet af projektperioden; i marts 2023, marts 2024 og marts 2025.</a:t>
            </a:r>
          </a:p>
          <a:p>
            <a:pPr marL="285750" indent="-285750">
              <a:buFont typeface="Arial" panose="020B0604020202020204" pitchFamily="34" charset="0"/>
              <a:buChar char="•"/>
            </a:pPr>
            <a:endParaRPr lang="da-DK" sz="1600" dirty="0">
              <a:latin typeface="Quicksand"/>
            </a:endParaRPr>
          </a:p>
          <a:p>
            <a:pPr marL="285750" indent="-285750">
              <a:buFont typeface="Arial" panose="020B0604020202020204" pitchFamily="34" charset="0"/>
              <a:buChar char="•"/>
            </a:pPr>
            <a:r>
              <a:rPr lang="da-DK" sz="1600" dirty="0">
                <a:latin typeface="Quicksand"/>
              </a:rPr>
              <a:t>Spørgeskemaundersøgelsen gennemføres i 2023 fra </a:t>
            </a:r>
            <a:r>
              <a:rPr lang="da-DK" sz="1600" b="1" dirty="0">
                <a:latin typeface="Quicksand"/>
              </a:rPr>
              <a:t>d. 8. marts til d. 30. marts. </a:t>
            </a:r>
          </a:p>
          <a:p>
            <a:pPr marL="285750" indent="-285750">
              <a:buFont typeface="Arial" panose="020B0604020202020204" pitchFamily="34" charset="0"/>
              <a:buChar char="•"/>
            </a:pPr>
            <a:endParaRPr lang="da-DK" sz="1600" dirty="0">
              <a:latin typeface="Quicksand"/>
            </a:endParaRPr>
          </a:p>
          <a:p>
            <a:pPr marL="285750" indent="-285750">
              <a:buFont typeface="Arial" panose="020B0604020202020204" pitchFamily="34" charset="0"/>
              <a:buChar char="•"/>
            </a:pPr>
            <a:r>
              <a:rPr lang="da-DK" sz="1600" dirty="0">
                <a:latin typeface="Quicksand"/>
              </a:rPr>
              <a:t>Alt </a:t>
            </a:r>
            <a:r>
              <a:rPr lang="da-DK" sz="1600" b="1" dirty="0">
                <a:latin typeface="Quicksand"/>
              </a:rPr>
              <a:t>pædagogisk personale </a:t>
            </a:r>
            <a:r>
              <a:rPr lang="da-DK" sz="1600" dirty="0">
                <a:latin typeface="Quicksand"/>
              </a:rPr>
              <a:t>på skolerne besvarer spørgeskemaet (lærere, pædagoger, øvrige fagprofessionelle og ledere som arbejder med almen- og/eller specialområdet)</a:t>
            </a:r>
          </a:p>
          <a:p>
            <a:pPr marL="285750" indent="-285750">
              <a:buFont typeface="Arial" panose="020B0604020202020204" pitchFamily="34" charset="0"/>
              <a:buChar char="•"/>
            </a:pPr>
            <a:endParaRPr lang="da-DK" sz="1600" dirty="0">
              <a:latin typeface="Quicksand"/>
            </a:endParaRPr>
          </a:p>
          <a:p>
            <a:pPr marL="285750" indent="-285750">
              <a:buFont typeface="Arial" panose="020B0604020202020204" pitchFamily="34" charset="0"/>
              <a:buChar char="•"/>
            </a:pPr>
            <a:r>
              <a:rPr lang="da-DK" sz="1600" dirty="0">
                <a:latin typeface="Quicksand"/>
              </a:rPr>
              <a:t>Efter hver gennemførsel får alle skoler adgang til </a:t>
            </a:r>
            <a:r>
              <a:rPr lang="da-DK" sz="1600" b="1" dirty="0">
                <a:latin typeface="Quicksand"/>
              </a:rPr>
              <a:t>skolerapporter med resultater fra evalueringen</a:t>
            </a:r>
            <a:r>
              <a:rPr lang="da-DK" sz="1600" dirty="0">
                <a:latin typeface="Quicksand"/>
              </a:rPr>
              <a:t>, som kan bruges til fælles læring og planlægning af den videre udviklingsproces. Skolen får adgang til skolerapporten, såfremt der er </a:t>
            </a:r>
            <a:r>
              <a:rPr lang="da-DK" sz="1600" b="1" dirty="0">
                <a:latin typeface="Quicksand"/>
              </a:rPr>
              <a:t>minimum 10 besvarelser på skolen</a:t>
            </a:r>
            <a:r>
              <a:rPr lang="da-DK" sz="1600" dirty="0">
                <a:latin typeface="Quicksand"/>
              </a:rPr>
              <a:t>.</a:t>
            </a:r>
          </a:p>
        </p:txBody>
      </p:sp>
    </p:spTree>
    <p:extLst>
      <p:ext uri="{BB962C8B-B14F-4D97-AF65-F5344CB8AC3E}">
        <p14:creationId xmlns:p14="http://schemas.microsoft.com/office/powerpoint/2010/main" val="2167887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E507A71-666E-43DC-B180-527351AC62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DE507A71-666E-43DC-B180-527351AC62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Google Shape;846;p29">
            <a:extLst>
              <a:ext uri="{FF2B5EF4-FFF2-40B4-BE49-F238E27FC236}">
                <a16:creationId xmlns:a16="http://schemas.microsoft.com/office/drawing/2014/main" id="{87E2A4CF-53F1-4515-BE78-23D925C019ED}"/>
              </a:ext>
            </a:extLst>
          </p:cNvPr>
          <p:cNvSpPr/>
          <p:nvPr/>
        </p:nvSpPr>
        <p:spPr>
          <a:xfrm>
            <a:off x="0" y="370"/>
            <a:ext cx="12191999" cy="1019120"/>
          </a:xfrm>
          <a:prstGeom prst="homePlate">
            <a:avLst>
              <a:gd name="adj" fmla="val 50000"/>
            </a:avLst>
          </a:prstGeom>
          <a:solidFill>
            <a:schemeClr val="accent6"/>
          </a:solidFill>
          <a:ln>
            <a:noFill/>
          </a:ln>
        </p:spPr>
        <p:txBody>
          <a:bodyPr spcFirstLastPara="1" wrap="square" lIns="396000" tIns="91425" rIns="91425" bIns="91425" anchor="ctr" anchorCtr="0">
            <a:noAutofit/>
          </a:bodyPr>
          <a:lstStyle/>
          <a:p>
            <a:pPr marL="0" lvl="0" indent="0">
              <a:spcBef>
                <a:spcPts val="0"/>
              </a:spcBef>
              <a:spcAft>
                <a:spcPts val="0"/>
              </a:spcAft>
              <a:buNone/>
            </a:pPr>
            <a:r>
              <a:rPr lang="da-DK" sz="3600">
                <a:latin typeface="Amatic SC"/>
                <a:ea typeface="Amatic SC"/>
                <a:cs typeface="Amatic SC"/>
                <a:sym typeface="Amatic SC"/>
              </a:rPr>
              <a:t>	  Brainstorm med fokus på professionelle læringsfællesskaber</a:t>
            </a:r>
          </a:p>
        </p:txBody>
      </p:sp>
      <p:sp>
        <p:nvSpPr>
          <p:cNvPr id="22" name="Google Shape;843;p29">
            <a:extLst>
              <a:ext uri="{FF2B5EF4-FFF2-40B4-BE49-F238E27FC236}">
                <a16:creationId xmlns:a16="http://schemas.microsoft.com/office/drawing/2014/main" id="{81732859-9F50-452E-9AFE-EDAF011B271C}"/>
              </a:ext>
            </a:extLst>
          </p:cNvPr>
          <p:cNvSpPr/>
          <p:nvPr/>
        </p:nvSpPr>
        <p:spPr>
          <a:xfrm>
            <a:off x="11591638" y="0"/>
            <a:ext cx="600363" cy="1019120"/>
          </a:xfrm>
          <a:prstGeom prst="rect">
            <a:avLst/>
          </a:prstGeom>
          <a:solidFill>
            <a:schemeClr val="accent4"/>
          </a:solidFill>
          <a:ln>
            <a:noFill/>
          </a:ln>
        </p:spPr>
        <p:txBody>
          <a:bodyPr spcFirstLastPara="1" wrap="square" lIns="91425" tIns="91425" rIns="91425" bIns="91425" anchor="ctr" anchorCtr="0">
            <a:noAutofit/>
          </a:bodyPr>
          <a:lstStyle/>
          <a:p>
            <a:pPr marL="0" lvl="0" indent="0" algn="ctr">
              <a:spcBef>
                <a:spcPts val="0"/>
              </a:spcBef>
              <a:spcAft>
                <a:spcPts val="0"/>
              </a:spcAft>
              <a:buNone/>
            </a:pPr>
            <a:endParaRPr lang="da-DK" sz="2400">
              <a:latin typeface="Amatic SC"/>
              <a:ea typeface="Amatic SC"/>
              <a:cs typeface="Amatic SC"/>
              <a:sym typeface="Amatic SC"/>
            </a:endParaRPr>
          </a:p>
        </p:txBody>
      </p:sp>
      <p:sp>
        <p:nvSpPr>
          <p:cNvPr id="23" name="Google Shape;846;p29">
            <a:extLst>
              <a:ext uri="{FF2B5EF4-FFF2-40B4-BE49-F238E27FC236}">
                <a16:creationId xmlns:a16="http://schemas.microsoft.com/office/drawing/2014/main" id="{488F2B86-D27F-43EA-A9E0-B40CE7A6FB50}"/>
              </a:ext>
            </a:extLst>
          </p:cNvPr>
          <p:cNvSpPr/>
          <p:nvPr/>
        </p:nvSpPr>
        <p:spPr>
          <a:xfrm>
            <a:off x="0" y="370"/>
            <a:ext cx="11591636" cy="1019120"/>
          </a:xfrm>
          <a:prstGeom prst="homePlate">
            <a:avLst>
              <a:gd name="adj" fmla="val 50000"/>
            </a:avLst>
          </a:prstGeom>
          <a:solidFill>
            <a:schemeClr val="accent6"/>
          </a:solidFill>
          <a:ln>
            <a:noFill/>
          </a:ln>
        </p:spPr>
        <p:txBody>
          <a:bodyPr spcFirstLastPara="1" wrap="square" lIns="396000" tIns="91425" rIns="91425" bIns="91425" anchor="ctr" anchorCtr="0">
            <a:noAutofit/>
          </a:bodyPr>
          <a:lstStyle/>
          <a:p>
            <a:pPr marL="0" lvl="0" indent="0">
              <a:spcBef>
                <a:spcPts val="0"/>
              </a:spcBef>
              <a:spcAft>
                <a:spcPts val="0"/>
              </a:spcAft>
              <a:buNone/>
            </a:pPr>
            <a:endParaRPr lang="da-DK" sz="3600">
              <a:latin typeface="Amatic SC"/>
              <a:ea typeface="Amatic SC"/>
              <a:cs typeface="Amatic SC"/>
              <a:sym typeface="Amatic SC"/>
            </a:endParaRPr>
          </a:p>
        </p:txBody>
      </p:sp>
      <p:sp>
        <p:nvSpPr>
          <p:cNvPr id="24" name="Google Shape;843;p29">
            <a:extLst>
              <a:ext uri="{FF2B5EF4-FFF2-40B4-BE49-F238E27FC236}">
                <a16:creationId xmlns:a16="http://schemas.microsoft.com/office/drawing/2014/main" id="{F8828B6B-59CC-417B-9D3C-67A4ECCC3798}"/>
              </a:ext>
            </a:extLst>
          </p:cNvPr>
          <p:cNvSpPr/>
          <p:nvPr/>
        </p:nvSpPr>
        <p:spPr>
          <a:xfrm>
            <a:off x="11057971" y="0"/>
            <a:ext cx="1067334" cy="1019120"/>
          </a:xfrm>
          <a:prstGeom prst="chevron">
            <a:avLst>
              <a:gd name="adj" fmla="val 50000"/>
            </a:avLst>
          </a:prstGeom>
          <a:solidFill>
            <a:schemeClr val="accent5"/>
          </a:solidFill>
          <a:ln>
            <a:noFill/>
          </a:ln>
        </p:spPr>
        <p:txBody>
          <a:bodyPr spcFirstLastPara="1" wrap="square" lIns="91425" tIns="91425" rIns="91425" bIns="91425" anchor="ctr" anchorCtr="0">
            <a:noAutofit/>
          </a:bodyPr>
          <a:lstStyle/>
          <a:p>
            <a:pPr marL="0" lvl="0" indent="0">
              <a:spcBef>
                <a:spcPts val="0"/>
              </a:spcBef>
              <a:spcAft>
                <a:spcPts val="0"/>
              </a:spcAft>
              <a:buNone/>
            </a:pPr>
            <a:endParaRPr lang="da-DK" sz="3600">
              <a:latin typeface="Amatic SC"/>
              <a:ea typeface="Amatic SC"/>
              <a:cs typeface="Amatic SC"/>
              <a:sym typeface="Amatic SC"/>
            </a:endParaRPr>
          </a:p>
        </p:txBody>
      </p:sp>
      <p:sp>
        <p:nvSpPr>
          <p:cNvPr id="2" name="Title 1">
            <a:extLst>
              <a:ext uri="{FF2B5EF4-FFF2-40B4-BE49-F238E27FC236}">
                <a16:creationId xmlns:a16="http://schemas.microsoft.com/office/drawing/2014/main" id="{086C204E-F617-4773-80B1-4992F18DE87E}"/>
              </a:ext>
            </a:extLst>
          </p:cNvPr>
          <p:cNvSpPr>
            <a:spLocks noGrp="1"/>
          </p:cNvSpPr>
          <p:nvPr>
            <p:ph type="title"/>
          </p:nvPr>
        </p:nvSpPr>
        <p:spPr>
          <a:xfrm>
            <a:off x="182237" y="119575"/>
            <a:ext cx="11227162" cy="779969"/>
          </a:xfrm>
        </p:spPr>
        <p:txBody>
          <a:bodyPr vert="horz"/>
          <a:lstStyle/>
          <a:p>
            <a:pPr algn="ctr"/>
            <a:r>
              <a:rPr lang="da-DK" sz="4400" b="1">
                <a:solidFill>
                  <a:schemeClr val="tx1"/>
                </a:solidFill>
                <a:latin typeface="Amatic SC" panose="00000500000000000000" pitchFamily="2" charset="-79"/>
                <a:cs typeface="Amatic SC" panose="00000500000000000000" pitchFamily="2" charset="-79"/>
              </a:rPr>
              <a:t>Spørgeskemaundersøgelse blandt pædagogisk personale</a:t>
            </a:r>
          </a:p>
        </p:txBody>
      </p:sp>
      <p:pic>
        <p:nvPicPr>
          <p:cNvPr id="18" name="Graphic 17" descr="Clipboard with solid fill">
            <a:extLst>
              <a:ext uri="{FF2B5EF4-FFF2-40B4-BE49-F238E27FC236}">
                <a16:creationId xmlns:a16="http://schemas.microsoft.com/office/drawing/2014/main" id="{ED7215C1-3596-435E-BD0E-705EA32993A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21" y="119575"/>
            <a:ext cx="678767" cy="678767"/>
          </a:xfrm>
          <a:prstGeom prst="rect">
            <a:avLst/>
          </a:prstGeom>
        </p:spPr>
      </p:pic>
      <p:sp>
        <p:nvSpPr>
          <p:cNvPr id="32" name="TextBox 31">
            <a:extLst>
              <a:ext uri="{FF2B5EF4-FFF2-40B4-BE49-F238E27FC236}">
                <a16:creationId xmlns:a16="http://schemas.microsoft.com/office/drawing/2014/main" id="{6FADC90D-C63E-4995-A315-394AAA3E1D8D}"/>
              </a:ext>
            </a:extLst>
          </p:cNvPr>
          <p:cNvSpPr txBox="1"/>
          <p:nvPr/>
        </p:nvSpPr>
        <p:spPr>
          <a:xfrm>
            <a:off x="312722" y="1408804"/>
            <a:ext cx="10745249" cy="463169"/>
          </a:xfrm>
          <a:prstGeom prst="rect">
            <a:avLst/>
          </a:prstGeom>
          <a:solidFill>
            <a:schemeClr val="accent6">
              <a:lumMod val="20000"/>
              <a:lumOff val="80000"/>
            </a:schemeClr>
          </a:solidFill>
          <a:ln w="28575">
            <a:noFill/>
          </a:ln>
        </p:spPr>
        <p:txBody>
          <a:bodyPr wrap="square" lIns="0" tIns="0" rIns="0" bIns="0" rtlCol="0" anchor="ctr">
            <a:noAutofit/>
          </a:bodyPr>
          <a:lstStyle/>
          <a:p>
            <a:pPr algn="ctr"/>
            <a:r>
              <a:rPr lang="da-DK" sz="2800" b="1">
                <a:latin typeface="Amatic SC" panose="00000500000000000000" pitchFamily="2" charset="-79"/>
                <a:cs typeface="Amatic SC" panose="00000500000000000000" pitchFamily="2" charset="-79"/>
              </a:rPr>
              <a:t>Sådan gennemføres spørgeskemaundersøgelsen: trin for trin</a:t>
            </a:r>
            <a:endParaRPr lang="da-DK" sz="2400" b="1">
              <a:latin typeface="Amatic SC" panose="00000500000000000000" pitchFamily="2" charset="-79"/>
              <a:cs typeface="Amatic SC" panose="00000500000000000000" pitchFamily="2" charset="-79"/>
            </a:endParaRPr>
          </a:p>
        </p:txBody>
      </p:sp>
      <p:sp>
        <p:nvSpPr>
          <p:cNvPr id="14" name="TextBox 13">
            <a:extLst>
              <a:ext uri="{FF2B5EF4-FFF2-40B4-BE49-F238E27FC236}">
                <a16:creationId xmlns:a16="http://schemas.microsoft.com/office/drawing/2014/main" id="{B4262C07-23D3-318A-75C2-834BB994B8B0}"/>
              </a:ext>
            </a:extLst>
          </p:cNvPr>
          <p:cNvSpPr txBox="1"/>
          <p:nvPr/>
        </p:nvSpPr>
        <p:spPr>
          <a:xfrm>
            <a:off x="312722" y="2263712"/>
            <a:ext cx="2506856" cy="463169"/>
          </a:xfrm>
          <a:prstGeom prst="rect">
            <a:avLst/>
          </a:prstGeom>
          <a:solidFill>
            <a:schemeClr val="accent6"/>
          </a:solidFill>
          <a:ln w="28575">
            <a:solidFill>
              <a:schemeClr val="accent6"/>
            </a:solidFill>
          </a:ln>
        </p:spPr>
        <p:txBody>
          <a:bodyPr wrap="square" lIns="0" tIns="0" rIns="0" bIns="0" rtlCol="0" anchor="ctr">
            <a:noAutofit/>
          </a:bodyPr>
          <a:lstStyle/>
          <a:p>
            <a:pPr algn="ctr"/>
            <a:r>
              <a:rPr lang="da-DK" sz="2800" b="1">
                <a:latin typeface="Amatic SC" panose="00000500000000000000" pitchFamily="2" charset="-79"/>
                <a:cs typeface="Amatic SC" panose="00000500000000000000" pitchFamily="2" charset="-79"/>
              </a:rPr>
              <a:t>Trin 1 </a:t>
            </a:r>
            <a:endParaRPr lang="da-DK" sz="2400" b="1">
              <a:latin typeface="Amatic SC" panose="00000500000000000000" pitchFamily="2" charset="-79"/>
              <a:cs typeface="Amatic SC" panose="00000500000000000000" pitchFamily="2" charset="-79"/>
            </a:endParaRPr>
          </a:p>
        </p:txBody>
      </p:sp>
      <p:sp>
        <p:nvSpPr>
          <p:cNvPr id="15" name="Rectangle 14">
            <a:extLst>
              <a:ext uri="{FF2B5EF4-FFF2-40B4-BE49-F238E27FC236}">
                <a16:creationId xmlns:a16="http://schemas.microsoft.com/office/drawing/2014/main" id="{6D0FD959-F44F-CBFF-59E4-1BF239AB7D1C}"/>
              </a:ext>
            </a:extLst>
          </p:cNvPr>
          <p:cNvSpPr/>
          <p:nvPr/>
        </p:nvSpPr>
        <p:spPr>
          <a:xfrm>
            <a:off x="312721" y="2724739"/>
            <a:ext cx="2506856" cy="3280129"/>
          </a:xfrm>
          <a:prstGeom prst="rect">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da-DK" sz="1200" b="1">
                <a:solidFill>
                  <a:schemeClr val="tx1"/>
                </a:solidFill>
                <a:effectLst/>
                <a:latin typeface="Quicksand"/>
              </a:rPr>
              <a:t>Rambøll</a:t>
            </a:r>
            <a:r>
              <a:rPr lang="da-DK" sz="1200">
                <a:solidFill>
                  <a:schemeClr val="tx1"/>
                </a:solidFill>
                <a:effectLst/>
                <a:latin typeface="Quicksand"/>
              </a:rPr>
              <a:t> </a:t>
            </a:r>
            <a:r>
              <a:rPr lang="da-DK" sz="1200" b="1">
                <a:solidFill>
                  <a:schemeClr val="tx1"/>
                </a:solidFill>
                <a:effectLst/>
                <a:latin typeface="Quicksand"/>
              </a:rPr>
              <a:t>udsender mail </a:t>
            </a:r>
            <a:r>
              <a:rPr lang="da-DK" sz="1200">
                <a:solidFill>
                  <a:schemeClr val="tx1"/>
                </a:solidFill>
                <a:effectLst/>
                <a:latin typeface="Quicksand"/>
              </a:rPr>
              <a:t>til skoleleder (tovholder) på hver skole som indeholder: </a:t>
            </a:r>
          </a:p>
          <a:p>
            <a:endParaRPr lang="da-DK" sz="1200">
              <a:solidFill>
                <a:schemeClr val="tx1"/>
              </a:solidFill>
              <a:effectLst/>
              <a:latin typeface="Quicksand"/>
            </a:endParaRPr>
          </a:p>
          <a:p>
            <a:pPr marL="342900" indent="-342900">
              <a:buAutoNum type="arabicPeriod"/>
            </a:pPr>
            <a:r>
              <a:rPr lang="da-DK" sz="1200">
                <a:solidFill>
                  <a:schemeClr val="tx1"/>
                </a:solidFill>
                <a:latin typeface="Quicksand"/>
              </a:rPr>
              <a:t>Tidsplan for spørgeskemaundersøgelse</a:t>
            </a:r>
          </a:p>
          <a:p>
            <a:pPr marL="342900" indent="-342900">
              <a:buAutoNum type="arabicPeriod"/>
            </a:pPr>
            <a:endParaRPr lang="da-DK" sz="1200">
              <a:solidFill>
                <a:schemeClr val="tx1"/>
              </a:solidFill>
              <a:latin typeface="Quicksand"/>
            </a:endParaRPr>
          </a:p>
          <a:p>
            <a:pPr marL="342900" indent="-342900">
              <a:buAutoNum type="arabicPeriod"/>
            </a:pPr>
            <a:r>
              <a:rPr lang="da-DK" sz="1200">
                <a:solidFill>
                  <a:schemeClr val="tx1"/>
                </a:solidFill>
                <a:latin typeface="Quicksand"/>
              </a:rPr>
              <a:t>Eksempel på i</a:t>
            </a:r>
            <a:r>
              <a:rPr lang="da-DK" sz="1200">
                <a:solidFill>
                  <a:schemeClr val="tx1"/>
                </a:solidFill>
                <a:effectLst/>
                <a:latin typeface="Quicksand"/>
              </a:rPr>
              <a:t>nformationsmail til delin</a:t>
            </a:r>
            <a:r>
              <a:rPr lang="da-DK" sz="1200">
                <a:solidFill>
                  <a:schemeClr val="tx1"/>
                </a:solidFill>
                <a:latin typeface="Quicksand"/>
              </a:rPr>
              <a:t>g af link på skolen</a:t>
            </a:r>
          </a:p>
          <a:p>
            <a:pPr marL="342900" indent="-342900">
              <a:buAutoNum type="arabicPeriod"/>
            </a:pPr>
            <a:endParaRPr lang="da-DK" sz="1200">
              <a:solidFill>
                <a:schemeClr val="tx1"/>
              </a:solidFill>
              <a:latin typeface="Quicksand"/>
            </a:endParaRPr>
          </a:p>
          <a:p>
            <a:pPr marL="342900" indent="-342900">
              <a:buAutoNum type="arabicPeriod"/>
            </a:pPr>
            <a:r>
              <a:rPr lang="da-DK" sz="1200">
                <a:solidFill>
                  <a:schemeClr val="tx1"/>
                </a:solidFill>
                <a:effectLst/>
                <a:latin typeface="Quicksand"/>
              </a:rPr>
              <a:t>Gener</a:t>
            </a:r>
            <a:r>
              <a:rPr lang="da-DK" sz="1200">
                <a:solidFill>
                  <a:schemeClr val="tx1"/>
                </a:solidFill>
                <a:latin typeface="Quicksand"/>
              </a:rPr>
              <a:t>isk link til besvarelse af spørgeskemaundersøgelse</a:t>
            </a:r>
            <a:endParaRPr lang="da-DK" sz="1200">
              <a:solidFill>
                <a:schemeClr val="tx1"/>
              </a:solidFill>
              <a:effectLst/>
              <a:latin typeface="Quicksand"/>
            </a:endParaRPr>
          </a:p>
        </p:txBody>
      </p:sp>
      <p:sp>
        <p:nvSpPr>
          <p:cNvPr id="16" name="TextBox 15">
            <a:extLst>
              <a:ext uri="{FF2B5EF4-FFF2-40B4-BE49-F238E27FC236}">
                <a16:creationId xmlns:a16="http://schemas.microsoft.com/office/drawing/2014/main" id="{05630D6E-15B4-E9DA-8A34-EA528D156E01}"/>
              </a:ext>
            </a:extLst>
          </p:cNvPr>
          <p:cNvSpPr txBox="1"/>
          <p:nvPr/>
        </p:nvSpPr>
        <p:spPr>
          <a:xfrm>
            <a:off x="3266535" y="2263712"/>
            <a:ext cx="2505600" cy="463169"/>
          </a:xfrm>
          <a:prstGeom prst="rect">
            <a:avLst/>
          </a:prstGeom>
          <a:solidFill>
            <a:schemeClr val="accent6"/>
          </a:solidFill>
          <a:ln w="28575">
            <a:solidFill>
              <a:schemeClr val="accent6"/>
            </a:solidFill>
          </a:ln>
        </p:spPr>
        <p:txBody>
          <a:bodyPr wrap="square" lIns="0" tIns="0" rIns="0" bIns="0" rtlCol="0" anchor="ctr">
            <a:noAutofit/>
          </a:bodyPr>
          <a:lstStyle/>
          <a:p>
            <a:pPr algn="ctr"/>
            <a:r>
              <a:rPr lang="da-DK" sz="2800" b="1">
                <a:latin typeface="Amatic SC" panose="00000500000000000000" pitchFamily="2" charset="-79"/>
                <a:cs typeface="Amatic SC" panose="00000500000000000000" pitchFamily="2" charset="-79"/>
              </a:rPr>
              <a:t>Trin 2 </a:t>
            </a:r>
            <a:endParaRPr lang="da-DK" sz="2400" b="1">
              <a:latin typeface="Amatic SC" panose="00000500000000000000" pitchFamily="2" charset="-79"/>
              <a:cs typeface="Amatic SC" panose="00000500000000000000" pitchFamily="2" charset="-79"/>
            </a:endParaRPr>
          </a:p>
        </p:txBody>
      </p:sp>
      <p:sp>
        <p:nvSpPr>
          <p:cNvPr id="17" name="Rectangle 16">
            <a:extLst>
              <a:ext uri="{FF2B5EF4-FFF2-40B4-BE49-F238E27FC236}">
                <a16:creationId xmlns:a16="http://schemas.microsoft.com/office/drawing/2014/main" id="{6340166A-1013-5C5E-5E37-C3928CF86E30}"/>
              </a:ext>
            </a:extLst>
          </p:cNvPr>
          <p:cNvSpPr/>
          <p:nvPr/>
        </p:nvSpPr>
        <p:spPr>
          <a:xfrm>
            <a:off x="3266534" y="2718793"/>
            <a:ext cx="2505600" cy="3286076"/>
          </a:xfrm>
          <a:prstGeom prst="rect">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da-DK" sz="1200" b="1">
                <a:solidFill>
                  <a:schemeClr val="tx1"/>
                </a:solidFill>
                <a:latin typeface="Quicksand"/>
              </a:rPr>
              <a:t>Skoleleder</a:t>
            </a:r>
            <a:r>
              <a:rPr lang="da-DK" sz="1200">
                <a:solidFill>
                  <a:schemeClr val="tx1"/>
                </a:solidFill>
                <a:latin typeface="Quicksand"/>
              </a:rPr>
              <a:t> </a:t>
            </a:r>
            <a:r>
              <a:rPr lang="da-DK" sz="1200" b="1">
                <a:solidFill>
                  <a:schemeClr val="tx1"/>
                </a:solidFill>
                <a:latin typeface="Quicksand"/>
              </a:rPr>
              <a:t>informerer</a:t>
            </a:r>
            <a:r>
              <a:rPr lang="da-DK" sz="1200">
                <a:solidFill>
                  <a:schemeClr val="tx1"/>
                </a:solidFill>
                <a:latin typeface="Quicksand"/>
              </a:rPr>
              <a:t> pædagogisk personale på skolen om: </a:t>
            </a:r>
          </a:p>
          <a:p>
            <a:endParaRPr lang="da-DK" sz="1200">
              <a:solidFill>
                <a:schemeClr val="tx1"/>
              </a:solidFill>
              <a:latin typeface="Quicksand"/>
            </a:endParaRPr>
          </a:p>
          <a:p>
            <a:pPr marL="228600" indent="-228600">
              <a:buAutoNum type="arabicPeriod"/>
            </a:pPr>
            <a:r>
              <a:rPr lang="da-DK" sz="1200">
                <a:solidFill>
                  <a:schemeClr val="tx1"/>
                </a:solidFill>
                <a:latin typeface="Quicksand"/>
              </a:rPr>
              <a:t>Hvad spørgeskemaet handler om, og hvorfor det er vigtigt at gennemføre</a:t>
            </a:r>
          </a:p>
          <a:p>
            <a:pPr marL="228600" indent="-228600">
              <a:buAutoNum type="arabicPeriod"/>
            </a:pPr>
            <a:endParaRPr lang="da-DK" sz="1200">
              <a:solidFill>
                <a:schemeClr val="tx1"/>
              </a:solidFill>
              <a:latin typeface="Quicksand"/>
            </a:endParaRPr>
          </a:p>
          <a:p>
            <a:pPr marL="228600" indent="-228600">
              <a:buAutoNum type="arabicPeriod"/>
            </a:pPr>
            <a:r>
              <a:rPr lang="da-DK" sz="1200">
                <a:solidFill>
                  <a:schemeClr val="tx1"/>
                </a:solidFill>
                <a:latin typeface="Quicksand"/>
              </a:rPr>
              <a:t>Hvornår spørgeskemaet senest skal besvares</a:t>
            </a:r>
          </a:p>
          <a:p>
            <a:pPr marL="228600" indent="-228600">
              <a:buAutoNum type="arabicPeriod"/>
            </a:pPr>
            <a:endParaRPr lang="da-DK" sz="1200">
              <a:solidFill>
                <a:schemeClr val="tx1"/>
              </a:solidFill>
              <a:latin typeface="Quicksand"/>
            </a:endParaRPr>
          </a:p>
          <a:p>
            <a:pPr marL="228600" indent="-228600">
              <a:buAutoNum type="arabicPeriod"/>
            </a:pPr>
            <a:r>
              <a:rPr lang="da-DK" sz="1200">
                <a:solidFill>
                  <a:schemeClr val="tx1"/>
                </a:solidFill>
                <a:latin typeface="Quicksand"/>
              </a:rPr>
              <a:t>Hvordan spørgeskemaet tilgås via deling af generisk link </a:t>
            </a:r>
          </a:p>
        </p:txBody>
      </p:sp>
      <p:sp>
        <p:nvSpPr>
          <p:cNvPr id="19" name="TextBox 18">
            <a:extLst>
              <a:ext uri="{FF2B5EF4-FFF2-40B4-BE49-F238E27FC236}">
                <a16:creationId xmlns:a16="http://schemas.microsoft.com/office/drawing/2014/main" id="{C3A14AB5-D01C-D1BA-85E5-2017970E3987}"/>
              </a:ext>
            </a:extLst>
          </p:cNvPr>
          <p:cNvSpPr txBox="1"/>
          <p:nvPr/>
        </p:nvSpPr>
        <p:spPr>
          <a:xfrm>
            <a:off x="6219092" y="2263712"/>
            <a:ext cx="2505600" cy="463169"/>
          </a:xfrm>
          <a:prstGeom prst="rect">
            <a:avLst/>
          </a:prstGeom>
          <a:solidFill>
            <a:schemeClr val="accent6"/>
          </a:solidFill>
          <a:ln w="28575">
            <a:solidFill>
              <a:schemeClr val="accent6"/>
            </a:solidFill>
          </a:ln>
        </p:spPr>
        <p:txBody>
          <a:bodyPr wrap="square" lIns="0" tIns="0" rIns="0" bIns="0" rtlCol="0" anchor="ctr">
            <a:noAutofit/>
          </a:bodyPr>
          <a:lstStyle/>
          <a:p>
            <a:pPr algn="ctr"/>
            <a:r>
              <a:rPr lang="da-DK" sz="2800" b="1">
                <a:latin typeface="Amatic SC" panose="00000500000000000000" pitchFamily="2" charset="-79"/>
                <a:cs typeface="Amatic SC" panose="00000500000000000000" pitchFamily="2" charset="-79"/>
              </a:rPr>
              <a:t>Trin 3 </a:t>
            </a:r>
            <a:endParaRPr lang="da-DK" sz="2400" b="1">
              <a:latin typeface="Amatic SC" panose="00000500000000000000" pitchFamily="2" charset="-79"/>
              <a:cs typeface="Amatic SC" panose="00000500000000000000" pitchFamily="2" charset="-79"/>
            </a:endParaRPr>
          </a:p>
        </p:txBody>
      </p:sp>
      <p:sp>
        <p:nvSpPr>
          <p:cNvPr id="20" name="Rectangle 19">
            <a:extLst>
              <a:ext uri="{FF2B5EF4-FFF2-40B4-BE49-F238E27FC236}">
                <a16:creationId xmlns:a16="http://schemas.microsoft.com/office/drawing/2014/main" id="{9E0C8E88-9E3E-68E3-D8EA-CE5AAE989270}"/>
              </a:ext>
            </a:extLst>
          </p:cNvPr>
          <p:cNvSpPr/>
          <p:nvPr/>
        </p:nvSpPr>
        <p:spPr>
          <a:xfrm>
            <a:off x="6219091" y="2722837"/>
            <a:ext cx="2505600" cy="3286076"/>
          </a:xfrm>
          <a:prstGeom prst="rect">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da-DK" sz="1200" dirty="0">
                <a:solidFill>
                  <a:schemeClr val="tx1"/>
                </a:solidFill>
                <a:latin typeface="Quicksand"/>
              </a:rPr>
              <a:t>Pædagogisk personale </a:t>
            </a:r>
            <a:r>
              <a:rPr lang="da-DK" sz="1200" b="1" dirty="0">
                <a:solidFill>
                  <a:schemeClr val="tx1"/>
                </a:solidFill>
                <a:latin typeface="Quicksand"/>
              </a:rPr>
              <a:t>besvarer spørgeskemaet </a:t>
            </a:r>
            <a:r>
              <a:rPr lang="da-DK" sz="1200" dirty="0">
                <a:solidFill>
                  <a:schemeClr val="tx1"/>
                </a:solidFill>
                <a:latin typeface="Quicksand"/>
              </a:rPr>
              <a:t>ved at: </a:t>
            </a:r>
          </a:p>
          <a:p>
            <a:endParaRPr lang="da-DK" sz="1200" dirty="0">
              <a:solidFill>
                <a:schemeClr val="tx1"/>
              </a:solidFill>
              <a:latin typeface="Quicksand"/>
            </a:endParaRPr>
          </a:p>
          <a:p>
            <a:pPr marL="228600" indent="-228600">
              <a:buAutoNum type="arabicPeriod"/>
            </a:pPr>
            <a:r>
              <a:rPr lang="da-DK" sz="1200" dirty="0">
                <a:solidFill>
                  <a:schemeClr val="tx1"/>
                </a:solidFill>
                <a:latin typeface="Quicksand"/>
              </a:rPr>
              <a:t>Åbne generisk link </a:t>
            </a:r>
          </a:p>
          <a:p>
            <a:pPr marL="228600" indent="-228600">
              <a:buAutoNum type="arabicPeriod"/>
            </a:pPr>
            <a:endParaRPr lang="da-DK" sz="1200" dirty="0">
              <a:solidFill>
                <a:schemeClr val="tx1"/>
              </a:solidFill>
              <a:latin typeface="Quicksand"/>
            </a:endParaRPr>
          </a:p>
          <a:p>
            <a:pPr marL="228600" indent="-228600">
              <a:buAutoNum type="arabicPeriod"/>
            </a:pPr>
            <a:r>
              <a:rPr lang="da-DK" sz="1200" dirty="0">
                <a:solidFill>
                  <a:schemeClr val="tx1"/>
                </a:solidFill>
                <a:latin typeface="Quicksand"/>
              </a:rPr>
              <a:t>Logge ind med Uni-login</a:t>
            </a:r>
          </a:p>
          <a:p>
            <a:pPr marL="228600" indent="-228600">
              <a:buAutoNum type="arabicPeriod"/>
            </a:pPr>
            <a:endParaRPr lang="da-DK" sz="1200" dirty="0">
              <a:solidFill>
                <a:schemeClr val="tx1"/>
              </a:solidFill>
              <a:latin typeface="Quicksand"/>
            </a:endParaRPr>
          </a:p>
          <a:p>
            <a:pPr marL="228600" indent="-228600">
              <a:buAutoNum type="arabicPeriod"/>
            </a:pPr>
            <a:r>
              <a:rPr lang="da-DK" sz="1200" dirty="0">
                <a:solidFill>
                  <a:schemeClr val="tx1"/>
                </a:solidFill>
                <a:latin typeface="Quicksand"/>
              </a:rPr>
              <a:t>Besvare og færdiggøre spørgeskema </a:t>
            </a:r>
          </a:p>
          <a:p>
            <a:endParaRPr lang="da-DK" sz="1200" dirty="0">
              <a:solidFill>
                <a:schemeClr val="tx1"/>
              </a:solidFill>
              <a:latin typeface="Quicksand"/>
            </a:endParaRPr>
          </a:p>
          <a:p>
            <a:r>
              <a:rPr lang="da-DK" sz="1200" dirty="0">
                <a:solidFill>
                  <a:schemeClr val="tx1"/>
                </a:solidFill>
                <a:latin typeface="Quicksand"/>
              </a:rPr>
              <a:t>Skoleleder følger løbende op blandt pædagogisk personale og modtager information om </a:t>
            </a:r>
            <a:r>
              <a:rPr lang="da-DK" sz="1200" b="1" dirty="0">
                <a:solidFill>
                  <a:schemeClr val="tx1"/>
                </a:solidFill>
                <a:latin typeface="Quicksand"/>
              </a:rPr>
              <a:t>svarprocent </a:t>
            </a:r>
            <a:r>
              <a:rPr lang="da-DK" sz="1200" dirty="0">
                <a:solidFill>
                  <a:schemeClr val="tx1"/>
                </a:solidFill>
                <a:latin typeface="Quicksand"/>
              </a:rPr>
              <a:t>pr. mail. </a:t>
            </a:r>
          </a:p>
          <a:p>
            <a:endParaRPr lang="da-DK" sz="1200" dirty="0">
              <a:solidFill>
                <a:schemeClr val="tx1"/>
              </a:solidFill>
              <a:highlight>
                <a:srgbClr val="FFFF00"/>
              </a:highlight>
              <a:latin typeface="Quicksand"/>
            </a:endParaRPr>
          </a:p>
          <a:p>
            <a:r>
              <a:rPr lang="da-DK" sz="1200" dirty="0">
                <a:solidFill>
                  <a:schemeClr val="tx1"/>
                </a:solidFill>
                <a:highlight>
                  <a:srgbClr val="FFFF00"/>
                </a:highlight>
                <a:latin typeface="Quicksand"/>
              </a:rPr>
              <a:t> </a:t>
            </a:r>
          </a:p>
        </p:txBody>
      </p:sp>
      <p:sp>
        <p:nvSpPr>
          <p:cNvPr id="25" name="TextBox 24">
            <a:extLst>
              <a:ext uri="{FF2B5EF4-FFF2-40B4-BE49-F238E27FC236}">
                <a16:creationId xmlns:a16="http://schemas.microsoft.com/office/drawing/2014/main" id="{199D6B9B-378F-E7B0-19A1-3AF02278A5BA}"/>
              </a:ext>
            </a:extLst>
          </p:cNvPr>
          <p:cNvSpPr txBox="1"/>
          <p:nvPr/>
        </p:nvSpPr>
        <p:spPr>
          <a:xfrm>
            <a:off x="9171649" y="2255624"/>
            <a:ext cx="2505600" cy="463169"/>
          </a:xfrm>
          <a:prstGeom prst="rect">
            <a:avLst/>
          </a:prstGeom>
          <a:solidFill>
            <a:schemeClr val="accent6"/>
          </a:solidFill>
          <a:ln w="28575">
            <a:solidFill>
              <a:schemeClr val="accent6"/>
            </a:solidFill>
          </a:ln>
        </p:spPr>
        <p:txBody>
          <a:bodyPr wrap="square" lIns="0" tIns="0" rIns="0" bIns="0" rtlCol="0" anchor="ctr">
            <a:noAutofit/>
          </a:bodyPr>
          <a:lstStyle/>
          <a:p>
            <a:pPr algn="ctr"/>
            <a:r>
              <a:rPr lang="da-DK" sz="2800" b="1">
                <a:latin typeface="Amatic SC" panose="00000500000000000000" pitchFamily="2" charset="-79"/>
                <a:cs typeface="Amatic SC" panose="00000500000000000000" pitchFamily="2" charset="-79"/>
              </a:rPr>
              <a:t>Trin 4 </a:t>
            </a:r>
            <a:endParaRPr lang="da-DK" sz="2400" b="1">
              <a:latin typeface="Amatic SC" panose="00000500000000000000" pitchFamily="2" charset="-79"/>
              <a:cs typeface="Amatic SC" panose="00000500000000000000" pitchFamily="2" charset="-79"/>
            </a:endParaRPr>
          </a:p>
        </p:txBody>
      </p:sp>
      <p:sp>
        <p:nvSpPr>
          <p:cNvPr id="26" name="Rectangle 25">
            <a:extLst>
              <a:ext uri="{FF2B5EF4-FFF2-40B4-BE49-F238E27FC236}">
                <a16:creationId xmlns:a16="http://schemas.microsoft.com/office/drawing/2014/main" id="{6E2784A3-426C-53C3-CF39-3C560B4E5090}"/>
              </a:ext>
            </a:extLst>
          </p:cNvPr>
          <p:cNvSpPr/>
          <p:nvPr/>
        </p:nvSpPr>
        <p:spPr>
          <a:xfrm>
            <a:off x="9171648" y="2722836"/>
            <a:ext cx="2505600" cy="3286077"/>
          </a:xfrm>
          <a:prstGeom prst="rect">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da-DK" sz="1200" dirty="0">
                <a:solidFill>
                  <a:schemeClr val="tx1"/>
                </a:solidFill>
                <a:latin typeface="Quicksand"/>
              </a:rPr>
              <a:t>Skoleleder modtager </a:t>
            </a:r>
            <a:r>
              <a:rPr lang="da-DK" sz="1200" b="1" dirty="0">
                <a:solidFill>
                  <a:schemeClr val="tx1"/>
                </a:solidFill>
                <a:latin typeface="Quicksand"/>
              </a:rPr>
              <a:t>link til en datarapport på skole- og kommuneniveau </a:t>
            </a:r>
            <a:r>
              <a:rPr lang="da-DK" sz="1200" dirty="0">
                <a:solidFill>
                  <a:schemeClr val="tx1"/>
                </a:solidFill>
                <a:latin typeface="Quicksand"/>
              </a:rPr>
              <a:t>ca. to uger efter, spørgeskemaet er besvaret, såfremt der </a:t>
            </a:r>
            <a:r>
              <a:rPr lang="da-DK" sz="1200" b="1" dirty="0">
                <a:solidFill>
                  <a:schemeClr val="tx1"/>
                </a:solidFill>
                <a:latin typeface="Quicksand"/>
              </a:rPr>
              <a:t>minimum er 10 besvarelser </a:t>
            </a:r>
            <a:r>
              <a:rPr lang="da-DK" sz="1200" dirty="0">
                <a:solidFill>
                  <a:schemeClr val="tx1"/>
                </a:solidFill>
                <a:latin typeface="Quicksand"/>
              </a:rPr>
              <a:t>for skolen. Skolerapporten vil indeholde data om pædagogisk personales oplevelse af teamsamarbejdet og de organisatoriske rammer for at skabe deltagelsesmuligheder for alle på skolen. </a:t>
            </a:r>
          </a:p>
          <a:p>
            <a:endParaRPr lang="da-DK" sz="1200" dirty="0">
              <a:solidFill>
                <a:schemeClr val="tx1"/>
              </a:solidFill>
              <a:latin typeface="Quicksand"/>
            </a:endParaRPr>
          </a:p>
          <a:p>
            <a:r>
              <a:rPr lang="da-DK" sz="1200" dirty="0">
                <a:solidFill>
                  <a:schemeClr val="tx1"/>
                </a:solidFill>
                <a:latin typeface="Quicksand"/>
              </a:rPr>
              <a:t>Det vil ikke være muligt at identificere den enkelte medarbejder ud fra besvarelsen og besvarelser af baggrundsspørgsmål vil ikke fremgå af skolerapporten.</a:t>
            </a:r>
            <a:r>
              <a:rPr lang="da-DK" sz="1200" dirty="0">
                <a:solidFill>
                  <a:schemeClr val="tx1"/>
                </a:solidFill>
                <a:highlight>
                  <a:srgbClr val="FFFF00"/>
                </a:highlight>
                <a:latin typeface="Quicksand"/>
              </a:rPr>
              <a:t> </a:t>
            </a:r>
          </a:p>
        </p:txBody>
      </p:sp>
      <p:cxnSp>
        <p:nvCxnSpPr>
          <p:cNvPr id="28" name="Straight Arrow Connector 27">
            <a:extLst>
              <a:ext uri="{FF2B5EF4-FFF2-40B4-BE49-F238E27FC236}">
                <a16:creationId xmlns:a16="http://schemas.microsoft.com/office/drawing/2014/main" id="{BDE52B0B-4924-7F41-D102-78C33FD0F61F}"/>
              </a:ext>
            </a:extLst>
          </p:cNvPr>
          <p:cNvCxnSpPr>
            <a:cxnSpLocks/>
            <a:stCxn id="15" idx="3"/>
            <a:endCxn id="17" idx="1"/>
          </p:cNvCxnSpPr>
          <p:nvPr/>
        </p:nvCxnSpPr>
        <p:spPr>
          <a:xfrm flipV="1">
            <a:off x="2819577" y="4361831"/>
            <a:ext cx="446957" cy="2973"/>
          </a:xfrm>
          <a:prstGeom prst="straightConnector1">
            <a:avLst/>
          </a:prstGeom>
          <a:ln w="38100">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FB0090B4-1973-F269-7374-7B8A288C254B}"/>
              </a:ext>
            </a:extLst>
          </p:cNvPr>
          <p:cNvCxnSpPr>
            <a:cxnSpLocks/>
            <a:stCxn id="17" idx="3"/>
            <a:endCxn id="20" idx="1"/>
          </p:cNvCxnSpPr>
          <p:nvPr/>
        </p:nvCxnSpPr>
        <p:spPr>
          <a:xfrm>
            <a:off x="5772134" y="4361831"/>
            <a:ext cx="446957" cy="4044"/>
          </a:xfrm>
          <a:prstGeom prst="straightConnector1">
            <a:avLst/>
          </a:prstGeom>
          <a:ln w="38100">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76A1603-1E77-707B-DAFF-30B17798A430}"/>
              </a:ext>
            </a:extLst>
          </p:cNvPr>
          <p:cNvCxnSpPr>
            <a:cxnSpLocks/>
            <a:stCxn id="20" idx="3"/>
            <a:endCxn id="26" idx="1"/>
          </p:cNvCxnSpPr>
          <p:nvPr/>
        </p:nvCxnSpPr>
        <p:spPr>
          <a:xfrm>
            <a:off x="8724691" y="4365875"/>
            <a:ext cx="446957" cy="0"/>
          </a:xfrm>
          <a:prstGeom prst="straightConnector1">
            <a:avLst/>
          </a:prstGeom>
          <a:ln w="38100">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21941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E507A71-666E-43DC-B180-527351AC62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DE507A71-666E-43DC-B180-527351AC62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Google Shape;846;p29">
            <a:extLst>
              <a:ext uri="{FF2B5EF4-FFF2-40B4-BE49-F238E27FC236}">
                <a16:creationId xmlns:a16="http://schemas.microsoft.com/office/drawing/2014/main" id="{87E2A4CF-53F1-4515-BE78-23D925C019ED}"/>
              </a:ext>
            </a:extLst>
          </p:cNvPr>
          <p:cNvSpPr/>
          <p:nvPr/>
        </p:nvSpPr>
        <p:spPr>
          <a:xfrm>
            <a:off x="0" y="370"/>
            <a:ext cx="12191999" cy="1019120"/>
          </a:xfrm>
          <a:prstGeom prst="homePlate">
            <a:avLst>
              <a:gd name="adj" fmla="val 50000"/>
            </a:avLst>
          </a:prstGeom>
          <a:solidFill>
            <a:schemeClr val="accent6"/>
          </a:solidFill>
          <a:ln>
            <a:noFill/>
          </a:ln>
        </p:spPr>
        <p:txBody>
          <a:bodyPr spcFirstLastPara="1" wrap="square" lIns="396000" tIns="91425" rIns="91425" bIns="91425" anchor="ctr" anchorCtr="0">
            <a:noAutofit/>
          </a:bodyPr>
          <a:lstStyle/>
          <a:p>
            <a:pPr marL="0" lvl="0" indent="0">
              <a:spcBef>
                <a:spcPts val="0"/>
              </a:spcBef>
              <a:spcAft>
                <a:spcPts val="0"/>
              </a:spcAft>
              <a:buNone/>
            </a:pPr>
            <a:r>
              <a:rPr lang="da-DK" sz="3600">
                <a:latin typeface="Amatic SC"/>
                <a:ea typeface="Amatic SC"/>
                <a:cs typeface="Amatic SC"/>
                <a:sym typeface="Amatic SC"/>
              </a:rPr>
              <a:t>	  Brainstorm med fokus på professionelle læringsfællesskaber</a:t>
            </a:r>
          </a:p>
        </p:txBody>
      </p:sp>
      <p:sp>
        <p:nvSpPr>
          <p:cNvPr id="22" name="Google Shape;843;p29">
            <a:extLst>
              <a:ext uri="{FF2B5EF4-FFF2-40B4-BE49-F238E27FC236}">
                <a16:creationId xmlns:a16="http://schemas.microsoft.com/office/drawing/2014/main" id="{81732859-9F50-452E-9AFE-EDAF011B271C}"/>
              </a:ext>
            </a:extLst>
          </p:cNvPr>
          <p:cNvSpPr/>
          <p:nvPr/>
        </p:nvSpPr>
        <p:spPr>
          <a:xfrm>
            <a:off x="11591638" y="0"/>
            <a:ext cx="600363" cy="1019120"/>
          </a:xfrm>
          <a:prstGeom prst="rect">
            <a:avLst/>
          </a:prstGeom>
          <a:solidFill>
            <a:schemeClr val="accent4"/>
          </a:solidFill>
          <a:ln>
            <a:noFill/>
          </a:ln>
        </p:spPr>
        <p:txBody>
          <a:bodyPr spcFirstLastPara="1" wrap="square" lIns="91425" tIns="91425" rIns="91425" bIns="91425" anchor="ctr" anchorCtr="0">
            <a:noAutofit/>
          </a:bodyPr>
          <a:lstStyle/>
          <a:p>
            <a:pPr marL="0" lvl="0" indent="0" algn="ctr">
              <a:spcBef>
                <a:spcPts val="0"/>
              </a:spcBef>
              <a:spcAft>
                <a:spcPts val="0"/>
              </a:spcAft>
              <a:buNone/>
            </a:pPr>
            <a:endParaRPr lang="da-DK" sz="2400">
              <a:latin typeface="Amatic SC"/>
              <a:ea typeface="Amatic SC"/>
              <a:cs typeface="Amatic SC"/>
              <a:sym typeface="Amatic SC"/>
            </a:endParaRPr>
          </a:p>
        </p:txBody>
      </p:sp>
      <p:sp>
        <p:nvSpPr>
          <p:cNvPr id="23" name="Google Shape;846;p29">
            <a:extLst>
              <a:ext uri="{FF2B5EF4-FFF2-40B4-BE49-F238E27FC236}">
                <a16:creationId xmlns:a16="http://schemas.microsoft.com/office/drawing/2014/main" id="{488F2B86-D27F-43EA-A9E0-B40CE7A6FB50}"/>
              </a:ext>
            </a:extLst>
          </p:cNvPr>
          <p:cNvSpPr/>
          <p:nvPr/>
        </p:nvSpPr>
        <p:spPr>
          <a:xfrm>
            <a:off x="0" y="370"/>
            <a:ext cx="11591636" cy="1019120"/>
          </a:xfrm>
          <a:prstGeom prst="homePlate">
            <a:avLst>
              <a:gd name="adj" fmla="val 50000"/>
            </a:avLst>
          </a:prstGeom>
          <a:solidFill>
            <a:schemeClr val="accent6"/>
          </a:solidFill>
          <a:ln>
            <a:noFill/>
          </a:ln>
        </p:spPr>
        <p:txBody>
          <a:bodyPr spcFirstLastPara="1" wrap="square" lIns="396000" tIns="91425" rIns="91425" bIns="91425" anchor="ctr" anchorCtr="0">
            <a:noAutofit/>
          </a:bodyPr>
          <a:lstStyle/>
          <a:p>
            <a:pPr marL="0" lvl="0" indent="0">
              <a:spcBef>
                <a:spcPts val="0"/>
              </a:spcBef>
              <a:spcAft>
                <a:spcPts val="0"/>
              </a:spcAft>
              <a:buNone/>
            </a:pPr>
            <a:endParaRPr lang="da-DK" sz="3600">
              <a:latin typeface="Amatic SC"/>
              <a:ea typeface="Amatic SC"/>
              <a:cs typeface="Amatic SC"/>
              <a:sym typeface="Amatic SC"/>
            </a:endParaRPr>
          </a:p>
        </p:txBody>
      </p:sp>
      <p:sp>
        <p:nvSpPr>
          <p:cNvPr id="24" name="Google Shape;843;p29">
            <a:extLst>
              <a:ext uri="{FF2B5EF4-FFF2-40B4-BE49-F238E27FC236}">
                <a16:creationId xmlns:a16="http://schemas.microsoft.com/office/drawing/2014/main" id="{F8828B6B-59CC-417B-9D3C-67A4ECCC3798}"/>
              </a:ext>
            </a:extLst>
          </p:cNvPr>
          <p:cNvSpPr/>
          <p:nvPr/>
        </p:nvSpPr>
        <p:spPr>
          <a:xfrm>
            <a:off x="11057971" y="0"/>
            <a:ext cx="1067334" cy="1019120"/>
          </a:xfrm>
          <a:prstGeom prst="chevron">
            <a:avLst>
              <a:gd name="adj" fmla="val 50000"/>
            </a:avLst>
          </a:prstGeom>
          <a:solidFill>
            <a:schemeClr val="accent5"/>
          </a:solidFill>
          <a:ln>
            <a:noFill/>
          </a:ln>
        </p:spPr>
        <p:txBody>
          <a:bodyPr spcFirstLastPara="1" wrap="square" lIns="91425" tIns="91425" rIns="91425" bIns="91425" anchor="ctr" anchorCtr="0">
            <a:noAutofit/>
          </a:bodyPr>
          <a:lstStyle/>
          <a:p>
            <a:pPr marL="0" lvl="0" indent="0">
              <a:spcBef>
                <a:spcPts val="0"/>
              </a:spcBef>
              <a:spcAft>
                <a:spcPts val="0"/>
              </a:spcAft>
              <a:buNone/>
            </a:pPr>
            <a:endParaRPr lang="da-DK" sz="3600">
              <a:latin typeface="Amatic SC"/>
              <a:ea typeface="Amatic SC"/>
              <a:cs typeface="Amatic SC"/>
              <a:sym typeface="Amatic SC"/>
            </a:endParaRPr>
          </a:p>
        </p:txBody>
      </p:sp>
      <p:sp>
        <p:nvSpPr>
          <p:cNvPr id="2" name="Title 1">
            <a:extLst>
              <a:ext uri="{FF2B5EF4-FFF2-40B4-BE49-F238E27FC236}">
                <a16:creationId xmlns:a16="http://schemas.microsoft.com/office/drawing/2014/main" id="{086C204E-F617-4773-80B1-4992F18DE87E}"/>
              </a:ext>
            </a:extLst>
          </p:cNvPr>
          <p:cNvSpPr>
            <a:spLocks noGrp="1"/>
          </p:cNvSpPr>
          <p:nvPr>
            <p:ph type="title"/>
          </p:nvPr>
        </p:nvSpPr>
        <p:spPr>
          <a:xfrm>
            <a:off x="182237" y="119575"/>
            <a:ext cx="11227162" cy="779969"/>
          </a:xfrm>
        </p:spPr>
        <p:txBody>
          <a:bodyPr vert="horz"/>
          <a:lstStyle/>
          <a:p>
            <a:pPr algn="ctr"/>
            <a:r>
              <a:rPr lang="da-DK" sz="4400" b="1">
                <a:solidFill>
                  <a:schemeClr val="tx1"/>
                </a:solidFill>
                <a:latin typeface="Amatic SC" panose="00000500000000000000" pitchFamily="2" charset="-79"/>
                <a:cs typeface="Amatic SC" panose="00000500000000000000" pitchFamily="2" charset="-79"/>
              </a:rPr>
              <a:t>Spørgeskemaundersøgelse blandt pædagogisk personale</a:t>
            </a:r>
          </a:p>
        </p:txBody>
      </p:sp>
      <p:pic>
        <p:nvPicPr>
          <p:cNvPr id="18" name="Graphic 17" descr="Clipboard with solid fill">
            <a:extLst>
              <a:ext uri="{FF2B5EF4-FFF2-40B4-BE49-F238E27FC236}">
                <a16:creationId xmlns:a16="http://schemas.microsoft.com/office/drawing/2014/main" id="{ED7215C1-3596-435E-BD0E-705EA32993A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21" y="119575"/>
            <a:ext cx="678767" cy="678767"/>
          </a:xfrm>
          <a:prstGeom prst="rect">
            <a:avLst/>
          </a:prstGeom>
        </p:spPr>
      </p:pic>
      <p:sp>
        <p:nvSpPr>
          <p:cNvPr id="32" name="TextBox 31">
            <a:extLst>
              <a:ext uri="{FF2B5EF4-FFF2-40B4-BE49-F238E27FC236}">
                <a16:creationId xmlns:a16="http://schemas.microsoft.com/office/drawing/2014/main" id="{6FADC90D-C63E-4995-A315-394AAA3E1D8D}"/>
              </a:ext>
            </a:extLst>
          </p:cNvPr>
          <p:cNvSpPr txBox="1"/>
          <p:nvPr/>
        </p:nvSpPr>
        <p:spPr>
          <a:xfrm>
            <a:off x="1673155" y="1580659"/>
            <a:ext cx="8372275" cy="463169"/>
          </a:xfrm>
          <a:prstGeom prst="rect">
            <a:avLst/>
          </a:prstGeom>
          <a:solidFill>
            <a:schemeClr val="accent6"/>
          </a:solidFill>
          <a:ln w="28575">
            <a:solidFill>
              <a:schemeClr val="accent6"/>
            </a:solidFill>
          </a:ln>
        </p:spPr>
        <p:txBody>
          <a:bodyPr wrap="square" lIns="0" tIns="0" rIns="0" bIns="0" rtlCol="0" anchor="ctr">
            <a:noAutofit/>
          </a:bodyPr>
          <a:lstStyle/>
          <a:p>
            <a:pPr algn="ctr"/>
            <a:r>
              <a:rPr lang="da-DK" sz="2800" b="1">
                <a:latin typeface="Amatic SC" panose="00000500000000000000" pitchFamily="2" charset="-79"/>
                <a:cs typeface="Amatic SC" panose="00000500000000000000" pitchFamily="2" charset="-79"/>
              </a:rPr>
              <a:t>Tips og tricks til spørgeskemaundersøgelsen</a:t>
            </a:r>
            <a:endParaRPr lang="da-DK" sz="2400" b="1">
              <a:latin typeface="Amatic SC" panose="00000500000000000000" pitchFamily="2" charset="-79"/>
              <a:cs typeface="Amatic SC" panose="00000500000000000000" pitchFamily="2" charset="-79"/>
            </a:endParaRPr>
          </a:p>
        </p:txBody>
      </p:sp>
      <p:sp>
        <p:nvSpPr>
          <p:cNvPr id="33" name="Rectangle 32">
            <a:extLst>
              <a:ext uri="{FF2B5EF4-FFF2-40B4-BE49-F238E27FC236}">
                <a16:creationId xmlns:a16="http://schemas.microsoft.com/office/drawing/2014/main" id="{1797CD25-E47B-462D-9CDE-FDA73CBB813E}"/>
              </a:ext>
            </a:extLst>
          </p:cNvPr>
          <p:cNvSpPr/>
          <p:nvPr/>
        </p:nvSpPr>
        <p:spPr>
          <a:xfrm>
            <a:off x="1673156" y="2043828"/>
            <a:ext cx="8372273" cy="2631934"/>
          </a:xfrm>
          <a:prstGeom prst="rect">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34" name="TextBox 33">
            <a:extLst>
              <a:ext uri="{FF2B5EF4-FFF2-40B4-BE49-F238E27FC236}">
                <a16:creationId xmlns:a16="http://schemas.microsoft.com/office/drawing/2014/main" id="{4DA16978-08B8-44DE-AE66-A99A848C6160}"/>
              </a:ext>
            </a:extLst>
          </p:cNvPr>
          <p:cNvSpPr txBox="1"/>
          <p:nvPr/>
        </p:nvSpPr>
        <p:spPr>
          <a:xfrm>
            <a:off x="1926076" y="2371149"/>
            <a:ext cx="7898859" cy="1938992"/>
          </a:xfrm>
          <a:prstGeom prst="rect">
            <a:avLst/>
          </a:prstGeom>
          <a:noFill/>
        </p:spPr>
        <p:txBody>
          <a:bodyPr wrap="square" lIns="0" tIns="0" rIns="0" bIns="0" rtlCol="0">
            <a:spAutoFit/>
          </a:bodyPr>
          <a:lstStyle/>
          <a:p>
            <a:pPr marL="285750" indent="-285750">
              <a:buFont typeface="Wingdings" panose="05000000000000000000" pitchFamily="2" charset="2"/>
              <a:buChar char="ü"/>
            </a:pPr>
            <a:r>
              <a:rPr lang="da-DK" sz="1400" dirty="0">
                <a:latin typeface="Quicksand"/>
              </a:rPr>
              <a:t>Vi anbefaler, at I </a:t>
            </a:r>
            <a:r>
              <a:rPr lang="da-DK" sz="1400" b="1" dirty="0">
                <a:latin typeface="Quicksand"/>
              </a:rPr>
              <a:t>afsætter tid på et fælles møde </a:t>
            </a:r>
            <a:r>
              <a:rPr lang="da-DK" sz="1400" dirty="0">
                <a:latin typeface="Quicksand"/>
              </a:rPr>
              <a:t>til, at alle medarbejdere får mulighed for at besvare spørgeskemaet samtidigt.</a:t>
            </a:r>
          </a:p>
          <a:p>
            <a:pPr marL="285750" indent="-285750">
              <a:buFont typeface="Wingdings" panose="05000000000000000000" pitchFamily="2" charset="2"/>
              <a:buChar char="ü"/>
            </a:pPr>
            <a:endParaRPr lang="da-DK" sz="1400" dirty="0">
              <a:latin typeface="Quicksand"/>
            </a:endParaRPr>
          </a:p>
          <a:p>
            <a:pPr marL="285750" indent="-285750">
              <a:buFont typeface="Wingdings" panose="05000000000000000000" pitchFamily="2" charset="2"/>
              <a:buChar char="ü"/>
            </a:pPr>
            <a:r>
              <a:rPr lang="da-DK" sz="1400" dirty="0">
                <a:latin typeface="Quicksand"/>
              </a:rPr>
              <a:t>Spørgeskemaet tager ca. </a:t>
            </a:r>
            <a:r>
              <a:rPr lang="da-DK" sz="1400" b="1" dirty="0">
                <a:latin typeface="Quicksand"/>
              </a:rPr>
              <a:t>20 minutter </a:t>
            </a:r>
            <a:r>
              <a:rPr lang="da-DK" sz="1400" dirty="0">
                <a:latin typeface="Quicksand"/>
              </a:rPr>
              <a:t>at besvare, men afsæt gerne lidt længere, så der er god tid til at besvare skemaet i forskelligt tempo.</a:t>
            </a:r>
          </a:p>
          <a:p>
            <a:pPr marL="285750" indent="-285750">
              <a:buFont typeface="Wingdings" panose="05000000000000000000" pitchFamily="2" charset="2"/>
              <a:buChar char="ü"/>
            </a:pPr>
            <a:endParaRPr lang="da-DK" sz="1400" dirty="0">
              <a:latin typeface="Quicksand"/>
            </a:endParaRPr>
          </a:p>
          <a:p>
            <a:pPr marL="285750" indent="-285750">
              <a:buFont typeface="Wingdings" panose="05000000000000000000" pitchFamily="2" charset="2"/>
              <a:buChar char="ü"/>
            </a:pPr>
            <a:r>
              <a:rPr lang="da-DK" sz="1400" dirty="0">
                <a:latin typeface="Quicksand"/>
              </a:rPr>
              <a:t>Husk at have </a:t>
            </a:r>
            <a:r>
              <a:rPr lang="da-DK" sz="1400" b="1" dirty="0">
                <a:latin typeface="Quicksand"/>
              </a:rPr>
              <a:t>Uni-login-oplysninger</a:t>
            </a:r>
            <a:r>
              <a:rPr lang="da-DK" sz="1400" dirty="0">
                <a:latin typeface="Quicksand"/>
              </a:rPr>
              <a:t> klar ved besvarelse af spørgeskemaet.</a:t>
            </a:r>
          </a:p>
          <a:p>
            <a:pPr marL="285750" indent="-285750">
              <a:buFont typeface="Wingdings" panose="05000000000000000000" pitchFamily="2" charset="2"/>
              <a:buChar char="ü"/>
            </a:pPr>
            <a:endParaRPr lang="da-DK" sz="1400" dirty="0">
              <a:latin typeface="Quicksand"/>
            </a:endParaRPr>
          </a:p>
          <a:p>
            <a:endParaRPr lang="da-DK" sz="1400" dirty="0">
              <a:latin typeface="Quicksand"/>
            </a:endParaRPr>
          </a:p>
        </p:txBody>
      </p:sp>
    </p:spTree>
    <p:extLst>
      <p:ext uri="{BB962C8B-B14F-4D97-AF65-F5344CB8AC3E}">
        <p14:creationId xmlns:p14="http://schemas.microsoft.com/office/powerpoint/2010/main" val="26760156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Google Shape;994;p40">
            <a:extLst>
              <a:ext uri="{FF2B5EF4-FFF2-40B4-BE49-F238E27FC236}">
                <a16:creationId xmlns:a16="http://schemas.microsoft.com/office/drawing/2014/main" id="{04668915-09E4-41EE-82CA-960C056DB399}"/>
              </a:ext>
            </a:extLst>
          </p:cNvPr>
          <p:cNvSpPr txBox="1">
            <a:spLocks/>
          </p:cNvSpPr>
          <p:nvPr/>
        </p:nvSpPr>
        <p:spPr>
          <a:xfrm>
            <a:off x="0" y="0"/>
            <a:ext cx="12192000" cy="1684421"/>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1pPr>
            <a:lvl2pPr marR="0" lvl="1"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2pPr>
            <a:lvl3pPr marR="0" lvl="2"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3pPr>
            <a:lvl4pPr marR="0" lvl="3"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4pPr>
            <a:lvl5pPr marR="0" lvl="4"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5pPr>
            <a:lvl6pPr marR="0" lvl="5"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6pPr>
            <a:lvl7pPr marR="0" lvl="6"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7pPr>
            <a:lvl8pPr marR="0" lvl="7"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8pPr>
            <a:lvl9pPr marR="0" lvl="8"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9pPr>
          </a:lstStyle>
          <a:p>
            <a:pPr marL="0" marR="0" lvl="0" indent="0" algn="ctr" defTabSz="914400" rtl="0" eaLnBrk="1" fontAlgn="auto" latinLnBrk="0" hangingPunct="1">
              <a:lnSpc>
                <a:spcPct val="90000"/>
              </a:lnSpc>
              <a:spcBef>
                <a:spcPts val="0"/>
              </a:spcBef>
              <a:spcAft>
                <a:spcPts val="0"/>
              </a:spcAft>
              <a:buClr>
                <a:srgbClr val="273F68"/>
              </a:buClr>
              <a:buSzPts val="3000"/>
              <a:buFont typeface="Amatic SC"/>
              <a:buNone/>
              <a:tabLst/>
              <a:defRPr/>
            </a:pPr>
            <a:r>
              <a:rPr kumimoji="0" lang="da-DK" sz="6000" b="1" i="0" u="none" strike="noStrike" kern="0" cap="none" spc="0" normalizeH="0" baseline="0" noProof="0">
                <a:ln>
                  <a:noFill/>
                </a:ln>
                <a:solidFill>
                  <a:srgbClr val="273F68"/>
                </a:solidFill>
                <a:effectLst/>
                <a:uLnTx/>
                <a:uFillTx/>
                <a:latin typeface="Amatic SC"/>
                <a:cs typeface="Amatic SC"/>
                <a:sym typeface="Amatic SC"/>
              </a:rPr>
              <a:t>Eksempel på skolerapport</a:t>
            </a:r>
          </a:p>
        </p:txBody>
      </p:sp>
      <p:pic>
        <p:nvPicPr>
          <p:cNvPr id="17" name="Picture 16">
            <a:extLst>
              <a:ext uri="{FF2B5EF4-FFF2-40B4-BE49-F238E27FC236}">
                <a16:creationId xmlns:a16="http://schemas.microsoft.com/office/drawing/2014/main" id="{8EABD4F0-5885-7B62-B407-535DAFCF0D4D}"/>
              </a:ext>
            </a:extLst>
          </p:cNvPr>
          <p:cNvPicPr>
            <a:picLocks noChangeAspect="1"/>
          </p:cNvPicPr>
          <p:nvPr/>
        </p:nvPicPr>
        <p:blipFill>
          <a:blip r:embed="rId6"/>
          <a:stretch>
            <a:fillRect/>
          </a:stretch>
        </p:blipFill>
        <p:spPr>
          <a:xfrm>
            <a:off x="810310" y="1283098"/>
            <a:ext cx="10571380" cy="5169856"/>
          </a:xfrm>
          <a:prstGeom prst="rect">
            <a:avLst/>
          </a:prstGeom>
        </p:spPr>
      </p:pic>
    </p:spTree>
    <p:extLst>
      <p:ext uri="{BB962C8B-B14F-4D97-AF65-F5344CB8AC3E}">
        <p14:creationId xmlns:p14="http://schemas.microsoft.com/office/powerpoint/2010/main" val="6418496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BF6E3B-7DD0-4692-9F53-350096E175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ABBF6E3B-7DD0-4692-9F53-350096E175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Google Shape;843;p29">
            <a:extLst>
              <a:ext uri="{FF2B5EF4-FFF2-40B4-BE49-F238E27FC236}">
                <a16:creationId xmlns:a16="http://schemas.microsoft.com/office/drawing/2014/main" id="{90AEFAD8-26C2-4357-8200-C7836A31699B}"/>
              </a:ext>
            </a:extLst>
          </p:cNvPr>
          <p:cNvSpPr/>
          <p:nvPr/>
        </p:nvSpPr>
        <p:spPr>
          <a:xfrm>
            <a:off x="11591637" y="-1"/>
            <a:ext cx="600363" cy="1019120"/>
          </a:xfrm>
          <a:prstGeom prst="rect">
            <a:avLst/>
          </a:prstGeom>
          <a:solidFill>
            <a:schemeClr val="accent4"/>
          </a:solidFill>
          <a:ln>
            <a:noFill/>
          </a:ln>
        </p:spPr>
        <p:txBody>
          <a:bodyPr spcFirstLastPara="1" wrap="square" lIns="91425" tIns="91425" rIns="91425" bIns="91425" anchor="ctr" anchorCtr="0">
            <a:noAutofit/>
          </a:bodyPr>
          <a:lstStyle/>
          <a:p>
            <a:pPr marL="0" lvl="0" indent="0" algn="ctr">
              <a:spcBef>
                <a:spcPts val="0"/>
              </a:spcBef>
              <a:spcAft>
                <a:spcPts val="0"/>
              </a:spcAft>
              <a:buNone/>
            </a:pPr>
            <a:endParaRPr lang="da-DK" sz="2400">
              <a:latin typeface="Amatic SC"/>
              <a:ea typeface="Amatic SC"/>
              <a:cs typeface="Amatic SC"/>
              <a:sym typeface="Amatic SC"/>
            </a:endParaRPr>
          </a:p>
        </p:txBody>
      </p:sp>
      <p:sp>
        <p:nvSpPr>
          <p:cNvPr id="9" name="Google Shape;846;p29">
            <a:extLst>
              <a:ext uri="{FF2B5EF4-FFF2-40B4-BE49-F238E27FC236}">
                <a16:creationId xmlns:a16="http://schemas.microsoft.com/office/drawing/2014/main" id="{D8F211BF-30A9-4208-9440-7305E183DD2D}"/>
              </a:ext>
            </a:extLst>
          </p:cNvPr>
          <p:cNvSpPr/>
          <p:nvPr/>
        </p:nvSpPr>
        <p:spPr>
          <a:xfrm>
            <a:off x="0" y="370"/>
            <a:ext cx="12125304" cy="1019120"/>
          </a:xfrm>
          <a:prstGeom prst="homePlate">
            <a:avLst>
              <a:gd name="adj" fmla="val 50000"/>
            </a:avLst>
          </a:prstGeom>
          <a:solidFill>
            <a:schemeClr val="accent5"/>
          </a:solidFill>
          <a:ln>
            <a:noFill/>
          </a:ln>
        </p:spPr>
        <p:txBody>
          <a:bodyPr spcFirstLastPara="1" wrap="square" lIns="396000" tIns="91425" rIns="91425" bIns="91425" anchor="ctr" anchorCtr="0">
            <a:noAutofit/>
          </a:bodyPr>
          <a:lstStyle/>
          <a:p>
            <a:pPr marL="0" lvl="0" indent="0">
              <a:spcBef>
                <a:spcPts val="0"/>
              </a:spcBef>
              <a:spcAft>
                <a:spcPts val="0"/>
              </a:spcAft>
              <a:buNone/>
            </a:pPr>
            <a:endParaRPr lang="da-DK" sz="3600">
              <a:latin typeface="Amatic SC"/>
              <a:ea typeface="Amatic SC"/>
              <a:cs typeface="Amatic SC"/>
              <a:sym typeface="Amatic SC"/>
            </a:endParaRPr>
          </a:p>
        </p:txBody>
      </p:sp>
      <p:sp>
        <p:nvSpPr>
          <p:cNvPr id="11" name="Title 1">
            <a:extLst>
              <a:ext uri="{FF2B5EF4-FFF2-40B4-BE49-F238E27FC236}">
                <a16:creationId xmlns:a16="http://schemas.microsoft.com/office/drawing/2014/main" id="{10A44325-23D7-46CD-BA06-0FCA7A3B6297}"/>
              </a:ext>
            </a:extLst>
          </p:cNvPr>
          <p:cNvSpPr txBox="1">
            <a:spLocks/>
          </p:cNvSpPr>
          <p:nvPr/>
        </p:nvSpPr>
        <p:spPr>
          <a:xfrm>
            <a:off x="449071" y="119574"/>
            <a:ext cx="11227162" cy="779969"/>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algn="ctr"/>
            <a:r>
              <a:rPr lang="da-DK" sz="4400" b="1" err="1">
                <a:solidFill>
                  <a:schemeClr val="tx1"/>
                </a:solidFill>
                <a:latin typeface="Amatic SC" panose="00000500000000000000" pitchFamily="2" charset="-79"/>
                <a:cs typeface="Amatic SC" panose="00000500000000000000" pitchFamily="2" charset="-79"/>
              </a:rPr>
              <a:t>Casebesøg</a:t>
            </a:r>
            <a:r>
              <a:rPr lang="da-DK" sz="4400" b="1">
                <a:solidFill>
                  <a:schemeClr val="tx1"/>
                </a:solidFill>
                <a:latin typeface="Amatic SC" panose="00000500000000000000" pitchFamily="2" charset="-79"/>
                <a:cs typeface="Amatic SC" panose="00000500000000000000" pitchFamily="2" charset="-79"/>
              </a:rPr>
              <a:t> på udvalgte skoler</a:t>
            </a:r>
          </a:p>
        </p:txBody>
      </p:sp>
      <p:sp>
        <p:nvSpPr>
          <p:cNvPr id="14" name="Google Shape;843;p29">
            <a:extLst>
              <a:ext uri="{FF2B5EF4-FFF2-40B4-BE49-F238E27FC236}">
                <a16:creationId xmlns:a16="http://schemas.microsoft.com/office/drawing/2014/main" id="{335D332F-DF4D-40EF-9F89-8D085A289F99}"/>
              </a:ext>
            </a:extLst>
          </p:cNvPr>
          <p:cNvSpPr/>
          <p:nvPr/>
        </p:nvSpPr>
        <p:spPr>
          <a:xfrm>
            <a:off x="66696" y="0"/>
            <a:ext cx="1067334" cy="1019120"/>
          </a:xfrm>
          <a:prstGeom prst="chevron">
            <a:avLst>
              <a:gd name="adj" fmla="val 50000"/>
            </a:avLst>
          </a:prstGeom>
          <a:solidFill>
            <a:schemeClr val="accent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lang="da-DK" sz="3600">
              <a:latin typeface="Amatic SC"/>
              <a:ea typeface="Amatic SC"/>
              <a:cs typeface="Amatic SC"/>
              <a:sym typeface="Amatic SC"/>
            </a:endParaRPr>
          </a:p>
        </p:txBody>
      </p:sp>
      <p:sp>
        <p:nvSpPr>
          <p:cNvPr id="15" name="Google Shape;843;p29">
            <a:extLst>
              <a:ext uri="{FF2B5EF4-FFF2-40B4-BE49-F238E27FC236}">
                <a16:creationId xmlns:a16="http://schemas.microsoft.com/office/drawing/2014/main" id="{352D8E8C-91A1-4D3F-B8A4-B963D3B7833D}"/>
              </a:ext>
            </a:extLst>
          </p:cNvPr>
          <p:cNvSpPr/>
          <p:nvPr/>
        </p:nvSpPr>
        <p:spPr>
          <a:xfrm>
            <a:off x="-14856" y="0"/>
            <a:ext cx="600363" cy="1019120"/>
          </a:xfrm>
          <a:prstGeom prst="rect">
            <a:avLst/>
          </a:prstGeom>
          <a:solidFill>
            <a:schemeClr val="accent6"/>
          </a:solidFill>
          <a:ln>
            <a:noFill/>
          </a:ln>
        </p:spPr>
        <p:txBody>
          <a:bodyPr spcFirstLastPara="1" wrap="square" lIns="91425" tIns="91425" rIns="91425" bIns="91425" anchor="ctr" anchorCtr="0">
            <a:noAutofit/>
          </a:bodyPr>
          <a:lstStyle/>
          <a:p>
            <a:pPr marL="0" lvl="0" indent="0" algn="ctr">
              <a:spcBef>
                <a:spcPts val="0"/>
              </a:spcBef>
              <a:spcAft>
                <a:spcPts val="0"/>
              </a:spcAft>
              <a:buNone/>
            </a:pPr>
            <a:endParaRPr lang="da-DK" sz="2400">
              <a:latin typeface="Amatic SC"/>
              <a:ea typeface="Amatic SC"/>
              <a:cs typeface="Amatic SC"/>
              <a:sym typeface="Amatic SC"/>
            </a:endParaRPr>
          </a:p>
        </p:txBody>
      </p:sp>
      <p:pic>
        <p:nvPicPr>
          <p:cNvPr id="17" name="Graphic 16" descr="Schoolhouse with solid fill">
            <a:extLst>
              <a:ext uri="{FF2B5EF4-FFF2-40B4-BE49-F238E27FC236}">
                <a16:creationId xmlns:a16="http://schemas.microsoft.com/office/drawing/2014/main" id="{104E16DC-DE10-474A-951D-EBF804D4C21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23108" y="-46195"/>
            <a:ext cx="914400" cy="914400"/>
          </a:xfrm>
          <a:prstGeom prst="rect">
            <a:avLst/>
          </a:prstGeom>
        </p:spPr>
      </p:pic>
      <p:sp>
        <p:nvSpPr>
          <p:cNvPr id="18" name="TextBox 17">
            <a:extLst>
              <a:ext uri="{FF2B5EF4-FFF2-40B4-BE49-F238E27FC236}">
                <a16:creationId xmlns:a16="http://schemas.microsoft.com/office/drawing/2014/main" id="{CE39AA97-4D19-424A-B2C7-FF4C20C02189}"/>
              </a:ext>
            </a:extLst>
          </p:cNvPr>
          <p:cNvSpPr txBox="1"/>
          <p:nvPr/>
        </p:nvSpPr>
        <p:spPr>
          <a:xfrm>
            <a:off x="652104" y="1861685"/>
            <a:ext cx="4860881" cy="463169"/>
          </a:xfrm>
          <a:prstGeom prst="rect">
            <a:avLst/>
          </a:prstGeom>
          <a:solidFill>
            <a:schemeClr val="accent5"/>
          </a:solidFill>
          <a:ln w="28575">
            <a:solidFill>
              <a:schemeClr val="accent5"/>
            </a:solidFill>
          </a:ln>
        </p:spPr>
        <p:txBody>
          <a:bodyPr wrap="square" lIns="0" tIns="0" rIns="0" bIns="0" rtlCol="0" anchor="ctr">
            <a:noAutofit/>
          </a:bodyPr>
          <a:lstStyle/>
          <a:p>
            <a:pPr algn="ctr"/>
            <a:r>
              <a:rPr lang="da-DK" sz="2800" b="1">
                <a:latin typeface="Amatic SC" panose="00000500000000000000" pitchFamily="2" charset="-79"/>
                <a:cs typeface="Amatic SC" panose="00000500000000000000" pitchFamily="2" charset="-79"/>
              </a:rPr>
              <a:t>Formålet med casebesøgene</a:t>
            </a:r>
            <a:endParaRPr lang="da-DK" sz="2400" b="1">
              <a:latin typeface="Amatic SC" panose="00000500000000000000" pitchFamily="2" charset="-79"/>
              <a:cs typeface="Amatic SC" panose="00000500000000000000" pitchFamily="2" charset="-79"/>
            </a:endParaRPr>
          </a:p>
        </p:txBody>
      </p:sp>
      <p:sp>
        <p:nvSpPr>
          <p:cNvPr id="19" name="Rectangle 18">
            <a:extLst>
              <a:ext uri="{FF2B5EF4-FFF2-40B4-BE49-F238E27FC236}">
                <a16:creationId xmlns:a16="http://schemas.microsoft.com/office/drawing/2014/main" id="{810ACAF7-694B-47CA-AE1A-F1D1D2FEA95A}"/>
              </a:ext>
            </a:extLst>
          </p:cNvPr>
          <p:cNvSpPr/>
          <p:nvPr/>
        </p:nvSpPr>
        <p:spPr>
          <a:xfrm>
            <a:off x="652104" y="2329173"/>
            <a:ext cx="4860881" cy="1099827"/>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20" name="TextBox 19">
            <a:extLst>
              <a:ext uri="{FF2B5EF4-FFF2-40B4-BE49-F238E27FC236}">
                <a16:creationId xmlns:a16="http://schemas.microsoft.com/office/drawing/2014/main" id="{1923FD27-E9DC-40D5-A4B1-EE2E259978AF}"/>
              </a:ext>
            </a:extLst>
          </p:cNvPr>
          <p:cNvSpPr txBox="1"/>
          <p:nvPr/>
        </p:nvSpPr>
        <p:spPr>
          <a:xfrm>
            <a:off x="812996" y="2464117"/>
            <a:ext cx="4552278" cy="738664"/>
          </a:xfrm>
          <a:prstGeom prst="rect">
            <a:avLst/>
          </a:prstGeom>
          <a:noFill/>
        </p:spPr>
        <p:txBody>
          <a:bodyPr wrap="square" lIns="0" tIns="0" rIns="0" bIns="0" rtlCol="0">
            <a:spAutoFit/>
          </a:bodyPr>
          <a:lstStyle/>
          <a:p>
            <a:r>
              <a:rPr lang="da-DK" sz="1600">
                <a:latin typeface="Quicksand"/>
              </a:rPr>
              <a:t>At opnå dybdegående indblik i de erfaringer, skolerne gør sig med udviklingen af varierende læringsmiljøer og følge forandringsprocesserne på tæt hold over tid.</a:t>
            </a:r>
          </a:p>
        </p:txBody>
      </p:sp>
      <p:sp>
        <p:nvSpPr>
          <p:cNvPr id="21" name="TextBox 20">
            <a:extLst>
              <a:ext uri="{FF2B5EF4-FFF2-40B4-BE49-F238E27FC236}">
                <a16:creationId xmlns:a16="http://schemas.microsoft.com/office/drawing/2014/main" id="{E7E73127-719C-481B-B67B-CCA16425E42B}"/>
              </a:ext>
            </a:extLst>
          </p:cNvPr>
          <p:cNvSpPr txBox="1"/>
          <p:nvPr/>
        </p:nvSpPr>
        <p:spPr>
          <a:xfrm>
            <a:off x="6062652" y="1837621"/>
            <a:ext cx="5443232" cy="4431983"/>
          </a:xfrm>
          <a:prstGeom prst="rect">
            <a:avLst/>
          </a:prstGeom>
          <a:noFill/>
        </p:spPr>
        <p:txBody>
          <a:bodyPr wrap="square" lIns="0" tIns="0" rIns="0" bIns="0" rtlCol="0">
            <a:spAutoFit/>
          </a:bodyPr>
          <a:lstStyle/>
          <a:p>
            <a:pPr marL="285750" indent="-285750">
              <a:buFont typeface="Arial" panose="020B0604020202020204" pitchFamily="34" charset="0"/>
              <a:buChar char="•"/>
            </a:pPr>
            <a:r>
              <a:rPr lang="da-DK" sz="1600">
                <a:latin typeface="Quicksand"/>
              </a:rPr>
              <a:t>Casebesøgene gennemføres i løbet af perioden </a:t>
            </a:r>
            <a:r>
              <a:rPr lang="da-DK" sz="1600" b="1">
                <a:latin typeface="Quicksand"/>
              </a:rPr>
              <a:t>april-maj </a:t>
            </a:r>
            <a:r>
              <a:rPr lang="da-DK" sz="1600">
                <a:latin typeface="Quicksand"/>
              </a:rPr>
              <a:t>tre gange i løbet af projektperioden (forår 2023, forår 2024 og forår 2025).</a:t>
            </a:r>
          </a:p>
          <a:p>
            <a:endParaRPr lang="da-DK" sz="1600">
              <a:latin typeface="Quicksand"/>
            </a:endParaRPr>
          </a:p>
          <a:p>
            <a:pPr marL="285750" indent="-285750">
              <a:buFont typeface="Arial" panose="020B0604020202020204" pitchFamily="34" charset="0"/>
              <a:buChar char="•"/>
            </a:pPr>
            <a:r>
              <a:rPr lang="da-DK" sz="1600">
                <a:latin typeface="Quicksand"/>
              </a:rPr>
              <a:t>I samarbejde med forvaltningen er </a:t>
            </a:r>
            <a:r>
              <a:rPr lang="da-DK" sz="1600" b="1">
                <a:latin typeface="Quicksand"/>
              </a:rPr>
              <a:t>6 kommuner </a:t>
            </a:r>
            <a:r>
              <a:rPr lang="da-DK" sz="1600">
                <a:latin typeface="Quicksand"/>
              </a:rPr>
              <a:t>udvalgt til at deltage i casebesøg i 2023. I hver kommune vil der gennemføres to dages besøg af konsulenter fra Rambøll.</a:t>
            </a:r>
          </a:p>
          <a:p>
            <a:pPr marL="285750" indent="-285750">
              <a:buFont typeface="Arial" panose="020B0604020202020204" pitchFamily="34" charset="0"/>
              <a:buChar char="•"/>
            </a:pPr>
            <a:endParaRPr lang="da-DK" sz="1600">
              <a:latin typeface="Quicksand"/>
            </a:endParaRPr>
          </a:p>
          <a:p>
            <a:pPr marL="285750" indent="-285750">
              <a:buFont typeface="Arial" panose="020B0604020202020204" pitchFamily="34" charset="0"/>
              <a:buChar char="•"/>
            </a:pPr>
            <a:r>
              <a:rPr lang="da-DK" sz="1600">
                <a:latin typeface="Quicksand"/>
              </a:rPr>
              <a:t>Jeres skole vil modtage nærmere information om aktiviteterne på casebesøgene, såfremt I er udvalgt til at deltage i disse aktiviteter. Aktiviteterne vil bestå af: </a:t>
            </a:r>
          </a:p>
          <a:p>
            <a:pPr marL="742950" lvl="1" indent="-285750">
              <a:buFont typeface="Arial" panose="020B0604020202020204" pitchFamily="34" charset="0"/>
              <a:buChar char="•"/>
            </a:pPr>
            <a:r>
              <a:rPr lang="da-DK" sz="1600">
                <a:latin typeface="Quicksand"/>
              </a:rPr>
              <a:t>Interviews med udvalgte elever</a:t>
            </a:r>
          </a:p>
          <a:p>
            <a:pPr marL="742950" lvl="1" indent="-285750">
              <a:buFont typeface="Arial" panose="020B0604020202020204" pitchFamily="34" charset="0"/>
              <a:buChar char="•"/>
            </a:pPr>
            <a:r>
              <a:rPr lang="da-DK" sz="1600">
                <a:latin typeface="Quicksand"/>
              </a:rPr>
              <a:t>Interviews med udvalgt pædagogisk personale </a:t>
            </a:r>
          </a:p>
          <a:p>
            <a:pPr marL="742950" lvl="1" indent="-285750">
              <a:buFont typeface="Arial" panose="020B0604020202020204" pitchFamily="34" charset="0"/>
              <a:buChar char="•"/>
            </a:pPr>
            <a:r>
              <a:rPr lang="da-DK" sz="1600">
                <a:latin typeface="Quicksand"/>
              </a:rPr>
              <a:t>Interviews med udvalgte vejledere</a:t>
            </a:r>
          </a:p>
          <a:p>
            <a:pPr marL="742950" lvl="1" indent="-285750">
              <a:buFont typeface="Arial" panose="020B0604020202020204" pitchFamily="34" charset="0"/>
              <a:buChar char="•"/>
            </a:pPr>
            <a:r>
              <a:rPr lang="da-DK" sz="1600">
                <a:latin typeface="Quicksand"/>
              </a:rPr>
              <a:t>Interviews med ledere</a:t>
            </a:r>
          </a:p>
          <a:p>
            <a:pPr marL="742950" lvl="1" indent="-285750">
              <a:buFont typeface="Arial" panose="020B0604020202020204" pitchFamily="34" charset="0"/>
              <a:buChar char="•"/>
            </a:pPr>
            <a:endParaRPr lang="da-DK" sz="1600">
              <a:latin typeface="Quicksand"/>
            </a:endParaRPr>
          </a:p>
          <a:p>
            <a:pPr marL="285750" indent="-285750">
              <a:buFont typeface="Arial" panose="020B0604020202020204" pitchFamily="34" charset="0"/>
              <a:buChar char="•"/>
            </a:pPr>
            <a:endParaRPr lang="da-DK" sz="1600">
              <a:latin typeface="Quicksand"/>
            </a:endParaRPr>
          </a:p>
          <a:p>
            <a:pPr marL="285750" indent="-285750">
              <a:buFont typeface="Arial" panose="020B0604020202020204" pitchFamily="34" charset="0"/>
              <a:buChar char="•"/>
            </a:pPr>
            <a:endParaRPr lang="da-DK" sz="1600">
              <a:latin typeface="Quicksand"/>
            </a:endParaRPr>
          </a:p>
        </p:txBody>
      </p:sp>
      <p:sp>
        <p:nvSpPr>
          <p:cNvPr id="2" name="TextBox 1">
            <a:extLst>
              <a:ext uri="{FF2B5EF4-FFF2-40B4-BE49-F238E27FC236}">
                <a16:creationId xmlns:a16="http://schemas.microsoft.com/office/drawing/2014/main" id="{160246C5-0568-2E16-7455-20C819143FF8}"/>
              </a:ext>
            </a:extLst>
          </p:cNvPr>
          <p:cNvSpPr txBox="1"/>
          <p:nvPr/>
        </p:nvSpPr>
        <p:spPr>
          <a:xfrm>
            <a:off x="652103" y="4149560"/>
            <a:ext cx="4860881" cy="1403515"/>
          </a:xfrm>
          <a:prstGeom prst="rect">
            <a:avLst/>
          </a:prstGeom>
          <a:solidFill>
            <a:schemeClr val="accent5"/>
          </a:solidFill>
          <a:ln w="28575">
            <a:solidFill>
              <a:schemeClr val="accent5"/>
            </a:solidFill>
          </a:ln>
        </p:spPr>
        <p:txBody>
          <a:bodyPr wrap="square" lIns="0" tIns="0" rIns="0" bIns="0" rtlCol="0" anchor="ctr">
            <a:noAutofit/>
          </a:bodyPr>
          <a:lstStyle/>
          <a:p>
            <a:pPr algn="ctr"/>
            <a:r>
              <a:rPr lang="da-DK" sz="2800" b="1">
                <a:latin typeface="Amatic SC" panose="00000500000000000000" pitchFamily="2" charset="-79"/>
                <a:cs typeface="Amatic SC" panose="00000500000000000000" pitchFamily="2" charset="-79"/>
              </a:rPr>
              <a:t>Følgende kommuner er udvalgt i 2023: </a:t>
            </a:r>
          </a:p>
          <a:p>
            <a:pPr algn="ctr"/>
            <a:r>
              <a:rPr lang="da-DK" sz="1200">
                <a:latin typeface="Quicksand" panose="020B0604020202020204"/>
                <a:cs typeface="Amatic SC" panose="00000500000000000000" pitchFamily="2" charset="-79"/>
              </a:rPr>
              <a:t>Morsø, Brønderslev, Aalborg, Hjørring, Vesthimmerland og Jammerbugt</a:t>
            </a:r>
          </a:p>
          <a:p>
            <a:pPr algn="ctr"/>
            <a:endParaRPr lang="da-DK" sz="1200">
              <a:latin typeface="Quicksand" panose="020B0604020202020204"/>
              <a:cs typeface="Amatic SC" panose="00000500000000000000" pitchFamily="2" charset="-79"/>
            </a:endParaRPr>
          </a:p>
          <a:p>
            <a:pPr algn="ctr"/>
            <a:endParaRPr lang="da-DK" sz="1200">
              <a:latin typeface="Quicksand" panose="020B0604020202020204"/>
              <a:cs typeface="Amatic SC" panose="00000500000000000000" pitchFamily="2" charset="-79"/>
            </a:endParaRPr>
          </a:p>
          <a:p>
            <a:pPr algn="ctr"/>
            <a:r>
              <a:rPr lang="da-DK" sz="1100" i="1">
                <a:latin typeface="Quicksand" panose="020B0604020202020204"/>
                <a:cs typeface="Amatic SC" panose="00000500000000000000" pitchFamily="2" charset="-79"/>
              </a:rPr>
              <a:t>Det vil variere fra år til år, hvilke kommuner der skal deltage i casebesøg. </a:t>
            </a:r>
          </a:p>
        </p:txBody>
      </p:sp>
    </p:spTree>
    <p:extLst>
      <p:ext uri="{BB962C8B-B14F-4D97-AF65-F5344CB8AC3E}">
        <p14:creationId xmlns:p14="http://schemas.microsoft.com/office/powerpoint/2010/main" val="4852849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17B5F2-F4F7-44E7-9DD7-8E58C4E9F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4217B5F2-F4F7-44E7-9DD7-8E58C4E9F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Google Shape;843;p29">
            <a:extLst>
              <a:ext uri="{FF2B5EF4-FFF2-40B4-BE49-F238E27FC236}">
                <a16:creationId xmlns:a16="http://schemas.microsoft.com/office/drawing/2014/main" id="{DFBE1B6A-EDED-46E9-8CE2-85A83E81BB0F}"/>
              </a:ext>
            </a:extLst>
          </p:cNvPr>
          <p:cNvSpPr/>
          <p:nvPr/>
        </p:nvSpPr>
        <p:spPr>
          <a:xfrm>
            <a:off x="11591637" y="-1"/>
            <a:ext cx="600363" cy="1019120"/>
          </a:xfrm>
          <a:prstGeom prst="rect">
            <a:avLst/>
          </a:prstGeom>
          <a:solidFill>
            <a:schemeClr val="accent4"/>
          </a:solidFill>
          <a:ln>
            <a:noFill/>
          </a:ln>
        </p:spPr>
        <p:txBody>
          <a:bodyPr spcFirstLastPara="1" wrap="square" lIns="91425" tIns="91425" rIns="91425" bIns="91425" anchor="ctr" anchorCtr="0">
            <a:noAutofit/>
          </a:bodyPr>
          <a:lstStyle/>
          <a:p>
            <a:pPr marL="0" lvl="0" indent="0" algn="ctr">
              <a:spcBef>
                <a:spcPts val="0"/>
              </a:spcBef>
              <a:spcAft>
                <a:spcPts val="0"/>
              </a:spcAft>
              <a:buNone/>
            </a:pPr>
            <a:endParaRPr lang="da-DK" sz="2400">
              <a:latin typeface="Amatic SC"/>
              <a:ea typeface="Amatic SC"/>
              <a:cs typeface="Amatic SC"/>
              <a:sym typeface="Amatic SC"/>
            </a:endParaRPr>
          </a:p>
        </p:txBody>
      </p:sp>
      <p:sp>
        <p:nvSpPr>
          <p:cNvPr id="7" name="Google Shape;846;p29">
            <a:extLst>
              <a:ext uri="{FF2B5EF4-FFF2-40B4-BE49-F238E27FC236}">
                <a16:creationId xmlns:a16="http://schemas.microsoft.com/office/drawing/2014/main" id="{6EB98430-6FE2-4C8E-870C-A26F11572EAE}"/>
              </a:ext>
            </a:extLst>
          </p:cNvPr>
          <p:cNvSpPr/>
          <p:nvPr/>
        </p:nvSpPr>
        <p:spPr>
          <a:xfrm>
            <a:off x="0" y="370"/>
            <a:ext cx="12125304" cy="1019120"/>
          </a:xfrm>
          <a:prstGeom prst="homePlate">
            <a:avLst>
              <a:gd name="adj" fmla="val 50000"/>
            </a:avLst>
          </a:prstGeom>
          <a:solidFill>
            <a:schemeClr val="accent4"/>
          </a:solidFill>
          <a:ln>
            <a:noFill/>
          </a:ln>
        </p:spPr>
        <p:txBody>
          <a:bodyPr spcFirstLastPara="1" wrap="square" lIns="396000" tIns="91425" rIns="91425" bIns="91425" anchor="ctr" anchorCtr="0">
            <a:noAutofit/>
          </a:bodyPr>
          <a:lstStyle/>
          <a:p>
            <a:pPr marL="0" lvl="0" indent="0">
              <a:spcBef>
                <a:spcPts val="0"/>
              </a:spcBef>
              <a:spcAft>
                <a:spcPts val="0"/>
              </a:spcAft>
              <a:buNone/>
            </a:pPr>
            <a:endParaRPr lang="da-DK" sz="3600">
              <a:latin typeface="Amatic SC"/>
              <a:ea typeface="Amatic SC"/>
              <a:cs typeface="Amatic SC"/>
              <a:sym typeface="Amatic SC"/>
            </a:endParaRPr>
          </a:p>
        </p:txBody>
      </p:sp>
      <p:sp>
        <p:nvSpPr>
          <p:cNvPr id="8" name="Title 1">
            <a:extLst>
              <a:ext uri="{FF2B5EF4-FFF2-40B4-BE49-F238E27FC236}">
                <a16:creationId xmlns:a16="http://schemas.microsoft.com/office/drawing/2014/main" id="{DE1F2D89-3E72-4838-B639-221ABCFE0485}"/>
              </a:ext>
            </a:extLst>
          </p:cNvPr>
          <p:cNvSpPr txBox="1">
            <a:spLocks/>
          </p:cNvSpPr>
          <p:nvPr/>
        </p:nvSpPr>
        <p:spPr>
          <a:xfrm>
            <a:off x="182237" y="119575"/>
            <a:ext cx="11227162" cy="779969"/>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algn="ctr"/>
            <a:r>
              <a:rPr lang="da-DK" sz="4400" b="1">
                <a:solidFill>
                  <a:schemeClr val="tx1"/>
                </a:solidFill>
                <a:latin typeface="Amatic SC" panose="00000500000000000000" pitchFamily="2" charset="-79"/>
                <a:cs typeface="Amatic SC" panose="00000500000000000000" pitchFamily="2" charset="-79"/>
              </a:rPr>
              <a:t>Dialogværktøjer</a:t>
            </a:r>
          </a:p>
        </p:txBody>
      </p:sp>
      <p:sp>
        <p:nvSpPr>
          <p:cNvPr id="9" name="Google Shape;843;p29">
            <a:extLst>
              <a:ext uri="{FF2B5EF4-FFF2-40B4-BE49-F238E27FC236}">
                <a16:creationId xmlns:a16="http://schemas.microsoft.com/office/drawing/2014/main" id="{24170802-96D1-44F6-842D-69456B141B3F}"/>
              </a:ext>
            </a:extLst>
          </p:cNvPr>
          <p:cNvSpPr/>
          <p:nvPr/>
        </p:nvSpPr>
        <p:spPr>
          <a:xfrm>
            <a:off x="66696" y="0"/>
            <a:ext cx="1067334" cy="1019120"/>
          </a:xfrm>
          <a:prstGeom prst="chevron">
            <a:avLst>
              <a:gd name="adj" fmla="val 50000"/>
            </a:avLst>
          </a:prstGeom>
          <a:solidFill>
            <a:schemeClr val="accent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lang="da-DK" sz="3600">
              <a:latin typeface="Amatic SC"/>
              <a:ea typeface="Amatic SC"/>
              <a:cs typeface="Amatic SC"/>
              <a:sym typeface="Amatic SC"/>
            </a:endParaRPr>
          </a:p>
        </p:txBody>
      </p:sp>
      <p:sp>
        <p:nvSpPr>
          <p:cNvPr id="10" name="Google Shape;843;p29">
            <a:extLst>
              <a:ext uri="{FF2B5EF4-FFF2-40B4-BE49-F238E27FC236}">
                <a16:creationId xmlns:a16="http://schemas.microsoft.com/office/drawing/2014/main" id="{3B5F9AAC-6951-440F-8B61-B8F9AF33A22E}"/>
              </a:ext>
            </a:extLst>
          </p:cNvPr>
          <p:cNvSpPr/>
          <p:nvPr/>
        </p:nvSpPr>
        <p:spPr>
          <a:xfrm>
            <a:off x="-14856" y="0"/>
            <a:ext cx="600363" cy="1019120"/>
          </a:xfrm>
          <a:prstGeom prst="rect">
            <a:avLst/>
          </a:prstGeom>
          <a:solidFill>
            <a:schemeClr val="accent6"/>
          </a:solidFill>
          <a:ln>
            <a:noFill/>
          </a:ln>
        </p:spPr>
        <p:txBody>
          <a:bodyPr spcFirstLastPara="1" wrap="square" lIns="91425" tIns="91425" rIns="91425" bIns="91425" anchor="ctr" anchorCtr="0">
            <a:noAutofit/>
          </a:bodyPr>
          <a:lstStyle/>
          <a:p>
            <a:pPr marL="0" lvl="0" indent="0" algn="ctr">
              <a:spcBef>
                <a:spcPts val="0"/>
              </a:spcBef>
              <a:spcAft>
                <a:spcPts val="0"/>
              </a:spcAft>
              <a:buNone/>
            </a:pPr>
            <a:endParaRPr lang="da-DK" sz="2400">
              <a:latin typeface="Amatic SC"/>
              <a:ea typeface="Amatic SC"/>
              <a:cs typeface="Amatic SC"/>
              <a:sym typeface="Amatic SC"/>
            </a:endParaRPr>
          </a:p>
        </p:txBody>
      </p:sp>
      <p:sp>
        <p:nvSpPr>
          <p:cNvPr id="14" name="Google Shape;843;p29">
            <a:extLst>
              <a:ext uri="{FF2B5EF4-FFF2-40B4-BE49-F238E27FC236}">
                <a16:creationId xmlns:a16="http://schemas.microsoft.com/office/drawing/2014/main" id="{17149352-9874-463E-928C-05A7F97934CB}"/>
              </a:ext>
            </a:extLst>
          </p:cNvPr>
          <p:cNvSpPr/>
          <p:nvPr/>
        </p:nvSpPr>
        <p:spPr>
          <a:xfrm>
            <a:off x="615219" y="0"/>
            <a:ext cx="1067334" cy="1019120"/>
          </a:xfrm>
          <a:prstGeom prst="chevron">
            <a:avLst>
              <a:gd name="adj" fmla="val 50000"/>
            </a:avLst>
          </a:prstGeom>
          <a:solidFill>
            <a:schemeClr val="accent5"/>
          </a:solidFill>
          <a:ln>
            <a:noFill/>
          </a:ln>
        </p:spPr>
        <p:txBody>
          <a:bodyPr spcFirstLastPara="1" wrap="square" lIns="91425" tIns="91425" rIns="91425" bIns="91425" anchor="ctr" anchorCtr="0">
            <a:noAutofit/>
          </a:bodyPr>
          <a:lstStyle/>
          <a:p>
            <a:pPr marL="0" lvl="0" indent="0">
              <a:spcBef>
                <a:spcPts val="0"/>
              </a:spcBef>
              <a:spcAft>
                <a:spcPts val="0"/>
              </a:spcAft>
              <a:buNone/>
            </a:pPr>
            <a:endParaRPr lang="da-DK" sz="3600">
              <a:latin typeface="Amatic SC"/>
              <a:ea typeface="Amatic SC"/>
              <a:cs typeface="Amatic SC"/>
              <a:sym typeface="Amatic SC"/>
            </a:endParaRPr>
          </a:p>
        </p:txBody>
      </p:sp>
      <p:pic>
        <p:nvPicPr>
          <p:cNvPr id="16" name="Content Placeholder 15" descr="Customer review with solid fill">
            <a:extLst>
              <a:ext uri="{FF2B5EF4-FFF2-40B4-BE49-F238E27FC236}">
                <a16:creationId xmlns:a16="http://schemas.microsoft.com/office/drawing/2014/main" id="{8824E3B1-8472-4AC6-A345-4129D4124971}"/>
              </a:ext>
            </a:extLst>
          </p:cNvPr>
          <p:cNvPicPr>
            <a:picLocks noGrp="1" noChangeAspect="1"/>
          </p:cNvPicPr>
          <p:nvPr>
            <p:ph idx="1"/>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1476" y="52359"/>
            <a:ext cx="914400" cy="914400"/>
          </a:xfrm>
        </p:spPr>
      </p:pic>
      <p:sp>
        <p:nvSpPr>
          <p:cNvPr id="17" name="TextBox 16">
            <a:extLst>
              <a:ext uri="{FF2B5EF4-FFF2-40B4-BE49-F238E27FC236}">
                <a16:creationId xmlns:a16="http://schemas.microsoft.com/office/drawing/2014/main" id="{D18898B6-B05E-447D-A66C-ECF756CF54F6}"/>
              </a:ext>
            </a:extLst>
          </p:cNvPr>
          <p:cNvSpPr txBox="1"/>
          <p:nvPr/>
        </p:nvSpPr>
        <p:spPr>
          <a:xfrm>
            <a:off x="652104" y="1837621"/>
            <a:ext cx="4860881" cy="463169"/>
          </a:xfrm>
          <a:prstGeom prst="rect">
            <a:avLst/>
          </a:prstGeom>
          <a:solidFill>
            <a:schemeClr val="accent4"/>
          </a:solidFill>
          <a:ln w="28575">
            <a:solidFill>
              <a:schemeClr val="accent4"/>
            </a:solidFill>
          </a:ln>
        </p:spPr>
        <p:txBody>
          <a:bodyPr wrap="square" lIns="0" tIns="0" rIns="0" bIns="0" rtlCol="0" anchor="ctr">
            <a:noAutofit/>
          </a:bodyPr>
          <a:lstStyle/>
          <a:p>
            <a:pPr algn="ctr"/>
            <a:r>
              <a:rPr lang="da-DK" sz="2800" b="1" dirty="0">
                <a:latin typeface="Amatic SC" panose="00000500000000000000" pitchFamily="2" charset="-79"/>
                <a:cs typeface="Amatic SC" panose="00000500000000000000" pitchFamily="2" charset="-79"/>
              </a:rPr>
              <a:t>Formålet med dialogværktøjerne</a:t>
            </a:r>
            <a:endParaRPr lang="da-DK" sz="2400" b="1" dirty="0">
              <a:latin typeface="Amatic SC" panose="00000500000000000000" pitchFamily="2" charset="-79"/>
              <a:cs typeface="Amatic SC" panose="00000500000000000000" pitchFamily="2" charset="-79"/>
            </a:endParaRPr>
          </a:p>
        </p:txBody>
      </p:sp>
      <p:sp>
        <p:nvSpPr>
          <p:cNvPr id="18" name="Rectangle 17">
            <a:extLst>
              <a:ext uri="{FF2B5EF4-FFF2-40B4-BE49-F238E27FC236}">
                <a16:creationId xmlns:a16="http://schemas.microsoft.com/office/drawing/2014/main" id="{EA78468F-E258-48AA-9048-3CCC211CB935}"/>
              </a:ext>
            </a:extLst>
          </p:cNvPr>
          <p:cNvSpPr/>
          <p:nvPr/>
        </p:nvSpPr>
        <p:spPr>
          <a:xfrm>
            <a:off x="652104" y="2329174"/>
            <a:ext cx="4860881" cy="1099826"/>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19" name="TextBox 18">
            <a:extLst>
              <a:ext uri="{FF2B5EF4-FFF2-40B4-BE49-F238E27FC236}">
                <a16:creationId xmlns:a16="http://schemas.microsoft.com/office/drawing/2014/main" id="{5D72530B-A363-4545-8632-1FFB3C39526F}"/>
              </a:ext>
            </a:extLst>
          </p:cNvPr>
          <p:cNvSpPr txBox="1"/>
          <p:nvPr/>
        </p:nvSpPr>
        <p:spPr>
          <a:xfrm>
            <a:off x="812996" y="2464117"/>
            <a:ext cx="4552278" cy="738664"/>
          </a:xfrm>
          <a:prstGeom prst="rect">
            <a:avLst/>
          </a:prstGeom>
          <a:noFill/>
        </p:spPr>
        <p:txBody>
          <a:bodyPr wrap="square" lIns="0" tIns="0" rIns="0" bIns="0" rtlCol="0">
            <a:spAutoFit/>
          </a:bodyPr>
          <a:lstStyle/>
          <a:p>
            <a:r>
              <a:rPr lang="da-DK" sz="1600" dirty="0">
                <a:latin typeface="Quicksand"/>
              </a:rPr>
              <a:t>At opnå et tæt indblik i pædagogisk personales og ledernes løbende arbejde med at udvikle og reflektere over praksis. </a:t>
            </a:r>
          </a:p>
        </p:txBody>
      </p:sp>
      <p:sp>
        <p:nvSpPr>
          <p:cNvPr id="20" name="TextBox 19">
            <a:extLst>
              <a:ext uri="{FF2B5EF4-FFF2-40B4-BE49-F238E27FC236}">
                <a16:creationId xmlns:a16="http://schemas.microsoft.com/office/drawing/2014/main" id="{C7D25A4A-01FC-446C-8AF8-DFD4F741B818}"/>
              </a:ext>
            </a:extLst>
          </p:cNvPr>
          <p:cNvSpPr txBox="1"/>
          <p:nvPr/>
        </p:nvSpPr>
        <p:spPr>
          <a:xfrm>
            <a:off x="6062652" y="1837621"/>
            <a:ext cx="5443232" cy="3939540"/>
          </a:xfrm>
          <a:prstGeom prst="rect">
            <a:avLst/>
          </a:prstGeom>
          <a:noFill/>
        </p:spPr>
        <p:txBody>
          <a:bodyPr wrap="square" lIns="0" tIns="0" rIns="0" bIns="0" rtlCol="0">
            <a:spAutoFit/>
          </a:bodyPr>
          <a:lstStyle/>
          <a:p>
            <a:pPr marL="285750" indent="-285750">
              <a:buFont typeface="Arial" panose="020B0604020202020204" pitchFamily="34" charset="0"/>
              <a:buChar char="•"/>
            </a:pPr>
            <a:r>
              <a:rPr lang="da-DK" sz="1600" dirty="0">
                <a:latin typeface="Quicksand"/>
              </a:rPr>
              <a:t>To dialogværktøjer; et målrettet </a:t>
            </a:r>
            <a:r>
              <a:rPr lang="da-DK" sz="1600" b="1" dirty="0">
                <a:latin typeface="Quicksand"/>
              </a:rPr>
              <a:t>pædagogisk personale/teams </a:t>
            </a:r>
            <a:r>
              <a:rPr lang="da-DK" sz="1600" dirty="0">
                <a:latin typeface="Quicksand"/>
              </a:rPr>
              <a:t>og et målrettet </a:t>
            </a:r>
            <a:r>
              <a:rPr lang="da-DK" sz="1600" b="1" dirty="0">
                <a:latin typeface="Quicksand"/>
              </a:rPr>
              <a:t>ledere</a:t>
            </a:r>
            <a:r>
              <a:rPr lang="da-DK" sz="1600" dirty="0">
                <a:latin typeface="Quicksand"/>
              </a:rPr>
              <a:t>. </a:t>
            </a:r>
          </a:p>
          <a:p>
            <a:pPr marL="285750" indent="-285750">
              <a:buFont typeface="Arial" panose="020B0604020202020204" pitchFamily="34" charset="0"/>
              <a:buChar char="•"/>
            </a:pPr>
            <a:endParaRPr lang="da-DK" sz="1600" dirty="0">
              <a:latin typeface="Quicksand"/>
            </a:endParaRPr>
          </a:p>
          <a:p>
            <a:pPr marL="285750" indent="-285750">
              <a:buFont typeface="Arial" panose="020B0604020202020204" pitchFamily="34" charset="0"/>
              <a:buChar char="•"/>
            </a:pPr>
            <a:r>
              <a:rPr lang="da-DK" sz="1600" dirty="0">
                <a:latin typeface="Quicksand"/>
              </a:rPr>
              <a:t>Hvert dialogværktøj består af en planche med fire øvelser, som I skal arbejde med på et udvalgt møde. I skal afsætte ca. 60 – 90 minutter til øvelserne.</a:t>
            </a:r>
          </a:p>
          <a:p>
            <a:pPr marL="285750" indent="-285750">
              <a:buFont typeface="Arial" panose="020B0604020202020204" pitchFamily="34" charset="0"/>
              <a:buChar char="•"/>
            </a:pPr>
            <a:endParaRPr lang="da-DK" sz="1600" dirty="0">
              <a:latin typeface="Quicksand"/>
            </a:endParaRPr>
          </a:p>
          <a:p>
            <a:pPr marL="285750" indent="-285750">
              <a:buFont typeface="Arial" panose="020B0604020202020204" pitchFamily="34" charset="0"/>
              <a:buChar char="•"/>
            </a:pPr>
            <a:r>
              <a:rPr lang="da-DK" sz="1600" dirty="0">
                <a:latin typeface="Quicksand"/>
              </a:rPr>
              <a:t>Dialogværktøjerne er tilgængelige for alle, men seks udvalgte skoler skal gennemføre dialogværktøjerne blandt ét team og én ledelse og sende lydfil af drøftelser til Rambøll efterfølgende. </a:t>
            </a:r>
          </a:p>
          <a:p>
            <a:pPr marL="285750" indent="-285750">
              <a:buFont typeface="Arial" panose="020B0604020202020204" pitchFamily="34" charset="0"/>
              <a:buChar char="•"/>
            </a:pPr>
            <a:endParaRPr lang="da-DK" sz="1600" dirty="0">
              <a:latin typeface="Quicksand"/>
            </a:endParaRPr>
          </a:p>
          <a:p>
            <a:pPr marL="285750" indent="-285750">
              <a:buFont typeface="Arial" panose="020B0604020202020204" pitchFamily="34" charset="0"/>
              <a:buChar char="•"/>
            </a:pPr>
            <a:r>
              <a:rPr lang="da-DK" sz="1600" dirty="0">
                <a:latin typeface="Quicksand"/>
              </a:rPr>
              <a:t>Dialogværktøjet sendes i fysiske eksemplarer til de skoler, som skal bidrage med refleksioner til Rambøll. </a:t>
            </a:r>
          </a:p>
          <a:p>
            <a:pPr marL="285750" indent="-285750">
              <a:buFont typeface="Arial" panose="020B0604020202020204" pitchFamily="34" charset="0"/>
              <a:buChar char="•"/>
            </a:pPr>
            <a:endParaRPr lang="da-DK" sz="1600" dirty="0">
              <a:latin typeface="Quicksand"/>
            </a:endParaRPr>
          </a:p>
          <a:p>
            <a:r>
              <a:rPr lang="da-DK" sz="1600" dirty="0">
                <a:latin typeface="Quicksand"/>
              </a:rPr>
              <a:t>  </a:t>
            </a:r>
          </a:p>
        </p:txBody>
      </p:sp>
      <p:sp>
        <p:nvSpPr>
          <p:cNvPr id="2" name="TextBox 1">
            <a:extLst>
              <a:ext uri="{FF2B5EF4-FFF2-40B4-BE49-F238E27FC236}">
                <a16:creationId xmlns:a16="http://schemas.microsoft.com/office/drawing/2014/main" id="{E89AD8A5-77F6-E295-9FCB-37538B86A403}"/>
              </a:ext>
            </a:extLst>
          </p:cNvPr>
          <p:cNvSpPr txBox="1"/>
          <p:nvPr/>
        </p:nvSpPr>
        <p:spPr>
          <a:xfrm>
            <a:off x="652104" y="3593870"/>
            <a:ext cx="4860881" cy="463169"/>
          </a:xfrm>
          <a:prstGeom prst="rect">
            <a:avLst/>
          </a:prstGeom>
          <a:solidFill>
            <a:schemeClr val="accent4"/>
          </a:solidFill>
          <a:ln w="28575">
            <a:solidFill>
              <a:schemeClr val="accent4"/>
            </a:solidFill>
          </a:ln>
        </p:spPr>
        <p:txBody>
          <a:bodyPr wrap="square" lIns="0" tIns="0" rIns="0" bIns="0" rtlCol="0" anchor="ctr">
            <a:noAutofit/>
          </a:bodyPr>
          <a:lstStyle/>
          <a:p>
            <a:pPr algn="ctr"/>
            <a:r>
              <a:rPr lang="da-DK" sz="2800" b="1" dirty="0">
                <a:latin typeface="Amatic SC" panose="00000500000000000000" pitchFamily="2" charset="-79"/>
                <a:cs typeface="Amatic SC" panose="00000500000000000000" pitchFamily="2" charset="-79"/>
              </a:rPr>
              <a:t>Hvad er et dialogværktøj?</a:t>
            </a:r>
            <a:endParaRPr lang="da-DK" sz="2400" b="1" dirty="0">
              <a:latin typeface="Amatic SC" panose="00000500000000000000" pitchFamily="2" charset="-79"/>
              <a:cs typeface="Amatic SC" panose="00000500000000000000" pitchFamily="2" charset="-79"/>
            </a:endParaRPr>
          </a:p>
        </p:txBody>
      </p:sp>
      <p:sp>
        <p:nvSpPr>
          <p:cNvPr id="4" name="Rectangle 3">
            <a:extLst>
              <a:ext uri="{FF2B5EF4-FFF2-40B4-BE49-F238E27FC236}">
                <a16:creationId xmlns:a16="http://schemas.microsoft.com/office/drawing/2014/main" id="{D2E9EE07-5FB5-0518-342C-FB2A9D45A551}"/>
              </a:ext>
            </a:extLst>
          </p:cNvPr>
          <p:cNvSpPr/>
          <p:nvPr/>
        </p:nvSpPr>
        <p:spPr>
          <a:xfrm>
            <a:off x="652104" y="4072453"/>
            <a:ext cx="4860881" cy="1704708"/>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11" name="TextBox 10">
            <a:extLst>
              <a:ext uri="{FF2B5EF4-FFF2-40B4-BE49-F238E27FC236}">
                <a16:creationId xmlns:a16="http://schemas.microsoft.com/office/drawing/2014/main" id="{6C1F7A01-B272-EADE-9B1B-979DF63ED2C1}"/>
              </a:ext>
            </a:extLst>
          </p:cNvPr>
          <p:cNvSpPr txBox="1"/>
          <p:nvPr/>
        </p:nvSpPr>
        <p:spPr>
          <a:xfrm>
            <a:off x="851927" y="4205373"/>
            <a:ext cx="4552278" cy="1477328"/>
          </a:xfrm>
          <a:prstGeom prst="rect">
            <a:avLst/>
          </a:prstGeom>
          <a:noFill/>
        </p:spPr>
        <p:txBody>
          <a:bodyPr wrap="square" lIns="0" tIns="0" rIns="0" bIns="0" rtlCol="0">
            <a:spAutoFit/>
          </a:bodyPr>
          <a:lstStyle/>
          <a:p>
            <a:r>
              <a:rPr lang="da-DK" sz="1600" dirty="0">
                <a:latin typeface="Quicksand"/>
              </a:rPr>
              <a:t>Et dialogværktøj er en planche med fire øvelser, som skal understøtte refleksion i teamet over det igangværende arbejde med at udvikle varierende læringsmiljøer, der skaber deltagelsesmuligheder for alle. Dialogværktøjet indeholder foruden planchen en guide til, hvordan hver øvelse skal gennemføres. </a:t>
            </a:r>
          </a:p>
        </p:txBody>
      </p:sp>
    </p:spTree>
    <p:extLst>
      <p:ext uri="{BB962C8B-B14F-4D97-AF65-F5344CB8AC3E}">
        <p14:creationId xmlns:p14="http://schemas.microsoft.com/office/powerpoint/2010/main" val="36806442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Playful colors">
      <a:dk1>
        <a:srgbClr val="273F68"/>
      </a:dk1>
      <a:lt1>
        <a:srgbClr val="FFFFFF"/>
      </a:lt1>
      <a:dk2>
        <a:srgbClr val="7085AA"/>
      </a:dk2>
      <a:lt2>
        <a:srgbClr val="F4F7FA"/>
      </a:lt2>
      <a:accent1>
        <a:srgbClr val="4BD1DD"/>
      </a:accent1>
      <a:accent2>
        <a:srgbClr val="57C0EB"/>
      </a:accent2>
      <a:accent3>
        <a:srgbClr val="BD9ADD"/>
      </a:accent3>
      <a:accent4>
        <a:srgbClr val="F3805C"/>
      </a:accent4>
      <a:accent5>
        <a:srgbClr val="FFD11D"/>
      </a:accent5>
      <a:accent6>
        <a:srgbClr val="95D346"/>
      </a:accent6>
      <a:hlink>
        <a:srgbClr val="273F68"/>
      </a:hlink>
      <a:folHlink>
        <a:srgbClr val="6611CC"/>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Ramboll.potx" id="{9BA6AB70-38B9-4BF4-AD01-F22D546A6F4D}" vid="{AFF3D664-4A6E-4E38-81EF-08DD66B4B9C6}"/>
    </a:ext>
  </a:extLst>
</a:theme>
</file>

<file path=ppt/theme/theme2.xml><?xml version="1.0" encoding="utf-8"?>
<a:theme xmlns:a="http://schemas.openxmlformats.org/drawingml/2006/main" name="1_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lank.potx" id="{900E3F7D-0F42-4127-A563-AB863FCD720C}" vid="{53CCD02C-91E1-4BFC-A1BE-18ED37431167}"/>
    </a:ext>
  </a:extLst>
</a:theme>
</file>

<file path=ppt/theme/theme3.xml><?xml version="1.0" encoding="utf-8"?>
<a:theme xmlns:a="http://schemas.openxmlformats.org/drawingml/2006/main" name="Office-tema">
  <a:themeElements>
    <a:clrScheme name="Kontor">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5e55e85-1091-41fc-8906-3ea787519063">
      <UserInfo>
        <DisplayName>Mia Rytter Lund</DisplayName>
        <AccountId>11</AccountId>
        <AccountType/>
      </UserInfo>
      <UserInfo>
        <DisplayName>Nikolaj Godsk Vestergaard</DisplayName>
        <AccountId>17</AccountId>
        <AccountType/>
      </UserInfo>
      <UserInfo>
        <DisplayName>Hanne Marie Holst Harboe</DisplayName>
        <AccountId>25</AccountId>
        <AccountType/>
      </UserInfo>
    </SharedWithUsers>
    <lcf76f155ced4ddcb4097134ff3c332f xmlns="1651cbcf-56d9-44f8-9145-fa4dc3f07b09">
      <Terms xmlns="http://schemas.microsoft.com/office/infopath/2007/PartnerControls"/>
    </lcf76f155ced4ddcb4097134ff3c332f>
    <TaxCatchAll xmlns="e5e55e85-1091-41fc-8906-3ea78751906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3777BC3FC4C50540BF69EA95AABBEFE1" ma:contentTypeVersion="14" ma:contentTypeDescription="Opret et nyt dokument." ma:contentTypeScope="" ma:versionID="c6c04db3cacbd66f55ed2a3a9dd390b9">
  <xsd:schema xmlns:xsd="http://www.w3.org/2001/XMLSchema" xmlns:xs="http://www.w3.org/2001/XMLSchema" xmlns:p="http://schemas.microsoft.com/office/2006/metadata/properties" xmlns:ns2="1651cbcf-56d9-44f8-9145-fa4dc3f07b09" xmlns:ns3="e5e55e85-1091-41fc-8906-3ea787519063" targetNamespace="http://schemas.microsoft.com/office/2006/metadata/properties" ma:root="true" ma:fieldsID="650a471a64541f1270d50d609e87260c" ns2:_="" ns3:_="">
    <xsd:import namespace="1651cbcf-56d9-44f8-9145-fa4dc3f07b09"/>
    <xsd:import namespace="e5e55e85-1091-41fc-8906-3ea78751906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51cbcf-56d9-44f8-9145-fa4dc3f07b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3" nillable="true" ma:taxonomy="true" ma:internalName="lcf76f155ced4ddcb4097134ff3c332f" ma:taxonomyFieldName="MediaServiceImageTags" ma:displayName="Billedmærker" ma:readOnly="false" ma:fieldId="{5cf76f15-5ced-4ddc-b409-7134ff3c332f}" ma:taxonomyMulti="true" ma:sspId="6e115677-f02f-49e2-a07c-4177104e56d8"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5e55e85-1091-41fc-8906-3ea78751906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fa2a555b-7205-4dc3-903a-178741c687e8}" ma:internalName="TaxCatchAll" ma:showField="CatchAllData" ma:web="e5e55e85-1091-41fc-8906-3ea787519063">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Delt med 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9EFF8DE-3DB9-4F84-BF63-5977268658D3}">
  <ds:schemaRefs>
    <ds:schemaRef ds:uri="2878c695-2e5f-4fdb-8928-c23a94bfc9ba"/>
    <ds:schemaRef ds:uri="6001f91c-baf8-4b78-ad44-7f704f44ef8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D153CFF-5C71-4AE1-8E1D-1F92B2B8ED15}">
  <ds:schemaRefs>
    <ds:schemaRef ds:uri="http://schemas.microsoft.com/sharepoint/v3/contenttype/forms"/>
  </ds:schemaRefs>
</ds:datastoreItem>
</file>

<file path=customXml/itemProps3.xml><?xml version="1.0" encoding="utf-8"?>
<ds:datastoreItem xmlns:ds="http://schemas.openxmlformats.org/officeDocument/2006/customXml" ds:itemID="{579FB97F-B91C-4576-B504-423BAD810C5B}"/>
</file>

<file path=docProps/app.xml><?xml version="1.0" encoding="utf-8"?>
<Properties xmlns="http://schemas.openxmlformats.org/officeDocument/2006/extended-properties" xmlns:vt="http://schemas.openxmlformats.org/officeDocument/2006/docPropsVTypes">
  <Template>blank</Template>
  <TotalTime>98</TotalTime>
  <Words>1409</Words>
  <Application>Microsoft Office PowerPoint</Application>
  <PresentationFormat>Widescreen</PresentationFormat>
  <Paragraphs>158</Paragraphs>
  <Slides>12</Slides>
  <Notes>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1" baseType="lpstr">
      <vt:lpstr>Amatic SC</vt:lpstr>
      <vt:lpstr>Arial</vt:lpstr>
      <vt:lpstr>Quicksand</vt:lpstr>
      <vt:lpstr>Short Stack</vt:lpstr>
      <vt:lpstr>Verdana</vt:lpstr>
      <vt:lpstr>Wingdings</vt:lpstr>
      <vt:lpstr>Blank</vt:lpstr>
      <vt:lpstr>1_Blank</vt:lpstr>
      <vt:lpstr>think-cell Slide</vt:lpstr>
      <vt:lpstr>PowerPoint Presentation</vt:lpstr>
      <vt:lpstr>PowerPoint Presentation</vt:lpstr>
      <vt:lpstr>Oversigt over evalueringens aktiviteter og tidsplan</vt:lpstr>
      <vt:lpstr>Spørgeskemaundersøgelse blandt pædagogisk personale</vt:lpstr>
      <vt:lpstr>Spørgeskemaundersøgelse blandt pædagogisk personale</vt:lpstr>
      <vt:lpstr>Spørgeskemaundersøgelse blandt pædagogisk personale</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 december 2022</dc:title>
  <dc:creator>Nikolaj Godsk Vestergaard</dc:creator>
  <cp:lastModifiedBy>Mia Rytter Lund</cp:lastModifiedBy>
  <cp:revision>1</cp:revision>
  <cp:lastPrinted>2022-12-14T14:16:49Z</cp:lastPrinted>
  <dcterms:created xsi:type="dcterms:W3CDTF">2022-11-28T10:19:23Z</dcterms:created>
  <dcterms:modified xsi:type="dcterms:W3CDTF">2023-02-03T11:33: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0ea7001-5c24-4702-a3ac-e436ccb02747_Enabled">
    <vt:lpwstr>true</vt:lpwstr>
  </property>
  <property fmtid="{D5CDD505-2E9C-101B-9397-08002B2CF9AE}" pid="3" name="MSIP_Label_20ea7001-5c24-4702-a3ac-e436ccb02747_SetDate">
    <vt:lpwstr>2022-11-28T10:19:24Z</vt:lpwstr>
  </property>
  <property fmtid="{D5CDD505-2E9C-101B-9397-08002B2CF9AE}" pid="4" name="MSIP_Label_20ea7001-5c24-4702-a3ac-e436ccb02747_Method">
    <vt:lpwstr>Standard</vt:lpwstr>
  </property>
  <property fmtid="{D5CDD505-2E9C-101B-9397-08002B2CF9AE}" pid="5" name="MSIP_Label_20ea7001-5c24-4702-a3ac-e436ccb02747_Name">
    <vt:lpwstr>Confidential</vt:lpwstr>
  </property>
  <property fmtid="{D5CDD505-2E9C-101B-9397-08002B2CF9AE}" pid="6" name="MSIP_Label_20ea7001-5c24-4702-a3ac-e436ccb02747_SiteId">
    <vt:lpwstr>c8823c91-be81-4f89-b024-6c3dd789c106</vt:lpwstr>
  </property>
  <property fmtid="{D5CDD505-2E9C-101B-9397-08002B2CF9AE}" pid="7" name="MSIP_Label_20ea7001-5c24-4702-a3ac-e436ccb02747_ActionId">
    <vt:lpwstr>9cef2eea-b7e5-4349-87cc-eae238bee497</vt:lpwstr>
  </property>
  <property fmtid="{D5CDD505-2E9C-101B-9397-08002B2CF9AE}" pid="8" name="MSIP_Label_20ea7001-5c24-4702-a3ac-e436ccb02747_ContentBits">
    <vt:lpwstr>2</vt:lpwstr>
  </property>
  <property fmtid="{D5CDD505-2E9C-101B-9397-08002B2CF9AE}" pid="9" name="ContentTypeId">
    <vt:lpwstr>0x0101003777BC3FC4C50540BF69EA95AABBEFE1</vt:lpwstr>
  </property>
  <property fmtid="{D5CDD505-2E9C-101B-9397-08002B2CF9AE}" pid="10" name="MediaServiceImageTags">
    <vt:lpwstr/>
  </property>
</Properties>
</file>